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41" r:id="rId4"/>
    <p:sldMasterId id="2147484225" r:id="rId5"/>
    <p:sldMasterId id="2147484215" r:id="rId6"/>
    <p:sldMasterId id="2147484251" r:id="rId7"/>
    <p:sldMasterId id="2147484256" r:id="rId8"/>
    <p:sldMasterId id="2147484274" r:id="rId9"/>
    <p:sldMasterId id="2147484288" r:id="rId10"/>
  </p:sldMasterIdLst>
  <p:notesMasterIdLst>
    <p:notesMasterId r:id="rId34"/>
  </p:notesMasterIdLst>
  <p:handoutMasterIdLst>
    <p:handoutMasterId r:id="rId35"/>
  </p:handoutMasterIdLst>
  <p:sldIdLst>
    <p:sldId id="10117" r:id="rId11"/>
    <p:sldId id="10110" r:id="rId12"/>
    <p:sldId id="2147308706" r:id="rId13"/>
    <p:sldId id="10127" r:id="rId14"/>
    <p:sldId id="2147308707" r:id="rId15"/>
    <p:sldId id="2147308689" r:id="rId16"/>
    <p:sldId id="2147308715" r:id="rId17"/>
    <p:sldId id="10119" r:id="rId18"/>
    <p:sldId id="5489" r:id="rId19"/>
    <p:sldId id="5488" r:id="rId20"/>
    <p:sldId id="10121" r:id="rId21"/>
    <p:sldId id="10122" r:id="rId22"/>
    <p:sldId id="10123" r:id="rId23"/>
    <p:sldId id="2147308708" r:id="rId24"/>
    <p:sldId id="2147308691" r:id="rId25"/>
    <p:sldId id="10120" r:id="rId26"/>
    <p:sldId id="2147308702" r:id="rId27"/>
    <p:sldId id="5487" r:id="rId28"/>
    <p:sldId id="2147308709" r:id="rId29"/>
    <p:sldId id="2147308717" r:id="rId30"/>
    <p:sldId id="2147308703" r:id="rId31"/>
    <p:sldId id="5087" r:id="rId32"/>
    <p:sldId id="2147308704" r:id="rId33"/>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BB17B15-F0E2-4D13-A7CF-32B2C59804EF}">
          <p14:sldIdLst>
            <p14:sldId id="10117"/>
          </p14:sldIdLst>
        </p14:section>
        <p14:section name="Who Are We" id="{B2BDB459-6CC0-4C1A-8DBE-6878CAAA38E5}">
          <p14:sldIdLst>
            <p14:sldId id="10110"/>
          </p14:sldIdLst>
        </p14:section>
        <p14:section name="What do we stand for" id="{02EBE407-69F9-4A3A-8729-C10DC1B66976}">
          <p14:sldIdLst>
            <p14:sldId id="2147308706"/>
            <p14:sldId id="10127"/>
          </p14:sldIdLst>
        </p14:section>
        <p14:section name="What is our technology" id="{7A09965C-1C9C-45D4-B279-B2572D55C44A}">
          <p14:sldIdLst>
            <p14:sldId id="2147308707"/>
            <p14:sldId id="2147308689"/>
            <p14:sldId id="2147308715"/>
            <p14:sldId id="10119"/>
            <p14:sldId id="5489"/>
            <p14:sldId id="5488"/>
            <p14:sldId id="10121"/>
            <p14:sldId id="10122"/>
            <p14:sldId id="10123"/>
          </p14:sldIdLst>
        </p14:section>
        <p14:section name="Responsible Cruise Tourism" id="{719E0EAA-49C3-489F-98C3-6BF096E8982A}">
          <p14:sldIdLst>
            <p14:sldId id="2147308708"/>
            <p14:sldId id="2147308691"/>
            <p14:sldId id="10120"/>
            <p14:sldId id="2147308702"/>
            <p14:sldId id="5487"/>
          </p14:sldIdLst>
        </p14:section>
        <p14:section name="Support" id="{F5427584-C638-472E-AC98-7D1519CFEEC2}">
          <p14:sldIdLst>
            <p14:sldId id="2147308709"/>
            <p14:sldId id="2147308717"/>
            <p14:sldId id="2147308703"/>
            <p14:sldId id="5087"/>
          </p14:sldIdLst>
        </p14:section>
        <p14:section name="Farewell" id="{AFB1EC8D-797A-49D3-8308-E43345510064}">
          <p14:sldIdLst>
            <p14:sldId id="2147308704"/>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a Libby" initials="LL" lastIdx="22" clrIdx="0">
    <p:extLst>
      <p:ext uri="{19B8F6BF-5375-455C-9EA6-DF929625EA0E}">
        <p15:presenceInfo xmlns:p15="http://schemas.microsoft.com/office/powerpoint/2012/main" userId="S::Laura.Libby@MilesPartnership.com::4074f624-8356-4d5d-b6b9-1fc2f7d02b68" providerId="AD"/>
      </p:ext>
    </p:extLst>
  </p:cmAuthor>
  <p:cmAuthor id="2" name="elena.prostova@milespartnership.com" initials="e" lastIdx="1" clrIdx="1">
    <p:extLst>
      <p:ext uri="{19B8F6BF-5375-455C-9EA6-DF929625EA0E}">
        <p15:presenceInfo xmlns:p15="http://schemas.microsoft.com/office/powerpoint/2012/main" userId="S::elena.prostova@milespartnership.com::4d8160a1-3fe9-4cf3-ba6f-e880224cae71" providerId="AD"/>
      </p:ext>
    </p:extLst>
  </p:cmAuthor>
  <p:cmAuthor id="3" name="Taryn Parker" initials="TP" lastIdx="4" clrIdx="2">
    <p:extLst>
      <p:ext uri="{19B8F6BF-5375-455C-9EA6-DF929625EA0E}">
        <p15:presenceInfo xmlns:p15="http://schemas.microsoft.com/office/powerpoint/2012/main" userId="S::taryn.parker@milespartnership.com::87451a02-64f0-4dd6-9481-71760538717d" providerId="AD"/>
      </p:ext>
    </p:extLst>
  </p:cmAuthor>
  <p:cmAuthor id="4" name="Julie Green" initials="JG" lastIdx="1" clrIdx="3">
    <p:extLst>
      <p:ext uri="{19B8F6BF-5375-455C-9EA6-DF929625EA0E}">
        <p15:presenceInfo xmlns:p15="http://schemas.microsoft.com/office/powerpoint/2012/main" userId="S::jgreen@cruising.org::c46a3103-ed7f-4fcb-85fb-ddac2a0fdadb" providerId="AD"/>
      </p:ext>
    </p:extLst>
  </p:cmAuthor>
  <p:cmAuthor id="5" name="Carolyn J. Kaye" initials="CJK" lastIdx="1" clrIdx="4">
    <p:extLst>
      <p:ext uri="{19B8F6BF-5375-455C-9EA6-DF929625EA0E}">
        <p15:presenceInfo xmlns:p15="http://schemas.microsoft.com/office/powerpoint/2012/main" userId="S::ckaye@kayerose.com::578ca4fc-1d0e-499d-a065-b75a46af26c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451"/>
    <a:srgbClr val="172356"/>
    <a:srgbClr val="018BA7"/>
    <a:srgbClr val="03779B"/>
    <a:srgbClr val="009999"/>
    <a:srgbClr val="045382"/>
    <a:srgbClr val="71D3DF"/>
    <a:srgbClr val="54C0FF"/>
    <a:srgbClr val="55C9D9"/>
    <a:srgbClr val="0397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DA5AD3-DD96-458E-B84D-08DC7FB9CD1E}" v="11" dt="2023-07-12T08:08:06.7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376" autoAdjust="0"/>
    <p:restoredTop sz="82884" autoAdjust="0"/>
  </p:normalViewPr>
  <p:slideViewPr>
    <p:cSldViewPr snapToGrid="0">
      <p:cViewPr varScale="1">
        <p:scale>
          <a:sx n="122" d="100"/>
          <a:sy n="122" d="100"/>
        </p:scale>
        <p:origin x="106" y="230"/>
      </p:cViewPr>
      <p:guideLst>
        <p:guide orient="horz" pos="1620"/>
        <p:guide pos="2880"/>
      </p:guideLst>
    </p:cSldViewPr>
  </p:slideViewPr>
  <p:outlineViewPr>
    <p:cViewPr>
      <p:scale>
        <a:sx n="33" d="100"/>
        <a:sy n="33" d="100"/>
      </p:scale>
      <p:origin x="0" y="-4542"/>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60" d="100"/>
          <a:sy n="60" d="100"/>
        </p:scale>
        <p:origin x="2010" y="66"/>
      </p:cViewPr>
      <p:guideLst/>
    </p:cSldViewPr>
  </p:notesViewPr>
  <p:gridSpacing cx="36004" cy="36004"/>
</p:viewPr>
</file>

<file path=ppt/_rels/presentation.xml.rels>&#65279;<?xml version="1.0" encoding="utf-8"?><Relationships xmlns="http://schemas.openxmlformats.org/package/2006/relationships"><Relationship Type="http://schemas.openxmlformats.org/officeDocument/2006/relationships/slide" Target="slides/slide3.xml" Id="rId13" /><Relationship Type="http://schemas.openxmlformats.org/officeDocument/2006/relationships/slide" Target="slides/slide8.xml" Id="rId18" /><Relationship Type="http://schemas.openxmlformats.org/officeDocument/2006/relationships/slide" Target="slides/slide16.xml" Id="rId26" /><Relationship Type="http://schemas.openxmlformats.org/officeDocument/2006/relationships/theme" Target="theme/theme1.xml" Id="rId39" /><Relationship Type="http://schemas.openxmlformats.org/officeDocument/2006/relationships/slide" Target="slides/slide11.xml" Id="rId21" /><Relationship Type="http://schemas.openxmlformats.org/officeDocument/2006/relationships/notesMaster" Target="notesMasters/notesMaster1.xml" Id="rId34" /><Relationship Type="http://schemas.openxmlformats.org/officeDocument/2006/relationships/slideMaster" Target="slideMasters/slideMaster4.xml" Id="rId7" /><Relationship Type="http://schemas.openxmlformats.org/officeDocument/2006/relationships/customXml" Target="../customXml/item2.xml" Id="rId2" /><Relationship Type="http://schemas.openxmlformats.org/officeDocument/2006/relationships/slide" Target="slides/slide6.xml" Id="rId16" /><Relationship Type="http://schemas.openxmlformats.org/officeDocument/2006/relationships/slide" Target="slides/slide10.xml" Id="rId20" /><Relationship Type="http://schemas.openxmlformats.org/officeDocument/2006/relationships/slide" Target="slides/slide19.xml" Id="rId29" /><Relationship Type="http://schemas.microsoft.com/office/2015/10/relationships/revisionInfo" Target="revisionInfo.xml" Id="rId41" /><Relationship Type="http://schemas.openxmlformats.org/officeDocument/2006/relationships/customXml" Target="../customXml/item1.xml" Id="rId1" /><Relationship Type="http://schemas.openxmlformats.org/officeDocument/2006/relationships/slideMaster" Target="slideMasters/slideMaster3.xml" Id="rId6" /><Relationship Type="http://schemas.openxmlformats.org/officeDocument/2006/relationships/slide" Target="slides/slide1.xml" Id="rId11" /><Relationship Type="http://schemas.openxmlformats.org/officeDocument/2006/relationships/slide" Target="slides/slide14.xml" Id="rId24" /><Relationship Type="http://schemas.openxmlformats.org/officeDocument/2006/relationships/slide" Target="slides/slide22.xml" Id="rId32" /><Relationship Type="http://schemas.openxmlformats.org/officeDocument/2006/relationships/presProps" Target="presProps.xml" Id="rId37" /><Relationship Type="http://schemas.openxmlformats.org/officeDocument/2006/relationships/tableStyles" Target="tableStyles.xml" Id="rId40" /><Relationship Type="http://schemas.openxmlformats.org/officeDocument/2006/relationships/slideMaster" Target="slideMasters/slideMaster2.xml" Id="rId5" /><Relationship Type="http://schemas.openxmlformats.org/officeDocument/2006/relationships/slide" Target="slides/slide5.xml" Id="rId15" /><Relationship Type="http://schemas.openxmlformats.org/officeDocument/2006/relationships/slide" Target="slides/slide13.xml" Id="rId23" /><Relationship Type="http://schemas.openxmlformats.org/officeDocument/2006/relationships/slide" Target="slides/slide18.xml" Id="rId28" /><Relationship Type="http://schemas.openxmlformats.org/officeDocument/2006/relationships/commentAuthors" Target="commentAuthors.xml" Id="rId36" /><Relationship Type="http://schemas.openxmlformats.org/officeDocument/2006/relationships/slideMaster" Target="slideMasters/slideMaster7.xml" Id="rId10" /><Relationship Type="http://schemas.openxmlformats.org/officeDocument/2006/relationships/slide" Target="slides/slide9.xml" Id="rId19" /><Relationship Type="http://schemas.openxmlformats.org/officeDocument/2006/relationships/slide" Target="slides/slide21.xml" Id="rId31" /><Relationship Type="http://schemas.openxmlformats.org/officeDocument/2006/relationships/slideMaster" Target="slideMasters/slideMaster1.xml" Id="rId4" /><Relationship Type="http://schemas.openxmlformats.org/officeDocument/2006/relationships/slideMaster" Target="slideMasters/slideMaster6.xml" Id="rId9" /><Relationship Type="http://schemas.openxmlformats.org/officeDocument/2006/relationships/slide" Target="slides/slide4.xml" Id="rId14" /><Relationship Type="http://schemas.openxmlformats.org/officeDocument/2006/relationships/slide" Target="slides/slide12.xml" Id="rId22" /><Relationship Type="http://schemas.openxmlformats.org/officeDocument/2006/relationships/slide" Target="slides/slide17.xml" Id="rId27" /><Relationship Type="http://schemas.openxmlformats.org/officeDocument/2006/relationships/slide" Target="slides/slide20.xml" Id="rId30" /><Relationship Type="http://schemas.openxmlformats.org/officeDocument/2006/relationships/handoutMaster" Target="handoutMasters/handoutMaster1.xml" Id="rId35" /><Relationship Type="http://schemas.openxmlformats.org/officeDocument/2006/relationships/slideMaster" Target="slideMasters/slideMaster5.xml" Id="rId8" /><Relationship Type="http://schemas.openxmlformats.org/officeDocument/2006/relationships/customXml" Target="../customXml/item3.xml" Id="rId3" /><Relationship Type="http://schemas.openxmlformats.org/officeDocument/2006/relationships/slide" Target="slides/slide2.xml" Id="rId12" /><Relationship Type="http://schemas.openxmlformats.org/officeDocument/2006/relationships/slide" Target="slides/slide7.xml" Id="rId17" /><Relationship Type="http://schemas.openxmlformats.org/officeDocument/2006/relationships/slide" Target="slides/slide15.xml" Id="rId25" /><Relationship Type="http://schemas.openxmlformats.org/officeDocument/2006/relationships/slide" Target="slides/slide23.xml" Id="rId33" /><Relationship Type="http://schemas.openxmlformats.org/officeDocument/2006/relationships/viewProps" Target="viewProps.xml" Id="rId38" /><Relationship Type="http://schemas.openxmlformats.org/officeDocument/2006/relationships/customXml" Target="/customXML/item4.xml" Id="R1cbe1628ee4e410a"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2DC5E23D-CC3D-1A4A-BE91-10738EB86E9B}" type="datetime1">
              <a:rPr lang="en-US" smtClean="0"/>
              <a:t>7/13/2023</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58E2947-F758-4E2A-B610-9053B84F81B1}" type="slidenum">
              <a:rPr lang="en-US" smtClean="0"/>
              <a:t>‹#›</a:t>
            </a:fld>
            <a:endParaRPr lang="en-US" dirty="0"/>
          </a:p>
        </p:txBody>
      </p:sp>
    </p:spTree>
    <p:extLst>
      <p:ext uri="{BB962C8B-B14F-4D97-AF65-F5344CB8AC3E}">
        <p14:creationId xmlns:p14="http://schemas.microsoft.com/office/powerpoint/2010/main" val="32741924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BF6C7594-C111-1643-84E8-12B482A6AE48}" type="datetime1">
              <a:rPr lang="en-US" smtClean="0"/>
              <a:t>7/13/2023</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27C7E718-E387-479E-B173-33B30C178E15}" type="slidenum">
              <a:rPr lang="en-US" smtClean="0"/>
              <a:pPr/>
              <a:t>‹#›</a:t>
            </a:fld>
            <a:endParaRPr lang="en-US" dirty="0"/>
          </a:p>
        </p:txBody>
      </p:sp>
    </p:spTree>
    <p:extLst>
      <p:ext uri="{BB962C8B-B14F-4D97-AF65-F5344CB8AC3E}">
        <p14:creationId xmlns:p14="http://schemas.microsoft.com/office/powerpoint/2010/main" val="20670249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14AD8-6657-B740-BE86-48A8333FB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341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14AD8-6657-B740-BE86-48A8333FB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315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14AD8-6657-B740-BE86-48A8333FB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645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5000"/>
              </a:lnSpc>
              <a:spcBef>
                <a:spcPts val="0"/>
              </a:spcBef>
              <a:spcAft>
                <a:spcPts val="600"/>
              </a:spcAft>
            </a:pPr>
            <a:r>
              <a:rPr lang="en-US" sz="1000" dirty="0">
                <a:effectLst/>
                <a:latin typeface="Century Gothic" panose="020B0502020202020204" pitchFamily="34" charset="0"/>
                <a:ea typeface="Times New Roman" panose="02020603050405020304" pitchFamily="18" charset="0"/>
              </a:rPr>
              <a:t>This year’s ETP report shows continued and notable advancements as the industry continues to pursue net-zero carbon cruising globally through reductions in emissions:</a:t>
            </a:r>
            <a:endParaRPr lang="en-US" sz="1200" dirty="0">
              <a:effectLst/>
              <a:latin typeface="Times New Roman" panose="02020603050405020304" pitchFamily="18" charset="0"/>
              <a:ea typeface="Times New Roman" panose="02020603050405020304" pitchFamily="18" charset="0"/>
            </a:endParaRPr>
          </a:p>
          <a:p>
            <a:pPr marL="342900" marR="0" lvl="0" indent="-342900">
              <a:lnSpc>
                <a:spcPct val="105000"/>
              </a:lnSpc>
              <a:spcBef>
                <a:spcPts val="0"/>
              </a:spcBef>
              <a:spcAft>
                <a:spcPts val="600"/>
              </a:spcAft>
              <a:buClr>
                <a:srgbClr val="1F4E79"/>
              </a:buClr>
              <a:buSzPts val="1100"/>
              <a:buFont typeface="Wingdings" panose="05000000000000000000" pitchFamily="2" charset="2"/>
              <a:buChar char=""/>
            </a:pPr>
            <a:r>
              <a:rPr lang="en-US" sz="1000" b="1" u="none" strike="noStrike" dirty="0">
                <a:effectLst/>
                <a:latin typeface="Century Gothic" panose="020B0502020202020204" pitchFamily="34" charset="0"/>
                <a:ea typeface="Calibri" panose="020F0502020204030204" pitchFamily="34" charset="0"/>
              </a:rPr>
              <a:t>Shoreside Power Capability</a:t>
            </a:r>
            <a:r>
              <a:rPr lang="en-US" sz="1000" u="none" strike="noStrike" dirty="0">
                <a:effectLst/>
                <a:latin typeface="Century Gothic" panose="020B0502020202020204" pitchFamily="34" charset="0"/>
                <a:ea typeface="Calibri" panose="020F0502020204030204" pitchFamily="34" charset="0"/>
              </a:rPr>
              <a:t> – Cruise lines continue to make significant investments for cruise ships to connect to shoreside electricity, allowing engines to be switched off in port for significant emissions reduction.  This year’s ETP report shows:</a:t>
            </a:r>
            <a:endParaRPr lang="en-US" sz="1200" u="none" strike="noStrike"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40% of global capacity (up 20% year over year) are fitted to operate on shore-side electricity in the 29 ports worldwide (less than 2% of the world’s ports) where that capability is provided in at least one berth in the port.</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solidFill>
                  <a:srgbClr val="000000"/>
                </a:solidFill>
                <a:effectLst/>
                <a:latin typeface="Century Gothic" panose="020B0502020202020204" pitchFamily="34" charset="0"/>
                <a:ea typeface="Times New Roman" panose="02020603050405020304" pitchFamily="18" charset="0"/>
              </a:rPr>
              <a:t>85% of CLIA-member ships coming online between now and 2028 will be able to plug in</a:t>
            </a:r>
            <a:r>
              <a:rPr lang="en-US" sz="1000" dirty="0">
                <a:effectLst/>
                <a:latin typeface="Century Gothic" panose="020B0502020202020204" pitchFamily="34" charset="0"/>
                <a:ea typeface="Times New Roman" panose="02020603050405020304" pitchFamily="18" charset="0"/>
              </a:rPr>
              <a:t> to shoreside electricity.</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98% of new build capacity on order book between now and 2028 is either committed to be fitted with shore-side electricity systems or will be configured to add shore-side power in the future.</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dirty="0">
                <a:effectLst/>
                <a:latin typeface="Century Gothic" panose="020B0502020202020204" pitchFamily="34" charset="0"/>
                <a:ea typeface="Calibri" panose="020F0502020204030204" pitchFamily="34" charset="0"/>
              </a:rPr>
              <a:t> </a:t>
            </a:r>
            <a:endParaRPr lang="en-US" sz="1200" dirty="0">
              <a:effectLst/>
              <a:latin typeface="Times New Roman" panose="02020603050405020304" pitchFamily="18" charset="0"/>
              <a:ea typeface="Times New Roman" panose="02020603050405020304" pitchFamily="18" charset="0"/>
            </a:endParaRPr>
          </a:p>
          <a:p>
            <a:pPr marL="342900" marR="0" lvl="0" indent="-342900">
              <a:lnSpc>
                <a:spcPct val="105000"/>
              </a:lnSpc>
              <a:spcBef>
                <a:spcPts val="0"/>
              </a:spcBef>
              <a:spcAft>
                <a:spcPts val="0"/>
              </a:spcAft>
              <a:buClr>
                <a:srgbClr val="1F4E79"/>
              </a:buClr>
              <a:buSzPts val="1100"/>
              <a:buFont typeface="Wingdings" panose="05000000000000000000" pitchFamily="2" charset="2"/>
              <a:buChar char=""/>
            </a:pPr>
            <a:r>
              <a:rPr lang="en-US" sz="1000" b="1" u="none" strike="noStrike" dirty="0">
                <a:effectLst/>
                <a:latin typeface="Century Gothic" panose="020B0502020202020204" pitchFamily="34" charset="0"/>
                <a:ea typeface="Calibri" panose="020F0502020204030204" pitchFamily="34" charset="0"/>
                <a:cs typeface="Calibri" panose="020F0502020204030204" pitchFamily="34" charset="0"/>
              </a:rPr>
              <a:t>Liquefied Natural Gas (LNG) Fuel</a:t>
            </a:r>
            <a:r>
              <a:rPr lang="en-US" sz="1000" u="none" strike="noStrike" dirty="0">
                <a:effectLst/>
                <a:latin typeface="Century Gothic" panose="020B0502020202020204" pitchFamily="34" charset="0"/>
                <a:ea typeface="Calibri" panose="020F0502020204030204" pitchFamily="34" charset="0"/>
                <a:cs typeface="Calibri" panose="020F0502020204030204" pitchFamily="34" charset="0"/>
              </a:rPr>
              <a:t> – </a:t>
            </a:r>
            <a:r>
              <a:rPr lang="en-US" sz="1000" u="none" strike="noStrike"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In addition to having virtually zero sulfur emissions, LNG as a transitional fuel provides a 95% to 100% reduction in particulate emissions, an 85% reduction in NOx emissions, and up to a 20% reduction in greenhouse gas emissions. </a:t>
            </a:r>
            <a:r>
              <a:rPr lang="en-US" sz="1000" u="none" strike="noStrike" dirty="0">
                <a:effectLst/>
                <a:latin typeface="Century Gothic" panose="020B0502020202020204" pitchFamily="34" charset="0"/>
                <a:ea typeface="Calibri" panose="020F0502020204030204" pitchFamily="34" charset="0"/>
                <a:cs typeface="Calibri" panose="020F0502020204030204" pitchFamily="34" charset="0"/>
              </a:rPr>
              <a:t>The 2022 report found:</a:t>
            </a:r>
            <a:endParaRPr lang="en-US" sz="1200" u="none" strike="noStrike" dirty="0">
              <a:effectLst/>
              <a:latin typeface="Times New Roman" panose="02020603050405020304" pitchFamily="18" charset="0"/>
              <a:ea typeface="Times New Roman" panose="02020603050405020304" pitchFamily="18" charset="0"/>
            </a:endParaRPr>
          </a:p>
          <a:p>
            <a:pPr marL="228600" marR="0">
              <a:lnSpc>
                <a:spcPct val="105000"/>
              </a:lnSpc>
              <a:spcBef>
                <a:spcPts val="0"/>
              </a:spcBef>
              <a:spcAft>
                <a:spcPts val="0"/>
              </a:spcAft>
            </a:pPr>
            <a:r>
              <a:rPr lang="en-US" sz="10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 </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61% of new-build capacity will rely on LNG fuel for primary propulsion. </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LNG </a:t>
            </a:r>
            <a:r>
              <a:rPr lang="en-AU" sz="10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provides real benefits now, and also allows LNG-ready ships to adapt to a future generation of sustainable marine fuels.*</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AU" sz="1000" dirty="0">
                <a:effectLst/>
                <a:latin typeface="Century Gothic" panose="020B0502020202020204" pitchFamily="34" charset="0"/>
                <a:ea typeface="Times New Roman" panose="02020603050405020304" pitchFamily="18" charset="0"/>
                <a:cs typeface="Calibri" panose="020F0502020204030204" pitchFamily="34" charset="0"/>
              </a:rPr>
              <a:t>*</a:t>
            </a:r>
            <a:r>
              <a:rPr lang="en-US" sz="1000" i="1" dirty="0">
                <a:effectLst/>
                <a:latin typeface="Century Gothic" panose="020B0502020202020204" pitchFamily="34" charset="0"/>
                <a:ea typeface="Times New Roman" panose="02020603050405020304" pitchFamily="18" charset="0"/>
              </a:rPr>
              <a:t>Sustainable marine fuels can include biofuels and other advanced approaches such as bio and synthetic fuels, methanol, ammonia, and hydrogen.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lgn="ctr">
              <a:lnSpc>
                <a:spcPct val="105000"/>
              </a:lnSpc>
              <a:spcBef>
                <a:spcPts val="0"/>
              </a:spcBef>
              <a:spcAft>
                <a:spcPts val="600"/>
              </a:spcAft>
            </a:pPr>
            <a:r>
              <a:rPr lang="en-US" sz="10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continued-</a:t>
            </a:r>
            <a:endParaRPr lang="en-US" sz="1200" dirty="0">
              <a:effectLst/>
              <a:latin typeface="Times New Roman" panose="02020603050405020304" pitchFamily="18" charset="0"/>
              <a:ea typeface="Times New Roman" panose="02020603050405020304" pitchFamily="18" charset="0"/>
            </a:endParaRPr>
          </a:p>
          <a:p>
            <a:pPr marL="342900" marR="0" lvl="0" indent="-342900">
              <a:lnSpc>
                <a:spcPct val="105000"/>
              </a:lnSpc>
              <a:spcBef>
                <a:spcPts val="0"/>
              </a:spcBef>
              <a:spcAft>
                <a:spcPts val="600"/>
              </a:spcAft>
              <a:buClr>
                <a:srgbClr val="1F4E79"/>
              </a:buClr>
              <a:buSzPts val="1100"/>
              <a:buFont typeface="Wingdings" panose="05000000000000000000" pitchFamily="2" charset="2"/>
              <a:buChar char=""/>
            </a:pPr>
            <a:r>
              <a:rPr lang="en-US" sz="1000" b="1" u="none" strike="noStrike" dirty="0">
                <a:solidFill>
                  <a:srgbClr val="000000"/>
                </a:solidFill>
                <a:effectLst/>
                <a:latin typeface="Century Gothic" panose="020B0502020202020204" pitchFamily="34" charset="0"/>
                <a:ea typeface="Calibri" panose="020F0502020204030204" pitchFamily="34" charset="0"/>
              </a:rPr>
              <a:t>Exhaust Gas Cleaning Systems</a:t>
            </a:r>
            <a:r>
              <a:rPr lang="en-US" sz="1000" u="none" strike="noStrike" dirty="0">
                <a:solidFill>
                  <a:srgbClr val="000000"/>
                </a:solidFill>
                <a:effectLst/>
                <a:latin typeface="Century Gothic" panose="020B0502020202020204" pitchFamily="34" charset="0"/>
                <a:ea typeface="Calibri" panose="020F0502020204030204" pitchFamily="34" charset="0"/>
              </a:rPr>
              <a:t> - Exhaust Gas Cleaning Systems (EGCS) r</a:t>
            </a:r>
            <a:r>
              <a:rPr lang="en-US" sz="1000" u="none" strike="noStrike"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educe sulfur oxide levels by as much as 98%, typical total particulate matter of 50% or more (including elemental and organic carbon and black carbon), and nitrogen oxides by up to 12%. According to the 2022 report:</a:t>
            </a:r>
            <a:endParaRPr lang="en-US" sz="1200" u="none" strike="noStrike"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More than 79% of global capacity utilizes EGCS to meet or exceed air emissions requirements, representing an increase in capacity of 7% compared to 2021.</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Additionally, 88% of capacity of non-LNG new builds will have EGCS installed, in line with already high historical level of investments.</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dirty="0">
                <a:effectLst/>
                <a:latin typeface="Century Gothic" panose="020B0502020202020204" pitchFamily="34" charset="0"/>
                <a:ea typeface="Calibri" panose="020F0502020204030204" pitchFamily="34" charset="0"/>
              </a:rPr>
              <a:t> </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b="1" dirty="0">
                <a:effectLst/>
                <a:latin typeface="Century Gothic" panose="020B0502020202020204" pitchFamily="34" charset="0"/>
                <a:ea typeface="Calibri" panose="020F0502020204030204" pitchFamily="34" charset="0"/>
              </a:rPr>
              <a:t>Advanced Wastewater Treatment Systems</a:t>
            </a:r>
            <a:r>
              <a:rPr lang="en-US" sz="1000" dirty="0">
                <a:effectLst/>
                <a:latin typeface="Century Gothic" panose="020B0502020202020204" pitchFamily="34" charset="0"/>
                <a:ea typeface="Calibri" panose="020F0502020204030204" pitchFamily="34" charset="0"/>
              </a:rPr>
              <a:t> – </a:t>
            </a:r>
            <a:r>
              <a:rPr lang="en-US" sz="1000" dirty="0">
                <a:effectLst/>
                <a:latin typeface="Century Gothic" panose="020B0502020202020204" pitchFamily="34" charset="0"/>
                <a:ea typeface="Times New Roman" panose="02020603050405020304" pitchFamily="18" charset="0"/>
              </a:rPr>
              <a:t>Advanced wastewater treatment systems onboard cruise ships treat wastewater to a higher level of treatment than in many coastal cities.</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100% of new ships on order are specified to have advanced wastewater treatment systems.</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78% of the CLIA ocean-going cruise line fleet capacity is currently served by advanced wastewater treatment systems (a 9% increase compared to 2021).</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C7E718-E387-479E-B173-33B30C178E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941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5000"/>
              </a:lnSpc>
              <a:spcBef>
                <a:spcPts val="0"/>
              </a:spcBef>
              <a:spcAft>
                <a:spcPts val="600"/>
              </a:spcAft>
            </a:pPr>
            <a:r>
              <a:rPr lang="en-US" sz="1000" dirty="0">
                <a:effectLst/>
                <a:latin typeface="Century Gothic" panose="020B0502020202020204" pitchFamily="34" charset="0"/>
                <a:ea typeface="Times New Roman" panose="02020603050405020304" pitchFamily="18" charset="0"/>
              </a:rPr>
              <a:t>This year’s ETP report shows continued and notable advancements as the industry continues to pursue net-zero carbon cruising globally through reductions in emissions:</a:t>
            </a:r>
            <a:endParaRPr lang="en-US" sz="1200" dirty="0">
              <a:effectLst/>
              <a:latin typeface="Times New Roman" panose="02020603050405020304" pitchFamily="18" charset="0"/>
              <a:ea typeface="Times New Roman" panose="02020603050405020304" pitchFamily="18" charset="0"/>
            </a:endParaRPr>
          </a:p>
          <a:p>
            <a:pPr marL="342900" marR="0" lvl="0" indent="-342900">
              <a:lnSpc>
                <a:spcPct val="105000"/>
              </a:lnSpc>
              <a:spcBef>
                <a:spcPts val="0"/>
              </a:spcBef>
              <a:spcAft>
                <a:spcPts val="600"/>
              </a:spcAft>
              <a:buClr>
                <a:srgbClr val="1F4E79"/>
              </a:buClr>
              <a:buSzPts val="1100"/>
              <a:buFont typeface="Wingdings" panose="05000000000000000000" pitchFamily="2" charset="2"/>
              <a:buChar char=""/>
            </a:pPr>
            <a:r>
              <a:rPr lang="en-US" sz="1000" b="1" u="none" strike="noStrike" dirty="0">
                <a:effectLst/>
                <a:latin typeface="Century Gothic" panose="020B0502020202020204" pitchFamily="34" charset="0"/>
                <a:ea typeface="Calibri" panose="020F0502020204030204" pitchFamily="34" charset="0"/>
              </a:rPr>
              <a:t>Shoreside Power Capability</a:t>
            </a:r>
            <a:r>
              <a:rPr lang="en-US" sz="1000" u="none" strike="noStrike" dirty="0">
                <a:effectLst/>
                <a:latin typeface="Century Gothic" panose="020B0502020202020204" pitchFamily="34" charset="0"/>
                <a:ea typeface="Calibri" panose="020F0502020204030204" pitchFamily="34" charset="0"/>
              </a:rPr>
              <a:t> – Cruise lines continue to make significant investments for cruise ships to connect to shoreside electricity, allowing engines to be switched off in port for significant emissions reduction.  This year’s ETP report shows:</a:t>
            </a:r>
            <a:endParaRPr lang="en-US" sz="1200" u="none" strike="noStrike"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40% of global capacity (up 20% year over year) are fitted to operate on shore-side electricity in the 29 ports worldwide (less than 2% of the world’s ports) where that capability is provided in at least one berth in the port.</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solidFill>
                  <a:srgbClr val="000000"/>
                </a:solidFill>
                <a:effectLst/>
                <a:latin typeface="Century Gothic" panose="020B0502020202020204" pitchFamily="34" charset="0"/>
                <a:ea typeface="Times New Roman" panose="02020603050405020304" pitchFamily="18" charset="0"/>
              </a:rPr>
              <a:t>85% of CLIA-member ships coming online between now and 2028 will be able to plug in</a:t>
            </a:r>
            <a:r>
              <a:rPr lang="en-US" sz="1000" dirty="0">
                <a:effectLst/>
                <a:latin typeface="Century Gothic" panose="020B0502020202020204" pitchFamily="34" charset="0"/>
                <a:ea typeface="Times New Roman" panose="02020603050405020304" pitchFamily="18" charset="0"/>
              </a:rPr>
              <a:t> to shoreside electricity.</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98% of new build capacity on order book between now and 2028 is either committed to be fitted with shore-side electricity systems or will be configured to add shore-side power in the future.</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dirty="0">
                <a:effectLst/>
                <a:latin typeface="Century Gothic" panose="020B0502020202020204" pitchFamily="34" charset="0"/>
                <a:ea typeface="Calibri" panose="020F0502020204030204" pitchFamily="34" charset="0"/>
              </a:rPr>
              <a:t> </a:t>
            </a:r>
            <a:endParaRPr lang="en-US" sz="1200" dirty="0">
              <a:effectLst/>
              <a:latin typeface="Times New Roman" panose="02020603050405020304" pitchFamily="18" charset="0"/>
              <a:ea typeface="Times New Roman" panose="02020603050405020304" pitchFamily="18" charset="0"/>
            </a:endParaRPr>
          </a:p>
          <a:p>
            <a:pPr marL="342900" marR="0" lvl="0" indent="-342900">
              <a:lnSpc>
                <a:spcPct val="105000"/>
              </a:lnSpc>
              <a:spcBef>
                <a:spcPts val="0"/>
              </a:spcBef>
              <a:spcAft>
                <a:spcPts val="0"/>
              </a:spcAft>
              <a:buClr>
                <a:srgbClr val="1F4E79"/>
              </a:buClr>
              <a:buSzPts val="1100"/>
              <a:buFont typeface="Wingdings" panose="05000000000000000000" pitchFamily="2" charset="2"/>
              <a:buChar char=""/>
            </a:pPr>
            <a:r>
              <a:rPr lang="en-US" sz="1000" b="1" u="none" strike="noStrike" dirty="0">
                <a:effectLst/>
                <a:latin typeface="Century Gothic" panose="020B0502020202020204" pitchFamily="34" charset="0"/>
                <a:ea typeface="Calibri" panose="020F0502020204030204" pitchFamily="34" charset="0"/>
                <a:cs typeface="Calibri" panose="020F0502020204030204" pitchFamily="34" charset="0"/>
              </a:rPr>
              <a:t>Liquefied Natural Gas (LNG) Fuel</a:t>
            </a:r>
            <a:r>
              <a:rPr lang="en-US" sz="1000" u="none" strike="noStrike" dirty="0">
                <a:effectLst/>
                <a:latin typeface="Century Gothic" panose="020B0502020202020204" pitchFamily="34" charset="0"/>
                <a:ea typeface="Calibri" panose="020F0502020204030204" pitchFamily="34" charset="0"/>
                <a:cs typeface="Calibri" panose="020F0502020204030204" pitchFamily="34" charset="0"/>
              </a:rPr>
              <a:t> – </a:t>
            </a:r>
            <a:r>
              <a:rPr lang="en-US" sz="1000" u="none" strike="noStrike"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In addition to having virtually zero sulfur emissions, LNG as a transitional fuel provides a 95% to 100% reduction in particulate emissions, an 85% reduction in NOx emissions, and up to a 20% reduction in greenhouse gas emissions. </a:t>
            </a:r>
            <a:r>
              <a:rPr lang="en-US" sz="1000" u="none" strike="noStrike" dirty="0">
                <a:effectLst/>
                <a:latin typeface="Century Gothic" panose="020B0502020202020204" pitchFamily="34" charset="0"/>
                <a:ea typeface="Calibri" panose="020F0502020204030204" pitchFamily="34" charset="0"/>
                <a:cs typeface="Calibri" panose="020F0502020204030204" pitchFamily="34" charset="0"/>
              </a:rPr>
              <a:t>The 2022 report found:</a:t>
            </a:r>
            <a:endParaRPr lang="en-US" sz="1200" u="none" strike="noStrike" dirty="0">
              <a:effectLst/>
              <a:latin typeface="Times New Roman" panose="02020603050405020304" pitchFamily="18" charset="0"/>
              <a:ea typeface="Times New Roman" panose="02020603050405020304" pitchFamily="18" charset="0"/>
            </a:endParaRPr>
          </a:p>
          <a:p>
            <a:pPr marL="228600" marR="0">
              <a:lnSpc>
                <a:spcPct val="105000"/>
              </a:lnSpc>
              <a:spcBef>
                <a:spcPts val="0"/>
              </a:spcBef>
              <a:spcAft>
                <a:spcPts val="0"/>
              </a:spcAft>
            </a:pPr>
            <a:r>
              <a:rPr lang="en-US" sz="10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 </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61% of new-build capacity will rely on LNG fuel for primary propulsion. </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LNG </a:t>
            </a:r>
            <a:r>
              <a:rPr lang="en-AU" sz="10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provides real benefits now, and also allows LNG-ready ships to adapt to a future generation of sustainable marine fuels.*</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AU" sz="1000" dirty="0">
                <a:effectLst/>
                <a:latin typeface="Century Gothic" panose="020B0502020202020204" pitchFamily="34" charset="0"/>
                <a:ea typeface="Times New Roman" panose="02020603050405020304" pitchFamily="18" charset="0"/>
                <a:cs typeface="Calibri" panose="020F0502020204030204" pitchFamily="34" charset="0"/>
              </a:rPr>
              <a:t>*</a:t>
            </a:r>
            <a:r>
              <a:rPr lang="en-US" sz="1000" i="1" dirty="0">
                <a:effectLst/>
                <a:latin typeface="Century Gothic" panose="020B0502020202020204" pitchFamily="34" charset="0"/>
                <a:ea typeface="Times New Roman" panose="02020603050405020304" pitchFamily="18" charset="0"/>
              </a:rPr>
              <a:t>Sustainable marine fuels can include biofuels and other advanced approaches such as bio and synthetic fuels, methanol, ammonia, and hydrogen.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914400" marR="0">
              <a:spcBef>
                <a:spcPts val="0"/>
              </a:spcBef>
              <a:spcAft>
                <a:spcPts val="0"/>
              </a:spcAft>
            </a:pPr>
            <a:r>
              <a:rPr lang="en-US" sz="1000" i="1"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pPr marL="0" marR="0" algn="ctr">
              <a:lnSpc>
                <a:spcPct val="105000"/>
              </a:lnSpc>
              <a:spcBef>
                <a:spcPts val="0"/>
              </a:spcBef>
              <a:spcAft>
                <a:spcPts val="600"/>
              </a:spcAft>
            </a:pPr>
            <a:r>
              <a:rPr lang="en-US" sz="10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continued-</a:t>
            </a:r>
            <a:endParaRPr lang="en-US" sz="1200" dirty="0">
              <a:effectLst/>
              <a:latin typeface="Times New Roman" panose="02020603050405020304" pitchFamily="18" charset="0"/>
              <a:ea typeface="Times New Roman" panose="02020603050405020304" pitchFamily="18" charset="0"/>
            </a:endParaRPr>
          </a:p>
          <a:p>
            <a:pPr marL="342900" marR="0" lvl="0" indent="-342900">
              <a:lnSpc>
                <a:spcPct val="105000"/>
              </a:lnSpc>
              <a:spcBef>
                <a:spcPts val="0"/>
              </a:spcBef>
              <a:spcAft>
                <a:spcPts val="600"/>
              </a:spcAft>
              <a:buClr>
                <a:srgbClr val="1F4E79"/>
              </a:buClr>
              <a:buSzPts val="1100"/>
              <a:buFont typeface="Wingdings" panose="05000000000000000000" pitchFamily="2" charset="2"/>
              <a:buChar char=""/>
            </a:pPr>
            <a:r>
              <a:rPr lang="en-US" sz="1000" b="1" u="none" strike="noStrike" dirty="0">
                <a:solidFill>
                  <a:srgbClr val="000000"/>
                </a:solidFill>
                <a:effectLst/>
                <a:latin typeface="Century Gothic" panose="020B0502020202020204" pitchFamily="34" charset="0"/>
                <a:ea typeface="Calibri" panose="020F0502020204030204" pitchFamily="34" charset="0"/>
              </a:rPr>
              <a:t>Exhaust Gas Cleaning Systems</a:t>
            </a:r>
            <a:r>
              <a:rPr lang="en-US" sz="1000" u="none" strike="noStrike" dirty="0">
                <a:solidFill>
                  <a:srgbClr val="000000"/>
                </a:solidFill>
                <a:effectLst/>
                <a:latin typeface="Century Gothic" panose="020B0502020202020204" pitchFamily="34" charset="0"/>
                <a:ea typeface="Calibri" panose="020F0502020204030204" pitchFamily="34" charset="0"/>
              </a:rPr>
              <a:t> - Exhaust Gas Cleaning Systems (EGCS) r</a:t>
            </a:r>
            <a:r>
              <a:rPr lang="en-US" sz="1000" u="none" strike="noStrike"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educe sulfur oxide levels by as much as 98%, typical total particulate matter of 50% or more (including elemental and organic carbon and black carbon), and nitrogen oxides by up to 12%. According to the 2022 report:</a:t>
            </a:r>
            <a:endParaRPr lang="en-US" sz="1200" u="none" strike="noStrike"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More than 79% of global capacity utilizes EGCS to meet or exceed air emissions requirements, representing an increase in capacity of 7% compared to 2021.</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Additionally, 88% of capacity of non-LNG new builds will have EGCS installed, in line with already high historical level of investments.</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dirty="0">
                <a:effectLst/>
                <a:latin typeface="Century Gothic" panose="020B0502020202020204" pitchFamily="34" charset="0"/>
                <a:ea typeface="Calibri" panose="020F0502020204030204" pitchFamily="34" charset="0"/>
              </a:rPr>
              <a:t> </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b="1" dirty="0">
                <a:effectLst/>
                <a:latin typeface="Century Gothic" panose="020B0502020202020204" pitchFamily="34" charset="0"/>
                <a:ea typeface="Calibri" panose="020F0502020204030204" pitchFamily="34" charset="0"/>
              </a:rPr>
              <a:t>Advanced Wastewater Treatment Systems</a:t>
            </a:r>
            <a:r>
              <a:rPr lang="en-US" sz="1000" dirty="0">
                <a:effectLst/>
                <a:latin typeface="Century Gothic" panose="020B0502020202020204" pitchFamily="34" charset="0"/>
                <a:ea typeface="Calibri" panose="020F0502020204030204" pitchFamily="34" charset="0"/>
              </a:rPr>
              <a:t> – </a:t>
            </a:r>
            <a:r>
              <a:rPr lang="en-US" sz="1000" dirty="0">
                <a:effectLst/>
                <a:latin typeface="Century Gothic" panose="020B0502020202020204" pitchFamily="34" charset="0"/>
                <a:ea typeface="Times New Roman" panose="02020603050405020304" pitchFamily="18" charset="0"/>
              </a:rPr>
              <a:t>Advanced wastewater treatment systems onboard cruise ships treat wastewater to a higher level of treatment than in many coastal cities.</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100% of new ships on order are specified to have advanced wastewater treatment systems.</a:t>
            </a:r>
            <a:endParaRPr lang="en-US" sz="1200" dirty="0">
              <a:effectLst/>
              <a:latin typeface="Times New Roman" panose="02020603050405020304" pitchFamily="18" charset="0"/>
              <a:ea typeface="Times New Roman" panose="02020603050405020304" pitchFamily="18" charset="0"/>
            </a:endParaRPr>
          </a:p>
          <a:p>
            <a:pPr marL="742950" marR="0" lvl="1" indent="-285750">
              <a:lnSpc>
                <a:spcPct val="105000"/>
              </a:lnSpc>
              <a:spcBef>
                <a:spcPts val="0"/>
              </a:spcBef>
              <a:spcAft>
                <a:spcPts val="600"/>
              </a:spcAft>
              <a:buClr>
                <a:srgbClr val="1F4E79"/>
              </a:buClr>
              <a:buFont typeface="Wingdings" panose="05000000000000000000" pitchFamily="2" charset="2"/>
              <a:buChar char=""/>
            </a:pPr>
            <a:r>
              <a:rPr lang="en-US" sz="1000" dirty="0">
                <a:effectLst/>
                <a:latin typeface="Century Gothic" panose="020B0502020202020204" pitchFamily="34" charset="0"/>
                <a:ea typeface="Calibri" panose="020F0502020204030204" pitchFamily="34" charset="0"/>
              </a:rPr>
              <a:t>78% of the CLIA ocean-going cruise line fleet capacity is currently served by advanced wastewater treatment systems (a 9% increase compared to 2021).</a:t>
            </a:r>
            <a:endParaRPr lang="en-US" sz="1200" dirty="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600"/>
              </a:spcAft>
            </a:pPr>
            <a:r>
              <a:rPr lang="en-US" sz="1000" dirty="0">
                <a:effectLst/>
                <a:latin typeface="Century Gothic" panose="020B050202020202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C7E718-E387-479E-B173-33B30C178E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238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14AD8-6657-B740-BE86-48A8333FB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995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C7E718-E387-479E-B173-33B30C178E1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5865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14AD8-6657-B740-BE86-48A8333FB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8348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F14AD8-6657-B740-BE86-48A8333FB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3613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27C7E718-E387-479E-B173-33B30C178E1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24305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13.png"/><Relationship Id="rId5" Type="http://schemas.microsoft.com/office/2007/relationships/hdphoto" Target="../media/hdphoto1.wdp"/><Relationship Id="rId10" Type="http://schemas.openxmlformats.org/officeDocument/2006/relationships/image" Target="../media/image16.png"/><Relationship Id="rId4" Type="http://schemas.openxmlformats.org/officeDocument/2006/relationships/image" Target="../media/image12.png"/><Relationship Id="rId9" Type="http://schemas.microsoft.com/office/2007/relationships/hdphoto" Target="../media/hdphoto2.wdp"/></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5.xml"/><Relationship Id="rId1" Type="http://schemas.openxmlformats.org/officeDocument/2006/relationships/tags" Target="../tags/tag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0B680E7E-4D3B-4EA2-B153-2B3C806BB025}"/>
              </a:ext>
            </a:extLst>
          </p:cNvPr>
          <p:cNvSpPr>
            <a:spLocks noGrp="1"/>
          </p:cNvSpPr>
          <p:nvPr>
            <p:ph type="body" sz="quarter" idx="10" hasCustomPrompt="1"/>
          </p:nvPr>
        </p:nvSpPr>
        <p:spPr>
          <a:xfrm>
            <a:off x="668179" y="1383348"/>
            <a:ext cx="7807642" cy="1188402"/>
          </a:xfrm>
          <a:prstGeom prst="rect">
            <a:avLst/>
          </a:prstGeom>
        </p:spPr>
        <p:txBody>
          <a:bodyPr/>
          <a:lstStyle>
            <a:lvl1pPr marL="0" indent="0" algn="ctr">
              <a:spcAft>
                <a:spcPts val="0"/>
              </a:spcAft>
              <a:buNone/>
              <a:defRPr sz="2800" b="0" i="0">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lvl1pPr>
          </a:lstStyle>
          <a:p>
            <a:pPr lvl="0"/>
            <a:r>
              <a:rPr lang="en-US" dirty="0"/>
              <a:t>Topic</a:t>
            </a:r>
          </a:p>
        </p:txBody>
      </p:sp>
      <p:pic>
        <p:nvPicPr>
          <p:cNvPr id="3" name="Picture 2">
            <a:extLst>
              <a:ext uri="{FF2B5EF4-FFF2-40B4-BE49-F238E27FC236}">
                <a16:creationId xmlns:a16="http://schemas.microsoft.com/office/drawing/2014/main" id="{50D9AE7F-F7C7-4ECB-90AD-6B44C3A79F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689929" y="3980610"/>
            <a:ext cx="2230474" cy="76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049596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5DB7F-5672-4A85-A76D-BAC89A5C72AE}"/>
              </a:ext>
            </a:extLst>
          </p:cNvPr>
          <p:cNvSpPr>
            <a:spLocks noGrp="1"/>
          </p:cNvSpPr>
          <p:nvPr>
            <p:ph type="title"/>
          </p:nvPr>
        </p:nvSpPr>
        <p:spPr>
          <a:xfrm>
            <a:off x="351064" y="46602"/>
            <a:ext cx="6789080" cy="991226"/>
          </a:xfrm>
          <a:prstGeom prst="rect">
            <a:avLst/>
          </a:prstGeom>
        </p:spPr>
        <p:txBody>
          <a:bodyPr anchor="ctr"/>
          <a:lstStyle>
            <a:lvl1pPr>
              <a:defRPr sz="24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212D1B1-AB0D-4D35-94E0-B1DE82C2B87F}"/>
              </a:ext>
            </a:extLst>
          </p:cNvPr>
          <p:cNvSpPr>
            <a:spLocks noGrp="1"/>
          </p:cNvSpPr>
          <p:nvPr>
            <p:ph idx="1"/>
          </p:nvPr>
        </p:nvSpPr>
        <p:spPr>
          <a:xfrm>
            <a:off x="3885008" y="1144787"/>
            <a:ext cx="5055791"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EEEB1BD-0EA4-4BBA-BAAE-9AD4117B0342}"/>
              </a:ext>
            </a:extLst>
          </p:cNvPr>
          <p:cNvSpPr>
            <a:spLocks noGrp="1"/>
          </p:cNvSpPr>
          <p:nvPr>
            <p:ph type="body" sz="half" idx="2"/>
          </p:nvPr>
        </p:nvSpPr>
        <p:spPr>
          <a:xfrm>
            <a:off x="351063" y="1144787"/>
            <a:ext cx="3186793"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F377E42-0786-4698-9421-0BCE6111D1CA}"/>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C92E7250-2DDA-47BC-8017-D741900D3C3C}"/>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78CAD71F-19CE-41C4-A1A2-F10FDC8CEA30}"/>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577354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1701E-DD13-434C-9F1C-F9D4DC9CF30D}"/>
              </a:ext>
            </a:extLst>
          </p:cNvPr>
          <p:cNvSpPr>
            <a:spLocks noGrp="1"/>
          </p:cNvSpPr>
          <p:nvPr>
            <p:ph type="title"/>
          </p:nvPr>
        </p:nvSpPr>
        <p:spPr>
          <a:xfrm>
            <a:off x="369663" y="0"/>
            <a:ext cx="6945537" cy="1035558"/>
          </a:xfrm>
          <a:prstGeom prst="rect">
            <a:avLst/>
          </a:prstGeom>
        </p:spPr>
        <p:txBody>
          <a:bodyPr anchor="ctr"/>
          <a:lstStyle>
            <a:lvl1pPr algn="l">
              <a:defRPr sz="2400">
                <a:latin typeface="Century Gothic" panose="020B0502020202020204" pitchFamily="34" charset="0"/>
              </a:defRPr>
            </a:lvl1pPr>
          </a:lstStyle>
          <a:p>
            <a:r>
              <a:rPr lang="en-US" dirty="0"/>
              <a:t>Click to edit Master title style</a:t>
            </a:r>
          </a:p>
        </p:txBody>
      </p:sp>
      <p:sp>
        <p:nvSpPr>
          <p:cNvPr id="3" name="Picture Placeholder 2">
            <a:extLst>
              <a:ext uri="{FF2B5EF4-FFF2-40B4-BE49-F238E27FC236}">
                <a16:creationId xmlns:a16="http://schemas.microsoft.com/office/drawing/2014/main" id="{0C99BA28-3909-46B2-B797-9FF0D7C3C21F}"/>
              </a:ext>
            </a:extLst>
          </p:cNvPr>
          <p:cNvSpPr>
            <a:spLocks noGrp="1"/>
          </p:cNvSpPr>
          <p:nvPr>
            <p:ph type="pic" idx="1"/>
          </p:nvPr>
        </p:nvSpPr>
        <p:spPr>
          <a:xfrm>
            <a:off x="4413871" y="1193292"/>
            <a:ext cx="4360466" cy="320249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ACA8DDD7-C56D-419F-BE39-AB44DCE40977}"/>
              </a:ext>
            </a:extLst>
          </p:cNvPr>
          <p:cNvSpPr>
            <a:spLocks noGrp="1"/>
          </p:cNvSpPr>
          <p:nvPr>
            <p:ph type="body" sz="half" idx="2"/>
          </p:nvPr>
        </p:nvSpPr>
        <p:spPr>
          <a:xfrm>
            <a:off x="369663" y="1193292"/>
            <a:ext cx="3675539" cy="3202496"/>
          </a:xfrm>
        </p:spPr>
        <p:txBody>
          <a:bodyPr>
            <a:normAutofit/>
          </a:bodyPr>
          <a:lstStyle>
            <a:lvl1pPr marL="0" indent="0">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a:extLst>
              <a:ext uri="{FF2B5EF4-FFF2-40B4-BE49-F238E27FC236}">
                <a16:creationId xmlns:a16="http://schemas.microsoft.com/office/drawing/2014/main" id="{06F150C4-B6BE-45F2-8B0D-90899B425F27}"/>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0C7F3711-C557-4659-8D4F-2CFF5939BA80}"/>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C6521A7F-45F2-4256-AE12-63C0E4B9D94B}"/>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9954996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6218C-C9E1-46F7-9F57-2D09E9A7FB52}"/>
              </a:ext>
            </a:extLst>
          </p:cNvPr>
          <p:cNvSpPr>
            <a:spLocks noGrp="1"/>
          </p:cNvSpPr>
          <p:nvPr>
            <p:ph type="title"/>
          </p:nvPr>
        </p:nvSpPr>
        <p:spPr>
          <a:xfrm>
            <a:off x="628650" y="102394"/>
            <a:ext cx="7292340" cy="994172"/>
          </a:xfrm>
          <a:prstGeom prst="rect">
            <a:avLst/>
          </a:prstGeom>
        </p:spPr>
        <p:txBody>
          <a:bodyPr/>
          <a:lstStyle>
            <a:lvl1pPr>
              <a:defRPr>
                <a:latin typeface="Century Gothic" panose="020B0502020202020204" pitchFamily="34" charset="0"/>
                <a:ea typeface="DotumChe" panose="020B0609000101010101" pitchFamily="49" charset="-127"/>
              </a:defRPr>
            </a:lvl1pPr>
          </a:lstStyle>
          <a:p>
            <a:r>
              <a:rPr lang="en-US"/>
              <a:t>Click to edit Master title style</a:t>
            </a:r>
          </a:p>
        </p:txBody>
      </p:sp>
      <p:sp>
        <p:nvSpPr>
          <p:cNvPr id="3" name="Vertical Text Placeholder 2">
            <a:extLst>
              <a:ext uri="{FF2B5EF4-FFF2-40B4-BE49-F238E27FC236}">
                <a16:creationId xmlns:a16="http://schemas.microsoft.com/office/drawing/2014/main" id="{D34C56AC-6DDD-4D65-A449-C1123DD8B72B}"/>
              </a:ext>
            </a:extLst>
          </p:cNvPr>
          <p:cNvSpPr>
            <a:spLocks noGrp="1"/>
          </p:cNvSpPr>
          <p:nvPr>
            <p:ph type="body" orient="vert" idx="1"/>
          </p:nvPr>
        </p:nvSpPr>
        <p:spPr/>
        <p:txBody>
          <a:bodyPr vert="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61B2BC-90DD-47ED-BD98-BF556BAFFB27}"/>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9EEF4846-D7B6-415E-9C66-785C0B23F1EF}"/>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FF30018F-E1C2-48FE-A115-1D9748E9631B}"/>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12827002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500268-2C46-4768-A016-4C2D21709B6E}"/>
              </a:ext>
            </a:extLst>
          </p:cNvPr>
          <p:cNvSpPr>
            <a:spLocks noGrp="1"/>
          </p:cNvSpPr>
          <p:nvPr>
            <p:ph type="title" orient="vert"/>
          </p:nvPr>
        </p:nvSpPr>
        <p:spPr>
          <a:xfrm>
            <a:off x="6543675" y="1323593"/>
            <a:ext cx="2314575" cy="3309129"/>
          </a:xfrm>
          <a:prstGeom prst="rect">
            <a:avLst/>
          </a:prstGeo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4D2F098B-CE7D-43F0-8E82-412C396DA0E9}"/>
              </a:ext>
            </a:extLst>
          </p:cNvPr>
          <p:cNvSpPr>
            <a:spLocks noGrp="1"/>
          </p:cNvSpPr>
          <p:nvPr>
            <p:ph type="body" orient="vert" idx="1"/>
          </p:nvPr>
        </p:nvSpPr>
        <p:spPr>
          <a:xfrm>
            <a:off x="628650" y="1323594"/>
            <a:ext cx="5800725" cy="330912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5D2EF35-ECB7-44C4-8981-74A563A32B14}"/>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F9EFD969-9C7F-42F7-B595-5A6BC3343F1B}"/>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C692975C-4E09-45A5-BE5F-785BD52BDFA7}"/>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231522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Content Page (1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199036" y="89486"/>
            <a:ext cx="7821014" cy="913814"/>
          </a:xfrm>
          <a:prstGeom prst="rect">
            <a:avLst/>
          </a:prstGeom>
        </p:spPr>
        <p:txBody>
          <a:bodyPr vert="horz" lIns="91440" tIns="45720" rIns="91440" bIns="45720" rtlCol="0" anchor="ctr">
            <a:normAutofit/>
          </a:bodyPr>
          <a:lstStyle/>
          <a:p>
            <a:r>
              <a:rPr lang="en-US" dirty="0"/>
              <a:t>Click to edit Master title style</a:t>
            </a:r>
          </a:p>
        </p:txBody>
      </p:sp>
      <p:sp>
        <p:nvSpPr>
          <p:cNvPr id="10" name="Content Placeholder 9"/>
          <p:cNvSpPr>
            <a:spLocks noGrp="1"/>
          </p:cNvSpPr>
          <p:nvPr>
            <p:ph sz="quarter" idx="10"/>
          </p:nvPr>
        </p:nvSpPr>
        <p:spPr>
          <a:xfrm>
            <a:off x="269080" y="1318022"/>
            <a:ext cx="8606033" cy="2886075"/>
          </a:xfrm>
          <a:prstGeom prst="rect">
            <a:avLst/>
          </a:prstGeom>
        </p:spPr>
        <p:txBody>
          <a:bodyPr/>
          <a:lstStyle>
            <a:lvl1pPr>
              <a:defRPr>
                <a:solidFill>
                  <a:srgbClr val="131C4E"/>
                </a:solidFill>
              </a:defRPr>
            </a:lvl1pPr>
            <a:lvl2pPr>
              <a:defRPr>
                <a:solidFill>
                  <a:srgbClr val="131C4E"/>
                </a:solidFill>
              </a:defRPr>
            </a:lvl2pPr>
            <a:lvl3pPr>
              <a:defRPr>
                <a:solidFill>
                  <a:srgbClr val="131C4E"/>
                </a:solidFill>
              </a:defRPr>
            </a:lvl3pPr>
            <a:lvl4pPr>
              <a:defRPr>
                <a:solidFill>
                  <a:srgbClr val="131C4E"/>
                </a:solidFill>
              </a:defRPr>
            </a:lvl4pPr>
            <a:lvl5pPr>
              <a:defRPr>
                <a:solidFill>
                  <a:srgbClr val="131C4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BC0E02D4-230A-4EE9-9C36-AAD1D604230E}"/>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19694004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96640" y="1310603"/>
            <a:ext cx="5140959" cy="3263504"/>
          </a:xfrm>
        </p:spPr>
        <p:txBody>
          <a:bodyPr/>
          <a:lstStyle>
            <a:lvl1pPr marL="171450" indent="-171450">
              <a:buClr>
                <a:srgbClr val="002060"/>
              </a:buClr>
              <a:buFont typeface="Wingdings" panose="05000000000000000000" pitchFamily="2" charset="2"/>
              <a:buChar char="§"/>
              <a:defRPr/>
            </a:lvl1pPr>
            <a:lvl2pPr marL="514350" indent="-171450">
              <a:buClr>
                <a:srgbClr val="002060"/>
              </a:buClr>
              <a:buFont typeface="Wingdings" panose="05000000000000000000" pitchFamily="2" charset="2"/>
              <a:buChar char="§"/>
              <a:defRPr sz="2100"/>
            </a:lvl2pPr>
            <a:lvl3pPr marL="857250" indent="-171450">
              <a:buClr>
                <a:srgbClr val="002060"/>
              </a:buClr>
              <a:buFont typeface="Wingdings" panose="05000000000000000000" pitchFamily="2" charset="2"/>
              <a:buChar char="§"/>
              <a:defRPr sz="1800"/>
            </a:lvl3pPr>
            <a:lvl4pPr marL="1200150" indent="-171450">
              <a:buClr>
                <a:srgbClr val="002060"/>
              </a:buClr>
              <a:buFont typeface="Wingdings" panose="05000000000000000000" pitchFamily="2" charset="2"/>
              <a:buChar char="§"/>
              <a:defRPr sz="1500"/>
            </a:lvl4pPr>
            <a:lvl5pPr marL="1543050" indent="-171450">
              <a:buClr>
                <a:srgbClr val="002060"/>
              </a:buClr>
              <a:buFont typeface="Wingdings" panose="05000000000000000000" pitchFamily="2" charset="2"/>
              <a:buChar cha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75197" y="331179"/>
            <a:ext cx="6600773" cy="497489"/>
          </a:xfrm>
          <a:prstGeom prst="rect">
            <a:avLst/>
          </a:prstGeom>
        </p:spPr>
        <p:txBody>
          <a:bodyPr/>
          <a:lstStyle>
            <a:lvl1pPr>
              <a:defRPr>
                <a:latin typeface="Century Gothic" panose="020B0502020202020204" pitchFamily="34" charset="0"/>
              </a:defRPr>
            </a:lvl1pPr>
          </a:lstStyle>
          <a:p>
            <a:r>
              <a:rPr lang="en-US" dirty="0"/>
              <a:t>Click to edit Master title style</a:t>
            </a:r>
          </a:p>
        </p:txBody>
      </p:sp>
      <p:sp>
        <p:nvSpPr>
          <p:cNvPr id="7" name="Slide Number Placeholder 5">
            <a:extLst>
              <a:ext uri="{FF2B5EF4-FFF2-40B4-BE49-F238E27FC236}">
                <a16:creationId xmlns:a16="http://schemas.microsoft.com/office/drawing/2014/main" id="{BC9ECE83-2C5D-4735-87DE-29D9A936A869}"/>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pic>
        <p:nvPicPr>
          <p:cNvPr id="6" name="Picture 5">
            <a:extLst>
              <a:ext uri="{FF2B5EF4-FFF2-40B4-BE49-F238E27FC236}">
                <a16:creationId xmlns:a16="http://schemas.microsoft.com/office/drawing/2014/main" id="{25F8275B-828C-4E91-BDC0-1B265CFBAE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76959"/>
            <a:ext cx="3031236" cy="4114800"/>
          </a:xfrm>
          <a:prstGeom prst="rect">
            <a:avLst/>
          </a:prstGeom>
        </p:spPr>
      </p:pic>
    </p:spTree>
    <p:extLst>
      <p:ext uri="{BB962C8B-B14F-4D97-AF65-F5344CB8AC3E}">
        <p14:creationId xmlns:p14="http://schemas.microsoft.com/office/powerpoint/2010/main" val="8750843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96640" y="1310603"/>
            <a:ext cx="5140959" cy="3263504"/>
          </a:xfrm>
        </p:spPr>
        <p:txBody>
          <a:bodyPr/>
          <a:lstStyle>
            <a:lvl1pPr marL="171450" indent="-171450">
              <a:buClr>
                <a:srgbClr val="002060"/>
              </a:buClr>
              <a:buFont typeface="Wingdings" panose="05000000000000000000" pitchFamily="2" charset="2"/>
              <a:buChar char="§"/>
              <a:defRPr/>
            </a:lvl1pPr>
            <a:lvl2pPr marL="514350" indent="-171450">
              <a:buClr>
                <a:srgbClr val="002060"/>
              </a:buClr>
              <a:buFont typeface="Wingdings" panose="05000000000000000000" pitchFamily="2" charset="2"/>
              <a:buChar char="§"/>
              <a:defRPr sz="2100"/>
            </a:lvl2pPr>
            <a:lvl3pPr marL="857250" indent="-171450">
              <a:buClr>
                <a:srgbClr val="002060"/>
              </a:buClr>
              <a:buFont typeface="Wingdings" panose="05000000000000000000" pitchFamily="2" charset="2"/>
              <a:buChar char="§"/>
              <a:defRPr sz="1800"/>
            </a:lvl3pPr>
            <a:lvl4pPr marL="1200150" indent="-171450">
              <a:buClr>
                <a:srgbClr val="002060"/>
              </a:buClr>
              <a:buFont typeface="Wingdings" panose="05000000000000000000" pitchFamily="2" charset="2"/>
              <a:buChar char="§"/>
              <a:defRPr sz="1500"/>
            </a:lvl4pPr>
            <a:lvl5pPr marL="1543050" indent="-171450">
              <a:buClr>
                <a:srgbClr val="002060"/>
              </a:buClr>
              <a:buFont typeface="Wingdings" panose="05000000000000000000" pitchFamily="2" charset="2"/>
              <a:buChar cha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75197" y="331179"/>
            <a:ext cx="6600773" cy="497489"/>
          </a:xfrm>
          <a:prstGeom prst="rect">
            <a:avLst/>
          </a:prstGeom>
        </p:spPr>
        <p:txBody>
          <a:bodyPr/>
          <a:lstStyle>
            <a:lvl1pPr>
              <a:defRPr>
                <a:latin typeface="Century Gothic" panose="020B0502020202020204" pitchFamily="34" charset="0"/>
              </a:defRPr>
            </a:lvl1pPr>
          </a:lstStyle>
          <a:p>
            <a:r>
              <a:rPr lang="en-US" dirty="0"/>
              <a:t>Click to edit Master title style</a:t>
            </a:r>
          </a:p>
        </p:txBody>
      </p:sp>
      <p:sp>
        <p:nvSpPr>
          <p:cNvPr id="7" name="Slide Number Placeholder 5">
            <a:extLst>
              <a:ext uri="{FF2B5EF4-FFF2-40B4-BE49-F238E27FC236}">
                <a16:creationId xmlns:a16="http://schemas.microsoft.com/office/drawing/2014/main" id="{BC9ECE83-2C5D-4735-87DE-29D9A936A869}"/>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pic>
        <p:nvPicPr>
          <p:cNvPr id="11" name="Picture 10">
            <a:extLst>
              <a:ext uri="{FF2B5EF4-FFF2-40B4-BE49-F238E27FC236}">
                <a16:creationId xmlns:a16="http://schemas.microsoft.com/office/drawing/2014/main" id="{47111D2F-7291-4564-A0FD-75CF479CA5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4578" t="1235" r="13857" b="-1235"/>
          <a:stretch/>
        </p:blipFill>
        <p:spPr>
          <a:xfrm>
            <a:off x="0" y="1089660"/>
            <a:ext cx="3086100" cy="4114800"/>
          </a:xfrm>
          <a:prstGeom prst="rect">
            <a:avLst/>
          </a:prstGeom>
        </p:spPr>
      </p:pic>
    </p:spTree>
    <p:extLst>
      <p:ext uri="{BB962C8B-B14F-4D97-AF65-F5344CB8AC3E}">
        <p14:creationId xmlns:p14="http://schemas.microsoft.com/office/powerpoint/2010/main" val="1361816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lternate Title Page_Custom">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03B9CE-105A-4126-8595-AC58129E9A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51963" y="4252643"/>
            <a:ext cx="1694045" cy="576923"/>
          </a:xfrm>
          <a:prstGeom prst="rect">
            <a:avLst/>
          </a:prstGeom>
        </p:spPr>
      </p:pic>
      <p:pic>
        <p:nvPicPr>
          <p:cNvPr id="7" name="Picture 6">
            <a:extLst>
              <a:ext uri="{FF2B5EF4-FFF2-40B4-BE49-F238E27FC236}">
                <a16:creationId xmlns:a16="http://schemas.microsoft.com/office/drawing/2014/main" id="{D4822091-CB70-4B85-9CC0-DA3250FEE27B}"/>
              </a:ext>
            </a:extLst>
          </p:cNvPr>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1" y="0"/>
            <a:ext cx="5121565" cy="51435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040115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 Header Icon">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14981F6-A501-4FDD-9A61-4ABEC2C22F4D}"/>
              </a:ext>
            </a:extLst>
          </p:cNvPr>
          <p:cNvSpPr/>
          <p:nvPr userDrawn="1"/>
        </p:nvSpPr>
        <p:spPr>
          <a:xfrm>
            <a:off x="0" y="0"/>
            <a:ext cx="9198529" cy="5143500"/>
          </a:xfrm>
          <a:prstGeom prst="rect">
            <a:avLst/>
          </a:prstGeom>
          <a:solidFill>
            <a:srgbClr val="1827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i="0" dirty="0">
              <a:latin typeface="Lato" panose="020F0502020204030203" pitchFamily="34" charset="0"/>
            </a:endParaRPr>
          </a:p>
        </p:txBody>
      </p:sp>
      <p:sp>
        <p:nvSpPr>
          <p:cNvPr id="3" name="Rectangle 2">
            <a:extLst>
              <a:ext uri="{FF2B5EF4-FFF2-40B4-BE49-F238E27FC236}">
                <a16:creationId xmlns:a16="http://schemas.microsoft.com/office/drawing/2014/main" id="{1CB05528-20F6-9044-96D2-419AAF07834D}"/>
              </a:ext>
            </a:extLst>
          </p:cNvPr>
          <p:cNvSpPr/>
          <p:nvPr userDrawn="1"/>
        </p:nvSpPr>
        <p:spPr>
          <a:xfrm>
            <a:off x="0" y="5083276"/>
            <a:ext cx="9144000" cy="64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Lato" panose="020F0502020204030203" pitchFamily="34" charset="0"/>
              <a:ea typeface="+mn-ea"/>
              <a:cs typeface="+mn-cs"/>
            </a:endParaRPr>
          </a:p>
        </p:txBody>
      </p:sp>
      <p:pic>
        <p:nvPicPr>
          <p:cNvPr id="5" name="Picture 4">
            <a:extLst>
              <a:ext uri="{FF2B5EF4-FFF2-40B4-BE49-F238E27FC236}">
                <a16:creationId xmlns:a16="http://schemas.microsoft.com/office/drawing/2014/main" id="{4545161F-168D-4FC3-B0CD-1A759B2D48F4}"/>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48305" b="15303"/>
          <a:stretch/>
        </p:blipFill>
        <p:spPr>
          <a:xfrm>
            <a:off x="1163" y="0"/>
            <a:ext cx="9142838" cy="5158859"/>
          </a:xfrm>
          <a:prstGeom prst="rect">
            <a:avLst/>
          </a:prstGeom>
        </p:spPr>
      </p:pic>
    </p:spTree>
    <p:extLst>
      <p:ext uri="{BB962C8B-B14F-4D97-AF65-F5344CB8AC3E}">
        <p14:creationId xmlns:p14="http://schemas.microsoft.com/office/powerpoint/2010/main" val="1986336617"/>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F31439B-C1FB-C14C-9531-11CEEF426741}"/>
              </a:ext>
            </a:extLst>
          </p:cNvPr>
          <p:cNvSpPr/>
          <p:nvPr userDrawn="1"/>
        </p:nvSpPr>
        <p:spPr>
          <a:xfrm>
            <a:off x="0" y="0"/>
            <a:ext cx="9198529" cy="5143500"/>
          </a:xfrm>
          <a:prstGeom prst="rect">
            <a:avLst/>
          </a:prstGeom>
          <a:solidFill>
            <a:srgbClr val="1827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i="0" dirty="0">
              <a:latin typeface="Lato" panose="020F0502020204030203" pitchFamily="34" charset="0"/>
            </a:endParaRPr>
          </a:p>
        </p:txBody>
      </p:sp>
      <p:sp>
        <p:nvSpPr>
          <p:cNvPr id="3" name="Text Placeholder 5">
            <a:extLst>
              <a:ext uri="{FF2B5EF4-FFF2-40B4-BE49-F238E27FC236}">
                <a16:creationId xmlns:a16="http://schemas.microsoft.com/office/drawing/2014/main" id="{69E54122-4CD6-3547-A0D5-DAA49C2E9074}"/>
              </a:ext>
            </a:extLst>
          </p:cNvPr>
          <p:cNvSpPr>
            <a:spLocks noGrp="1"/>
          </p:cNvSpPr>
          <p:nvPr>
            <p:ph type="body" sz="quarter" idx="10" hasCustomPrompt="1"/>
          </p:nvPr>
        </p:nvSpPr>
        <p:spPr>
          <a:xfrm>
            <a:off x="695443" y="1977549"/>
            <a:ext cx="7807642" cy="1188402"/>
          </a:xfrm>
          <a:prstGeom prst="rect">
            <a:avLst/>
          </a:prstGeom>
        </p:spPr>
        <p:txBody>
          <a:bodyPr/>
          <a:lstStyle>
            <a:lvl1pPr marL="0" indent="0">
              <a:spcAft>
                <a:spcPts val="0"/>
              </a:spcAft>
              <a:buNone/>
              <a:defRPr sz="3600" b="0" i="0">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lvl1pPr>
          </a:lstStyle>
          <a:p>
            <a:pPr lvl="0"/>
            <a:r>
              <a:rPr lang="en-US" dirty="0"/>
              <a:t>Header</a:t>
            </a:r>
          </a:p>
        </p:txBody>
      </p:sp>
    </p:spTree>
    <p:extLst>
      <p:ext uri="{BB962C8B-B14F-4D97-AF65-F5344CB8AC3E}">
        <p14:creationId xmlns:p14="http://schemas.microsoft.com/office/powerpoint/2010/main" val="282762201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6BFF0-A9FC-42A5-99ED-6093A2D63C93}"/>
              </a:ext>
            </a:extLst>
          </p:cNvPr>
          <p:cNvSpPr>
            <a:spLocks noGrp="1"/>
          </p:cNvSpPr>
          <p:nvPr>
            <p:ph type="ctrTitle"/>
          </p:nvPr>
        </p:nvSpPr>
        <p:spPr>
          <a:xfrm>
            <a:off x="590976" y="-81865"/>
            <a:ext cx="7341846" cy="916205"/>
          </a:xfrm>
          <a:prstGeom prst="rect">
            <a:avLst/>
          </a:prstGeom>
        </p:spPr>
        <p:txBody>
          <a:bodyPr anchor="b">
            <a:normAutofit/>
          </a:bodyPr>
          <a:lstStyle>
            <a:lvl1pPr algn="ctr">
              <a:defRPr sz="2800"/>
            </a:lvl1pPr>
          </a:lstStyle>
          <a:p>
            <a:r>
              <a:rPr lang="en-US" dirty="0"/>
              <a:t>Click to edit Master title style</a:t>
            </a:r>
          </a:p>
        </p:txBody>
      </p:sp>
      <p:sp>
        <p:nvSpPr>
          <p:cNvPr id="3" name="Subtitle 2">
            <a:extLst>
              <a:ext uri="{FF2B5EF4-FFF2-40B4-BE49-F238E27FC236}">
                <a16:creationId xmlns:a16="http://schemas.microsoft.com/office/drawing/2014/main" id="{2EA7D5E0-420F-4F5C-86C9-FBB431F572F1}"/>
              </a:ext>
            </a:extLst>
          </p:cNvPr>
          <p:cNvSpPr>
            <a:spLocks noGrp="1"/>
          </p:cNvSpPr>
          <p:nvPr>
            <p:ph type="subTitle" idx="1"/>
          </p:nvPr>
        </p:nvSpPr>
        <p:spPr>
          <a:xfrm>
            <a:off x="1143000" y="1950839"/>
            <a:ext cx="6789822"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179FD57-510E-4616-B432-794FE41A6808}"/>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8001641-8B87-428D-A38B-731246FC69F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25A2EA1-25BC-4F01-94E3-20200B4F4A73}"/>
              </a:ext>
            </a:extLst>
          </p:cNvPr>
          <p:cNvSpPr>
            <a:spLocks noGrp="1"/>
          </p:cNvSpPr>
          <p:nvPr>
            <p:ph type="sldNum" sz="quarter" idx="12"/>
          </p:nvPr>
        </p:nvSpPr>
        <p:spPr>
          <a:xfrm>
            <a:off x="690245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5874725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D0AED-4438-421A-B241-4E84B9ACF1B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EBEA621A-6AB3-44BA-8882-8CBC8A1790C5}"/>
              </a:ext>
            </a:extLst>
          </p:cNvPr>
          <p:cNvSpPr>
            <a:spLocks noGrp="1"/>
          </p:cNvSpPr>
          <p:nvPr>
            <p:ph type="sldNum" sz="quarter" idx="10"/>
          </p:nvPr>
        </p:nvSpPr>
        <p:spPr>
          <a:xfrm>
            <a:off x="241451" y="4607713"/>
            <a:ext cx="564356" cy="138500"/>
          </a:xfrm>
        </p:spPr>
        <p:txBody>
          <a:bodyPr/>
          <a:lstStyle>
            <a:lvl1pPr>
              <a:defRPr>
                <a:solidFill>
                  <a:schemeClr val="bg1"/>
                </a:solidFill>
              </a:defRPr>
            </a:lvl1pPr>
          </a:lstStyle>
          <a:p>
            <a:fld id="{85DAECEE-8552-40B2-B119-2F9B8B8EA504}" type="slidenum">
              <a:rPr lang="en-US" smtClean="0"/>
              <a:pPr/>
              <a:t>‹#›</a:t>
            </a:fld>
            <a:endParaRPr lang="en-US" dirty="0"/>
          </a:p>
        </p:txBody>
      </p:sp>
      <p:grpSp>
        <p:nvGrpSpPr>
          <p:cNvPr id="4" name="Group 4">
            <a:extLst>
              <a:ext uri="{FF2B5EF4-FFF2-40B4-BE49-F238E27FC236}">
                <a16:creationId xmlns:a16="http://schemas.microsoft.com/office/drawing/2014/main" id="{AE14835B-447B-49C8-94A6-CB1CDD9E3172}"/>
              </a:ext>
            </a:extLst>
          </p:cNvPr>
          <p:cNvGrpSpPr>
            <a:grpSpLocks noChangeAspect="1"/>
          </p:cNvGrpSpPr>
          <p:nvPr userDrawn="1"/>
        </p:nvGrpSpPr>
        <p:grpSpPr bwMode="auto">
          <a:xfrm>
            <a:off x="7922419" y="4279633"/>
            <a:ext cx="910318" cy="538913"/>
            <a:chOff x="2928" y="1627"/>
            <a:chExt cx="1826" cy="1081"/>
          </a:xfrm>
          <a:solidFill>
            <a:schemeClr val="bg1"/>
          </a:solidFill>
        </p:grpSpPr>
        <p:sp>
          <p:nvSpPr>
            <p:cNvPr id="5" name="Freeform 5">
              <a:extLst>
                <a:ext uri="{FF2B5EF4-FFF2-40B4-BE49-F238E27FC236}">
                  <a16:creationId xmlns:a16="http://schemas.microsoft.com/office/drawing/2014/main" id="{F59A9A37-C86A-4754-8D7E-CA41E13F556E}"/>
                </a:ext>
              </a:extLst>
            </p:cNvPr>
            <p:cNvSpPr>
              <a:spLocks/>
            </p:cNvSpPr>
            <p:nvPr/>
          </p:nvSpPr>
          <p:spPr bwMode="auto">
            <a:xfrm>
              <a:off x="3331" y="1814"/>
              <a:ext cx="1423" cy="550"/>
            </a:xfrm>
            <a:custGeom>
              <a:avLst/>
              <a:gdLst>
                <a:gd name="T0" fmla="*/ 1043 w 1043"/>
                <a:gd name="T1" fmla="*/ 43 h 403"/>
                <a:gd name="T2" fmla="*/ 987 w 1043"/>
                <a:gd name="T3" fmla="*/ 118 h 403"/>
                <a:gd name="T4" fmla="*/ 856 w 1043"/>
                <a:gd name="T5" fmla="*/ 269 h 403"/>
                <a:gd name="T6" fmla="*/ 719 w 1043"/>
                <a:gd name="T7" fmla="*/ 400 h 403"/>
                <a:gd name="T8" fmla="*/ 714 w 1043"/>
                <a:gd name="T9" fmla="*/ 403 h 403"/>
                <a:gd name="T10" fmla="*/ 687 w 1043"/>
                <a:gd name="T11" fmla="*/ 366 h 403"/>
                <a:gd name="T12" fmla="*/ 690 w 1043"/>
                <a:gd name="T13" fmla="*/ 361 h 403"/>
                <a:gd name="T14" fmla="*/ 749 w 1043"/>
                <a:gd name="T15" fmla="*/ 239 h 403"/>
                <a:gd name="T16" fmla="*/ 750 w 1043"/>
                <a:gd name="T17" fmla="*/ 176 h 403"/>
                <a:gd name="T18" fmla="*/ 692 w 1043"/>
                <a:gd name="T19" fmla="*/ 115 h 403"/>
                <a:gd name="T20" fmla="*/ 613 w 1043"/>
                <a:gd name="T21" fmla="*/ 98 h 403"/>
                <a:gd name="T22" fmla="*/ 465 w 1043"/>
                <a:gd name="T23" fmla="*/ 104 h 403"/>
                <a:gd name="T24" fmla="*/ 41 w 1043"/>
                <a:gd name="T25" fmla="*/ 230 h 403"/>
                <a:gd name="T26" fmla="*/ 3 w 1043"/>
                <a:gd name="T27" fmla="*/ 248 h 403"/>
                <a:gd name="T28" fmla="*/ 0 w 1043"/>
                <a:gd name="T29" fmla="*/ 244 h 403"/>
                <a:gd name="T30" fmla="*/ 7 w 1043"/>
                <a:gd name="T31" fmla="*/ 240 h 403"/>
                <a:gd name="T32" fmla="*/ 312 w 1043"/>
                <a:gd name="T33" fmla="*/ 101 h 403"/>
                <a:gd name="T34" fmla="*/ 550 w 1043"/>
                <a:gd name="T35" fmla="*/ 32 h 403"/>
                <a:gd name="T36" fmla="*/ 703 w 1043"/>
                <a:gd name="T37" fmla="*/ 7 h 403"/>
                <a:gd name="T38" fmla="*/ 819 w 1043"/>
                <a:gd name="T39" fmla="*/ 0 h 403"/>
                <a:gd name="T40" fmla="*/ 986 w 1043"/>
                <a:gd name="T41" fmla="*/ 20 h 403"/>
                <a:gd name="T42" fmla="*/ 1041 w 1043"/>
                <a:gd name="T43" fmla="*/ 41 h 403"/>
                <a:gd name="T44" fmla="*/ 1043 w 1043"/>
                <a:gd name="T45" fmla="*/ 42 h 403"/>
                <a:gd name="T46" fmla="*/ 1043 w 1043"/>
                <a:gd name="T47" fmla="*/ 4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3" h="403">
                  <a:moveTo>
                    <a:pt x="1043" y="43"/>
                  </a:moveTo>
                  <a:cubicBezTo>
                    <a:pt x="1025" y="68"/>
                    <a:pt x="1006" y="93"/>
                    <a:pt x="987" y="118"/>
                  </a:cubicBezTo>
                  <a:cubicBezTo>
                    <a:pt x="946" y="171"/>
                    <a:pt x="902" y="221"/>
                    <a:pt x="856" y="269"/>
                  </a:cubicBezTo>
                  <a:cubicBezTo>
                    <a:pt x="813" y="315"/>
                    <a:pt x="767" y="359"/>
                    <a:pt x="719" y="400"/>
                  </a:cubicBezTo>
                  <a:cubicBezTo>
                    <a:pt x="717" y="401"/>
                    <a:pt x="716" y="402"/>
                    <a:pt x="714" y="403"/>
                  </a:cubicBezTo>
                  <a:cubicBezTo>
                    <a:pt x="705" y="391"/>
                    <a:pt x="696" y="379"/>
                    <a:pt x="687" y="366"/>
                  </a:cubicBezTo>
                  <a:cubicBezTo>
                    <a:pt x="688" y="364"/>
                    <a:pt x="689" y="363"/>
                    <a:pt x="690" y="361"/>
                  </a:cubicBezTo>
                  <a:cubicBezTo>
                    <a:pt x="716" y="324"/>
                    <a:pt x="736" y="283"/>
                    <a:pt x="749" y="239"/>
                  </a:cubicBezTo>
                  <a:cubicBezTo>
                    <a:pt x="755" y="218"/>
                    <a:pt x="756" y="197"/>
                    <a:pt x="750" y="176"/>
                  </a:cubicBezTo>
                  <a:cubicBezTo>
                    <a:pt x="741" y="146"/>
                    <a:pt x="721" y="127"/>
                    <a:pt x="692" y="115"/>
                  </a:cubicBezTo>
                  <a:cubicBezTo>
                    <a:pt x="667" y="106"/>
                    <a:pt x="640" y="101"/>
                    <a:pt x="613" y="98"/>
                  </a:cubicBezTo>
                  <a:cubicBezTo>
                    <a:pt x="564" y="93"/>
                    <a:pt x="514" y="97"/>
                    <a:pt x="465" y="104"/>
                  </a:cubicBezTo>
                  <a:cubicBezTo>
                    <a:pt x="317" y="123"/>
                    <a:pt x="176" y="168"/>
                    <a:pt x="41" y="230"/>
                  </a:cubicBezTo>
                  <a:cubicBezTo>
                    <a:pt x="29" y="236"/>
                    <a:pt x="16" y="242"/>
                    <a:pt x="3" y="248"/>
                  </a:cubicBezTo>
                  <a:cubicBezTo>
                    <a:pt x="3" y="247"/>
                    <a:pt x="2" y="246"/>
                    <a:pt x="0" y="244"/>
                  </a:cubicBezTo>
                  <a:cubicBezTo>
                    <a:pt x="3" y="242"/>
                    <a:pt x="4" y="241"/>
                    <a:pt x="7" y="240"/>
                  </a:cubicBezTo>
                  <a:cubicBezTo>
                    <a:pt x="104" y="185"/>
                    <a:pt x="206" y="140"/>
                    <a:pt x="312" y="101"/>
                  </a:cubicBezTo>
                  <a:cubicBezTo>
                    <a:pt x="390" y="73"/>
                    <a:pt x="469" y="49"/>
                    <a:pt x="550" y="32"/>
                  </a:cubicBezTo>
                  <a:cubicBezTo>
                    <a:pt x="601" y="21"/>
                    <a:pt x="651" y="12"/>
                    <a:pt x="703" y="7"/>
                  </a:cubicBezTo>
                  <a:cubicBezTo>
                    <a:pt x="741" y="3"/>
                    <a:pt x="780" y="0"/>
                    <a:pt x="819" y="0"/>
                  </a:cubicBezTo>
                  <a:cubicBezTo>
                    <a:pt x="876" y="1"/>
                    <a:pt x="931" y="6"/>
                    <a:pt x="986" y="20"/>
                  </a:cubicBezTo>
                  <a:cubicBezTo>
                    <a:pt x="1005" y="24"/>
                    <a:pt x="1024" y="31"/>
                    <a:pt x="1041" y="41"/>
                  </a:cubicBezTo>
                  <a:cubicBezTo>
                    <a:pt x="1042" y="41"/>
                    <a:pt x="1042" y="41"/>
                    <a:pt x="1043" y="42"/>
                  </a:cubicBezTo>
                  <a:cubicBezTo>
                    <a:pt x="1043" y="42"/>
                    <a:pt x="1043" y="43"/>
                    <a:pt x="1043"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6" name="Freeform 6">
              <a:extLst>
                <a:ext uri="{FF2B5EF4-FFF2-40B4-BE49-F238E27FC236}">
                  <a16:creationId xmlns:a16="http://schemas.microsoft.com/office/drawing/2014/main" id="{1B606904-3892-43D7-9313-91E60BA10864}"/>
                </a:ext>
              </a:extLst>
            </p:cNvPr>
            <p:cNvSpPr>
              <a:spLocks/>
            </p:cNvSpPr>
            <p:nvPr/>
          </p:nvSpPr>
          <p:spPr bwMode="auto">
            <a:xfrm>
              <a:off x="3972" y="2155"/>
              <a:ext cx="561" cy="540"/>
            </a:xfrm>
            <a:custGeom>
              <a:avLst/>
              <a:gdLst>
                <a:gd name="T0" fmla="*/ 273 w 411"/>
                <a:gd name="T1" fmla="*/ 396 h 396"/>
                <a:gd name="T2" fmla="*/ 253 w 411"/>
                <a:gd name="T3" fmla="*/ 367 h 396"/>
                <a:gd name="T4" fmla="*/ 102 w 411"/>
                <a:gd name="T5" fmla="*/ 148 h 396"/>
                <a:gd name="T6" fmla="*/ 99 w 411"/>
                <a:gd name="T7" fmla="*/ 144 h 396"/>
                <a:gd name="T8" fmla="*/ 99 w 411"/>
                <a:gd name="T9" fmla="*/ 395 h 396"/>
                <a:gd name="T10" fmla="*/ 0 w 411"/>
                <a:gd name="T11" fmla="*/ 395 h 396"/>
                <a:gd name="T12" fmla="*/ 0 w 411"/>
                <a:gd name="T13" fmla="*/ 0 h 396"/>
                <a:gd name="T14" fmla="*/ 5 w 411"/>
                <a:gd name="T15" fmla="*/ 0 h 396"/>
                <a:gd name="T16" fmla="*/ 117 w 411"/>
                <a:gd name="T17" fmla="*/ 0 h 396"/>
                <a:gd name="T18" fmla="*/ 123 w 411"/>
                <a:gd name="T19" fmla="*/ 3 h 396"/>
                <a:gd name="T20" fmla="*/ 410 w 411"/>
                <a:gd name="T21" fmla="*/ 394 h 396"/>
                <a:gd name="T22" fmla="*/ 411 w 411"/>
                <a:gd name="T23" fmla="*/ 396 h 396"/>
                <a:gd name="T24" fmla="*/ 273 w 411"/>
                <a:gd name="T25"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1" h="396">
                  <a:moveTo>
                    <a:pt x="273" y="396"/>
                  </a:moveTo>
                  <a:cubicBezTo>
                    <a:pt x="266" y="387"/>
                    <a:pt x="260" y="377"/>
                    <a:pt x="253" y="367"/>
                  </a:cubicBezTo>
                  <a:cubicBezTo>
                    <a:pt x="203" y="294"/>
                    <a:pt x="153" y="221"/>
                    <a:pt x="102" y="148"/>
                  </a:cubicBezTo>
                  <a:cubicBezTo>
                    <a:pt x="102" y="147"/>
                    <a:pt x="101" y="146"/>
                    <a:pt x="99" y="144"/>
                  </a:cubicBezTo>
                  <a:cubicBezTo>
                    <a:pt x="99" y="228"/>
                    <a:pt x="99" y="311"/>
                    <a:pt x="99" y="395"/>
                  </a:cubicBezTo>
                  <a:cubicBezTo>
                    <a:pt x="66" y="395"/>
                    <a:pt x="33" y="395"/>
                    <a:pt x="0" y="395"/>
                  </a:cubicBezTo>
                  <a:cubicBezTo>
                    <a:pt x="0" y="264"/>
                    <a:pt x="0" y="132"/>
                    <a:pt x="0" y="0"/>
                  </a:cubicBezTo>
                  <a:cubicBezTo>
                    <a:pt x="2" y="0"/>
                    <a:pt x="3" y="0"/>
                    <a:pt x="5" y="0"/>
                  </a:cubicBezTo>
                  <a:cubicBezTo>
                    <a:pt x="42" y="0"/>
                    <a:pt x="80" y="0"/>
                    <a:pt x="117" y="0"/>
                  </a:cubicBezTo>
                  <a:cubicBezTo>
                    <a:pt x="120" y="0"/>
                    <a:pt x="122" y="1"/>
                    <a:pt x="123" y="3"/>
                  </a:cubicBezTo>
                  <a:cubicBezTo>
                    <a:pt x="219" y="133"/>
                    <a:pt x="314" y="264"/>
                    <a:pt x="410" y="394"/>
                  </a:cubicBezTo>
                  <a:cubicBezTo>
                    <a:pt x="410" y="395"/>
                    <a:pt x="411" y="396"/>
                    <a:pt x="411" y="396"/>
                  </a:cubicBezTo>
                  <a:cubicBezTo>
                    <a:pt x="365" y="396"/>
                    <a:pt x="319" y="396"/>
                    <a:pt x="273" y="3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7" name="Freeform 7">
              <a:extLst>
                <a:ext uri="{FF2B5EF4-FFF2-40B4-BE49-F238E27FC236}">
                  <a16:creationId xmlns:a16="http://schemas.microsoft.com/office/drawing/2014/main" id="{569D5189-EAFE-46CF-A65A-7D93610DDE87}"/>
                </a:ext>
              </a:extLst>
            </p:cNvPr>
            <p:cNvSpPr>
              <a:spLocks/>
            </p:cNvSpPr>
            <p:nvPr/>
          </p:nvSpPr>
          <p:spPr bwMode="auto">
            <a:xfrm>
              <a:off x="2928" y="2140"/>
              <a:ext cx="477" cy="568"/>
            </a:xfrm>
            <a:custGeom>
              <a:avLst/>
              <a:gdLst>
                <a:gd name="T0" fmla="*/ 0 w 349"/>
                <a:gd name="T1" fmla="*/ 188 h 416"/>
                <a:gd name="T2" fmla="*/ 4 w 349"/>
                <a:gd name="T3" fmla="*/ 160 h 416"/>
                <a:gd name="T4" fmla="*/ 75 w 349"/>
                <a:gd name="T5" fmla="*/ 38 h 416"/>
                <a:gd name="T6" fmla="*/ 162 w 349"/>
                <a:gd name="T7" fmla="*/ 3 h 416"/>
                <a:gd name="T8" fmla="*/ 255 w 349"/>
                <a:gd name="T9" fmla="*/ 14 h 416"/>
                <a:gd name="T10" fmla="*/ 334 w 349"/>
                <a:gd name="T11" fmla="*/ 81 h 416"/>
                <a:gd name="T12" fmla="*/ 347 w 349"/>
                <a:gd name="T13" fmla="*/ 102 h 416"/>
                <a:gd name="T14" fmla="*/ 271 w 349"/>
                <a:gd name="T15" fmla="*/ 140 h 416"/>
                <a:gd name="T16" fmla="*/ 268 w 349"/>
                <a:gd name="T17" fmla="*/ 134 h 416"/>
                <a:gd name="T18" fmla="*/ 204 w 349"/>
                <a:gd name="T19" fmla="*/ 84 h 416"/>
                <a:gd name="T20" fmla="*/ 107 w 349"/>
                <a:gd name="T21" fmla="*/ 137 h 416"/>
                <a:gd name="T22" fmla="*/ 96 w 349"/>
                <a:gd name="T23" fmla="*/ 219 h 416"/>
                <a:gd name="T24" fmla="*/ 110 w 349"/>
                <a:gd name="T25" fmla="*/ 274 h 416"/>
                <a:gd name="T26" fmla="*/ 251 w 349"/>
                <a:gd name="T27" fmla="*/ 301 h 416"/>
                <a:gd name="T28" fmla="*/ 273 w 349"/>
                <a:gd name="T29" fmla="*/ 272 h 416"/>
                <a:gd name="T30" fmla="*/ 349 w 349"/>
                <a:gd name="T31" fmla="*/ 309 h 416"/>
                <a:gd name="T32" fmla="*/ 318 w 349"/>
                <a:gd name="T33" fmla="*/ 351 h 416"/>
                <a:gd name="T34" fmla="*/ 224 w 349"/>
                <a:gd name="T35" fmla="*/ 404 h 416"/>
                <a:gd name="T36" fmla="*/ 26 w 349"/>
                <a:gd name="T37" fmla="*/ 311 h 416"/>
                <a:gd name="T38" fmla="*/ 1 w 349"/>
                <a:gd name="T39" fmla="*/ 224 h 416"/>
                <a:gd name="T40" fmla="*/ 0 w 349"/>
                <a:gd name="T41" fmla="*/ 220 h 416"/>
                <a:gd name="T42" fmla="*/ 0 w 349"/>
                <a:gd name="T43" fmla="*/ 18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9" h="416">
                  <a:moveTo>
                    <a:pt x="0" y="188"/>
                  </a:moveTo>
                  <a:cubicBezTo>
                    <a:pt x="1" y="179"/>
                    <a:pt x="2" y="169"/>
                    <a:pt x="4" y="160"/>
                  </a:cubicBezTo>
                  <a:cubicBezTo>
                    <a:pt x="13" y="111"/>
                    <a:pt x="34" y="69"/>
                    <a:pt x="75" y="38"/>
                  </a:cubicBezTo>
                  <a:cubicBezTo>
                    <a:pt x="100" y="18"/>
                    <a:pt x="130" y="7"/>
                    <a:pt x="162" y="3"/>
                  </a:cubicBezTo>
                  <a:cubicBezTo>
                    <a:pt x="194" y="0"/>
                    <a:pt x="225" y="2"/>
                    <a:pt x="255" y="14"/>
                  </a:cubicBezTo>
                  <a:cubicBezTo>
                    <a:pt x="289" y="28"/>
                    <a:pt x="314" y="51"/>
                    <a:pt x="334" y="81"/>
                  </a:cubicBezTo>
                  <a:cubicBezTo>
                    <a:pt x="338" y="87"/>
                    <a:pt x="342" y="94"/>
                    <a:pt x="347" y="102"/>
                  </a:cubicBezTo>
                  <a:cubicBezTo>
                    <a:pt x="322" y="115"/>
                    <a:pt x="296" y="127"/>
                    <a:pt x="271" y="140"/>
                  </a:cubicBezTo>
                  <a:cubicBezTo>
                    <a:pt x="270" y="138"/>
                    <a:pt x="269" y="136"/>
                    <a:pt x="268" y="134"/>
                  </a:cubicBezTo>
                  <a:cubicBezTo>
                    <a:pt x="255" y="107"/>
                    <a:pt x="234" y="89"/>
                    <a:pt x="204" y="84"/>
                  </a:cubicBezTo>
                  <a:cubicBezTo>
                    <a:pt x="165" y="78"/>
                    <a:pt x="125" y="94"/>
                    <a:pt x="107" y="137"/>
                  </a:cubicBezTo>
                  <a:cubicBezTo>
                    <a:pt x="97" y="164"/>
                    <a:pt x="95" y="191"/>
                    <a:pt x="96" y="219"/>
                  </a:cubicBezTo>
                  <a:cubicBezTo>
                    <a:pt x="98" y="238"/>
                    <a:pt x="102" y="256"/>
                    <a:pt x="110" y="274"/>
                  </a:cubicBezTo>
                  <a:cubicBezTo>
                    <a:pt x="134" y="329"/>
                    <a:pt x="205" y="344"/>
                    <a:pt x="251" y="301"/>
                  </a:cubicBezTo>
                  <a:cubicBezTo>
                    <a:pt x="260" y="293"/>
                    <a:pt x="267" y="283"/>
                    <a:pt x="273" y="272"/>
                  </a:cubicBezTo>
                  <a:cubicBezTo>
                    <a:pt x="298" y="284"/>
                    <a:pt x="323" y="296"/>
                    <a:pt x="349" y="309"/>
                  </a:cubicBezTo>
                  <a:cubicBezTo>
                    <a:pt x="340" y="324"/>
                    <a:pt x="330" y="338"/>
                    <a:pt x="318" y="351"/>
                  </a:cubicBezTo>
                  <a:cubicBezTo>
                    <a:pt x="292" y="378"/>
                    <a:pt x="261" y="398"/>
                    <a:pt x="224" y="404"/>
                  </a:cubicBezTo>
                  <a:cubicBezTo>
                    <a:pt x="152" y="416"/>
                    <a:pt x="69" y="390"/>
                    <a:pt x="26" y="311"/>
                  </a:cubicBezTo>
                  <a:cubicBezTo>
                    <a:pt x="11" y="284"/>
                    <a:pt x="3" y="255"/>
                    <a:pt x="1" y="224"/>
                  </a:cubicBezTo>
                  <a:cubicBezTo>
                    <a:pt x="1" y="223"/>
                    <a:pt x="0" y="221"/>
                    <a:pt x="0" y="220"/>
                  </a:cubicBezTo>
                  <a:cubicBezTo>
                    <a:pt x="0" y="210"/>
                    <a:pt x="0" y="199"/>
                    <a:pt x="0"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8" name="Freeform 8">
              <a:extLst>
                <a:ext uri="{FF2B5EF4-FFF2-40B4-BE49-F238E27FC236}">
                  <a16:creationId xmlns:a16="http://schemas.microsoft.com/office/drawing/2014/main" id="{5581B7E0-67E6-4581-90F4-209600A84D03}"/>
                </a:ext>
              </a:extLst>
            </p:cNvPr>
            <p:cNvSpPr>
              <a:spLocks/>
            </p:cNvSpPr>
            <p:nvPr/>
          </p:nvSpPr>
          <p:spPr bwMode="auto">
            <a:xfrm>
              <a:off x="3274" y="1627"/>
              <a:ext cx="716" cy="479"/>
            </a:xfrm>
            <a:custGeom>
              <a:avLst/>
              <a:gdLst>
                <a:gd name="T0" fmla="*/ 483 w 525"/>
                <a:gd name="T1" fmla="*/ 0 h 351"/>
                <a:gd name="T2" fmla="*/ 500 w 525"/>
                <a:gd name="T3" fmla="*/ 4 h 351"/>
                <a:gd name="T4" fmla="*/ 520 w 525"/>
                <a:gd name="T5" fmla="*/ 46 h 351"/>
                <a:gd name="T6" fmla="*/ 479 w 525"/>
                <a:gd name="T7" fmla="*/ 26 h 351"/>
                <a:gd name="T8" fmla="*/ 404 w 525"/>
                <a:gd name="T9" fmla="*/ 41 h 351"/>
                <a:gd name="T10" fmla="*/ 228 w 525"/>
                <a:gd name="T11" fmla="*/ 139 h 351"/>
                <a:gd name="T12" fmla="*/ 101 w 525"/>
                <a:gd name="T13" fmla="*/ 248 h 351"/>
                <a:gd name="T14" fmla="*/ 5 w 525"/>
                <a:gd name="T15" fmla="*/ 350 h 351"/>
                <a:gd name="T16" fmla="*/ 4 w 525"/>
                <a:gd name="T17" fmla="*/ 351 h 351"/>
                <a:gd name="T18" fmla="*/ 3 w 525"/>
                <a:gd name="T19" fmla="*/ 350 h 351"/>
                <a:gd name="T20" fmla="*/ 0 w 525"/>
                <a:gd name="T21" fmla="*/ 346 h 351"/>
                <a:gd name="T22" fmla="*/ 38 w 525"/>
                <a:gd name="T23" fmla="*/ 299 h 351"/>
                <a:gd name="T24" fmla="*/ 249 w 525"/>
                <a:gd name="T25" fmla="*/ 99 h 351"/>
                <a:gd name="T26" fmla="*/ 385 w 525"/>
                <a:gd name="T27" fmla="*/ 20 h 351"/>
                <a:gd name="T28" fmla="*/ 459 w 525"/>
                <a:gd name="T29" fmla="*/ 1 h 351"/>
                <a:gd name="T30" fmla="*/ 461 w 525"/>
                <a:gd name="T31" fmla="*/ 0 h 351"/>
                <a:gd name="T32" fmla="*/ 483 w 525"/>
                <a:gd name="T33"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5" h="351">
                  <a:moveTo>
                    <a:pt x="483" y="0"/>
                  </a:moveTo>
                  <a:cubicBezTo>
                    <a:pt x="489" y="1"/>
                    <a:pt x="495" y="2"/>
                    <a:pt x="500" y="4"/>
                  </a:cubicBezTo>
                  <a:cubicBezTo>
                    <a:pt x="521" y="11"/>
                    <a:pt x="525" y="32"/>
                    <a:pt x="520" y="46"/>
                  </a:cubicBezTo>
                  <a:cubicBezTo>
                    <a:pt x="510" y="31"/>
                    <a:pt x="495" y="27"/>
                    <a:pt x="479" y="26"/>
                  </a:cubicBezTo>
                  <a:cubicBezTo>
                    <a:pt x="453" y="25"/>
                    <a:pt x="428" y="32"/>
                    <a:pt x="404" y="41"/>
                  </a:cubicBezTo>
                  <a:cubicBezTo>
                    <a:pt x="341" y="65"/>
                    <a:pt x="282" y="98"/>
                    <a:pt x="228" y="139"/>
                  </a:cubicBezTo>
                  <a:cubicBezTo>
                    <a:pt x="183" y="172"/>
                    <a:pt x="141" y="209"/>
                    <a:pt x="101" y="248"/>
                  </a:cubicBezTo>
                  <a:cubicBezTo>
                    <a:pt x="67" y="281"/>
                    <a:pt x="35" y="314"/>
                    <a:pt x="5" y="350"/>
                  </a:cubicBezTo>
                  <a:cubicBezTo>
                    <a:pt x="4" y="350"/>
                    <a:pt x="4" y="350"/>
                    <a:pt x="4" y="351"/>
                  </a:cubicBezTo>
                  <a:cubicBezTo>
                    <a:pt x="3" y="350"/>
                    <a:pt x="3" y="350"/>
                    <a:pt x="3" y="350"/>
                  </a:cubicBezTo>
                  <a:cubicBezTo>
                    <a:pt x="2" y="349"/>
                    <a:pt x="1" y="348"/>
                    <a:pt x="0" y="346"/>
                  </a:cubicBezTo>
                  <a:cubicBezTo>
                    <a:pt x="13" y="331"/>
                    <a:pt x="25" y="315"/>
                    <a:pt x="38" y="299"/>
                  </a:cubicBezTo>
                  <a:cubicBezTo>
                    <a:pt x="100" y="224"/>
                    <a:pt x="170" y="157"/>
                    <a:pt x="249" y="99"/>
                  </a:cubicBezTo>
                  <a:cubicBezTo>
                    <a:pt x="292" y="67"/>
                    <a:pt x="336" y="40"/>
                    <a:pt x="385" y="20"/>
                  </a:cubicBezTo>
                  <a:cubicBezTo>
                    <a:pt x="409" y="10"/>
                    <a:pt x="433" y="3"/>
                    <a:pt x="459" y="1"/>
                  </a:cubicBezTo>
                  <a:cubicBezTo>
                    <a:pt x="459" y="1"/>
                    <a:pt x="460" y="0"/>
                    <a:pt x="461" y="0"/>
                  </a:cubicBezTo>
                  <a:cubicBezTo>
                    <a:pt x="469" y="0"/>
                    <a:pt x="476" y="0"/>
                    <a:pt x="4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9" name="Freeform 9">
              <a:extLst>
                <a:ext uri="{FF2B5EF4-FFF2-40B4-BE49-F238E27FC236}">
                  <a16:creationId xmlns:a16="http://schemas.microsoft.com/office/drawing/2014/main" id="{5F5474B4-B05F-48C4-BA04-ACA2BEB1F1B4}"/>
                </a:ext>
              </a:extLst>
            </p:cNvPr>
            <p:cNvSpPr>
              <a:spLocks/>
            </p:cNvSpPr>
            <p:nvPr/>
          </p:nvSpPr>
          <p:spPr bwMode="auto">
            <a:xfrm>
              <a:off x="3417" y="2155"/>
              <a:ext cx="345" cy="539"/>
            </a:xfrm>
            <a:custGeom>
              <a:avLst/>
              <a:gdLst>
                <a:gd name="T0" fmla="*/ 0 w 253"/>
                <a:gd name="T1" fmla="*/ 0 h 395"/>
                <a:gd name="T2" fmla="*/ 99 w 253"/>
                <a:gd name="T3" fmla="*/ 0 h 395"/>
                <a:gd name="T4" fmla="*/ 99 w 253"/>
                <a:gd name="T5" fmla="*/ 312 h 395"/>
                <a:gd name="T6" fmla="*/ 253 w 253"/>
                <a:gd name="T7" fmla="*/ 312 h 395"/>
                <a:gd name="T8" fmla="*/ 253 w 253"/>
                <a:gd name="T9" fmla="*/ 395 h 395"/>
                <a:gd name="T10" fmla="*/ 0 w 253"/>
                <a:gd name="T11" fmla="*/ 395 h 395"/>
                <a:gd name="T12" fmla="*/ 0 w 253"/>
                <a:gd name="T13" fmla="*/ 0 h 395"/>
              </a:gdLst>
              <a:ahLst/>
              <a:cxnLst>
                <a:cxn ang="0">
                  <a:pos x="T0" y="T1"/>
                </a:cxn>
                <a:cxn ang="0">
                  <a:pos x="T2" y="T3"/>
                </a:cxn>
                <a:cxn ang="0">
                  <a:pos x="T4" y="T5"/>
                </a:cxn>
                <a:cxn ang="0">
                  <a:pos x="T6" y="T7"/>
                </a:cxn>
                <a:cxn ang="0">
                  <a:pos x="T8" y="T9"/>
                </a:cxn>
                <a:cxn ang="0">
                  <a:pos x="T10" y="T11"/>
                </a:cxn>
                <a:cxn ang="0">
                  <a:pos x="T12" y="T13"/>
                </a:cxn>
              </a:cxnLst>
              <a:rect l="0" t="0" r="r" b="b"/>
              <a:pathLst>
                <a:path w="253" h="395">
                  <a:moveTo>
                    <a:pt x="0" y="0"/>
                  </a:moveTo>
                  <a:cubicBezTo>
                    <a:pt x="33" y="0"/>
                    <a:pt x="66" y="0"/>
                    <a:pt x="99" y="0"/>
                  </a:cubicBezTo>
                  <a:cubicBezTo>
                    <a:pt x="99" y="104"/>
                    <a:pt x="99" y="208"/>
                    <a:pt x="99" y="312"/>
                  </a:cubicBezTo>
                  <a:cubicBezTo>
                    <a:pt x="151" y="312"/>
                    <a:pt x="202" y="312"/>
                    <a:pt x="253" y="312"/>
                  </a:cubicBezTo>
                  <a:cubicBezTo>
                    <a:pt x="253" y="340"/>
                    <a:pt x="253" y="367"/>
                    <a:pt x="253" y="395"/>
                  </a:cubicBezTo>
                  <a:cubicBezTo>
                    <a:pt x="169" y="395"/>
                    <a:pt x="85" y="395"/>
                    <a:pt x="0" y="395"/>
                  </a:cubicBezTo>
                  <a:cubicBezTo>
                    <a:pt x="0" y="264"/>
                    <a:pt x="0" y="13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0" name="Freeform 10">
              <a:extLst>
                <a:ext uri="{FF2B5EF4-FFF2-40B4-BE49-F238E27FC236}">
                  <a16:creationId xmlns:a16="http://schemas.microsoft.com/office/drawing/2014/main" id="{EC334BCB-C660-42A7-B7E9-A747B7812F3D}"/>
                </a:ext>
              </a:extLst>
            </p:cNvPr>
            <p:cNvSpPr>
              <a:spLocks/>
            </p:cNvSpPr>
            <p:nvPr/>
          </p:nvSpPr>
          <p:spPr bwMode="auto">
            <a:xfrm>
              <a:off x="3792" y="2155"/>
              <a:ext cx="134" cy="539"/>
            </a:xfrm>
            <a:custGeom>
              <a:avLst/>
              <a:gdLst>
                <a:gd name="T0" fmla="*/ 0 w 98"/>
                <a:gd name="T1" fmla="*/ 0 h 395"/>
                <a:gd name="T2" fmla="*/ 98 w 98"/>
                <a:gd name="T3" fmla="*/ 0 h 395"/>
                <a:gd name="T4" fmla="*/ 98 w 98"/>
                <a:gd name="T5" fmla="*/ 395 h 395"/>
                <a:gd name="T6" fmla="*/ 0 w 98"/>
                <a:gd name="T7" fmla="*/ 395 h 395"/>
                <a:gd name="T8" fmla="*/ 0 w 98"/>
                <a:gd name="T9" fmla="*/ 0 h 395"/>
              </a:gdLst>
              <a:ahLst/>
              <a:cxnLst>
                <a:cxn ang="0">
                  <a:pos x="T0" y="T1"/>
                </a:cxn>
                <a:cxn ang="0">
                  <a:pos x="T2" y="T3"/>
                </a:cxn>
                <a:cxn ang="0">
                  <a:pos x="T4" y="T5"/>
                </a:cxn>
                <a:cxn ang="0">
                  <a:pos x="T6" y="T7"/>
                </a:cxn>
                <a:cxn ang="0">
                  <a:pos x="T8" y="T9"/>
                </a:cxn>
              </a:cxnLst>
              <a:rect l="0" t="0" r="r" b="b"/>
              <a:pathLst>
                <a:path w="98" h="395">
                  <a:moveTo>
                    <a:pt x="0" y="0"/>
                  </a:moveTo>
                  <a:cubicBezTo>
                    <a:pt x="33" y="0"/>
                    <a:pt x="66" y="0"/>
                    <a:pt x="98" y="0"/>
                  </a:cubicBezTo>
                  <a:cubicBezTo>
                    <a:pt x="98" y="132"/>
                    <a:pt x="98" y="263"/>
                    <a:pt x="98" y="395"/>
                  </a:cubicBezTo>
                  <a:cubicBezTo>
                    <a:pt x="66" y="395"/>
                    <a:pt x="33" y="395"/>
                    <a:pt x="0" y="395"/>
                  </a:cubicBezTo>
                  <a:cubicBezTo>
                    <a:pt x="0" y="264"/>
                    <a:pt x="0" y="13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1" name="Freeform 11">
              <a:extLst>
                <a:ext uri="{FF2B5EF4-FFF2-40B4-BE49-F238E27FC236}">
                  <a16:creationId xmlns:a16="http://schemas.microsoft.com/office/drawing/2014/main" id="{2EE8E03B-6BAB-478F-A6DF-CB33F1B44EBF}"/>
                </a:ext>
              </a:extLst>
            </p:cNvPr>
            <p:cNvSpPr>
              <a:spLocks/>
            </p:cNvSpPr>
            <p:nvPr/>
          </p:nvSpPr>
          <p:spPr bwMode="auto">
            <a:xfrm>
              <a:off x="3304" y="1682"/>
              <a:ext cx="989" cy="453"/>
            </a:xfrm>
            <a:custGeom>
              <a:avLst/>
              <a:gdLst>
                <a:gd name="T0" fmla="*/ 712 w 725"/>
                <a:gd name="T1" fmla="*/ 65 h 332"/>
                <a:gd name="T2" fmla="*/ 705 w 725"/>
                <a:gd name="T3" fmla="*/ 56 h 332"/>
                <a:gd name="T4" fmla="*/ 672 w 725"/>
                <a:gd name="T5" fmla="*/ 40 h 332"/>
                <a:gd name="T6" fmla="*/ 590 w 725"/>
                <a:gd name="T7" fmla="*/ 43 h 332"/>
                <a:gd name="T8" fmla="*/ 362 w 725"/>
                <a:gd name="T9" fmla="*/ 107 h 332"/>
                <a:gd name="T10" fmla="*/ 189 w 725"/>
                <a:gd name="T11" fmla="*/ 199 h 332"/>
                <a:gd name="T12" fmla="*/ 6 w 725"/>
                <a:gd name="T13" fmla="*/ 330 h 332"/>
                <a:gd name="T14" fmla="*/ 4 w 725"/>
                <a:gd name="T15" fmla="*/ 332 h 332"/>
                <a:gd name="T16" fmla="*/ 4 w 725"/>
                <a:gd name="T17" fmla="*/ 326 h 332"/>
                <a:gd name="T18" fmla="*/ 55 w 725"/>
                <a:gd name="T19" fmla="*/ 283 h 332"/>
                <a:gd name="T20" fmla="*/ 326 w 725"/>
                <a:gd name="T21" fmla="*/ 102 h 332"/>
                <a:gd name="T22" fmla="*/ 543 w 725"/>
                <a:gd name="T23" fmla="*/ 15 h 332"/>
                <a:gd name="T24" fmla="*/ 649 w 725"/>
                <a:gd name="T25" fmla="*/ 1 h 332"/>
                <a:gd name="T26" fmla="*/ 701 w 725"/>
                <a:gd name="T27" fmla="*/ 14 h 332"/>
                <a:gd name="T28" fmla="*/ 712 w 725"/>
                <a:gd name="T29" fmla="*/ 6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5" h="332">
                  <a:moveTo>
                    <a:pt x="712" y="65"/>
                  </a:moveTo>
                  <a:cubicBezTo>
                    <a:pt x="710" y="62"/>
                    <a:pt x="707" y="59"/>
                    <a:pt x="705" y="56"/>
                  </a:cubicBezTo>
                  <a:cubicBezTo>
                    <a:pt x="696" y="45"/>
                    <a:pt x="685" y="42"/>
                    <a:pt x="672" y="40"/>
                  </a:cubicBezTo>
                  <a:cubicBezTo>
                    <a:pt x="644" y="37"/>
                    <a:pt x="617" y="39"/>
                    <a:pt x="590" y="43"/>
                  </a:cubicBezTo>
                  <a:cubicBezTo>
                    <a:pt x="511" y="55"/>
                    <a:pt x="435" y="77"/>
                    <a:pt x="362" y="107"/>
                  </a:cubicBezTo>
                  <a:cubicBezTo>
                    <a:pt x="301" y="132"/>
                    <a:pt x="245" y="165"/>
                    <a:pt x="189" y="199"/>
                  </a:cubicBezTo>
                  <a:cubicBezTo>
                    <a:pt x="125" y="238"/>
                    <a:pt x="64" y="283"/>
                    <a:pt x="6" y="330"/>
                  </a:cubicBezTo>
                  <a:cubicBezTo>
                    <a:pt x="6" y="331"/>
                    <a:pt x="5" y="332"/>
                    <a:pt x="4" y="332"/>
                  </a:cubicBezTo>
                  <a:cubicBezTo>
                    <a:pt x="0" y="330"/>
                    <a:pt x="2" y="328"/>
                    <a:pt x="4" y="326"/>
                  </a:cubicBezTo>
                  <a:cubicBezTo>
                    <a:pt x="21" y="312"/>
                    <a:pt x="37" y="297"/>
                    <a:pt x="55" y="283"/>
                  </a:cubicBezTo>
                  <a:cubicBezTo>
                    <a:pt x="139" y="214"/>
                    <a:pt x="229" y="153"/>
                    <a:pt x="326" y="102"/>
                  </a:cubicBezTo>
                  <a:cubicBezTo>
                    <a:pt x="395" y="66"/>
                    <a:pt x="467" y="35"/>
                    <a:pt x="543" y="15"/>
                  </a:cubicBezTo>
                  <a:cubicBezTo>
                    <a:pt x="577" y="6"/>
                    <a:pt x="613" y="0"/>
                    <a:pt x="649" y="1"/>
                  </a:cubicBezTo>
                  <a:cubicBezTo>
                    <a:pt x="667" y="2"/>
                    <a:pt x="685" y="5"/>
                    <a:pt x="701" y="14"/>
                  </a:cubicBezTo>
                  <a:cubicBezTo>
                    <a:pt x="720" y="25"/>
                    <a:pt x="725" y="48"/>
                    <a:pt x="71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2" name="Freeform 12">
              <a:extLst>
                <a:ext uri="{FF2B5EF4-FFF2-40B4-BE49-F238E27FC236}">
                  <a16:creationId xmlns:a16="http://schemas.microsoft.com/office/drawing/2014/main" id="{A4C18E33-82C6-4EC5-9EB5-22BD28F521ED}"/>
                </a:ext>
              </a:extLst>
            </p:cNvPr>
            <p:cNvSpPr>
              <a:spLocks/>
            </p:cNvSpPr>
            <p:nvPr/>
          </p:nvSpPr>
          <p:spPr bwMode="auto">
            <a:xfrm>
              <a:off x="3233" y="1682"/>
              <a:ext cx="404" cy="408"/>
            </a:xfrm>
            <a:custGeom>
              <a:avLst/>
              <a:gdLst>
                <a:gd name="T0" fmla="*/ 294 w 296"/>
                <a:gd name="T1" fmla="*/ 19 h 299"/>
                <a:gd name="T2" fmla="*/ 215 w 296"/>
                <a:gd name="T3" fmla="*/ 44 h 299"/>
                <a:gd name="T4" fmla="*/ 135 w 296"/>
                <a:gd name="T5" fmla="*/ 119 h 299"/>
                <a:gd name="T6" fmla="*/ 6 w 296"/>
                <a:gd name="T7" fmla="*/ 295 h 299"/>
                <a:gd name="T8" fmla="*/ 4 w 296"/>
                <a:gd name="T9" fmla="*/ 299 h 299"/>
                <a:gd name="T10" fmla="*/ 2 w 296"/>
                <a:gd name="T11" fmla="*/ 292 h 299"/>
                <a:gd name="T12" fmla="*/ 42 w 296"/>
                <a:gd name="T13" fmla="*/ 220 h 299"/>
                <a:gd name="T14" fmla="*/ 130 w 296"/>
                <a:gd name="T15" fmla="*/ 96 h 299"/>
                <a:gd name="T16" fmla="*/ 202 w 296"/>
                <a:gd name="T17" fmla="*/ 30 h 299"/>
                <a:gd name="T18" fmla="*/ 269 w 296"/>
                <a:gd name="T19" fmla="*/ 1 h 299"/>
                <a:gd name="T20" fmla="*/ 284 w 296"/>
                <a:gd name="T21" fmla="*/ 2 h 299"/>
                <a:gd name="T22" fmla="*/ 294 w 296"/>
                <a:gd name="T23" fmla="*/ 1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9">
                  <a:moveTo>
                    <a:pt x="294" y="19"/>
                  </a:moveTo>
                  <a:cubicBezTo>
                    <a:pt x="264" y="14"/>
                    <a:pt x="239" y="28"/>
                    <a:pt x="215" y="44"/>
                  </a:cubicBezTo>
                  <a:cubicBezTo>
                    <a:pt x="185" y="65"/>
                    <a:pt x="159" y="92"/>
                    <a:pt x="135" y="119"/>
                  </a:cubicBezTo>
                  <a:cubicBezTo>
                    <a:pt x="87" y="174"/>
                    <a:pt x="45" y="234"/>
                    <a:pt x="6" y="295"/>
                  </a:cubicBezTo>
                  <a:cubicBezTo>
                    <a:pt x="6" y="297"/>
                    <a:pt x="5" y="298"/>
                    <a:pt x="4" y="299"/>
                  </a:cubicBezTo>
                  <a:cubicBezTo>
                    <a:pt x="0" y="298"/>
                    <a:pt x="1" y="295"/>
                    <a:pt x="2" y="292"/>
                  </a:cubicBezTo>
                  <a:cubicBezTo>
                    <a:pt x="16" y="268"/>
                    <a:pt x="28" y="244"/>
                    <a:pt x="42" y="220"/>
                  </a:cubicBezTo>
                  <a:cubicBezTo>
                    <a:pt x="68" y="176"/>
                    <a:pt x="96" y="133"/>
                    <a:pt x="130" y="96"/>
                  </a:cubicBezTo>
                  <a:cubicBezTo>
                    <a:pt x="152" y="72"/>
                    <a:pt x="175" y="48"/>
                    <a:pt x="202" y="30"/>
                  </a:cubicBezTo>
                  <a:cubicBezTo>
                    <a:pt x="222" y="16"/>
                    <a:pt x="244" y="5"/>
                    <a:pt x="269" y="1"/>
                  </a:cubicBezTo>
                  <a:cubicBezTo>
                    <a:pt x="274" y="0"/>
                    <a:pt x="279" y="0"/>
                    <a:pt x="284" y="2"/>
                  </a:cubicBezTo>
                  <a:cubicBezTo>
                    <a:pt x="292" y="3"/>
                    <a:pt x="296" y="11"/>
                    <a:pt x="29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13" name="Freeform 13">
              <a:extLst>
                <a:ext uri="{FF2B5EF4-FFF2-40B4-BE49-F238E27FC236}">
                  <a16:creationId xmlns:a16="http://schemas.microsoft.com/office/drawing/2014/main" id="{016FD20D-AC8E-495C-AB6F-428DB50E5207}"/>
                </a:ext>
              </a:extLst>
            </p:cNvPr>
            <p:cNvSpPr>
              <a:spLocks/>
            </p:cNvSpPr>
            <p:nvPr/>
          </p:nvSpPr>
          <p:spPr bwMode="auto">
            <a:xfrm>
              <a:off x="4120" y="2447"/>
              <a:ext cx="60" cy="72"/>
            </a:xfrm>
            <a:custGeom>
              <a:avLst/>
              <a:gdLst>
                <a:gd name="T0" fmla="*/ 29 w 44"/>
                <a:gd name="T1" fmla="*/ 0 h 53"/>
                <a:gd name="T2" fmla="*/ 44 w 44"/>
                <a:gd name="T3" fmla="*/ 22 h 53"/>
                <a:gd name="T4" fmla="*/ 0 w 44"/>
                <a:gd name="T5" fmla="*/ 53 h 53"/>
                <a:gd name="T6" fmla="*/ 0 w 44"/>
                <a:gd name="T7" fmla="*/ 35 h 53"/>
                <a:gd name="T8" fmla="*/ 1 w 44"/>
                <a:gd name="T9" fmla="*/ 32 h 53"/>
                <a:gd name="T10" fmla="*/ 29 w 44"/>
                <a:gd name="T11" fmla="*/ 0 h 53"/>
              </a:gdLst>
              <a:ahLst/>
              <a:cxnLst>
                <a:cxn ang="0">
                  <a:pos x="T0" y="T1"/>
                </a:cxn>
                <a:cxn ang="0">
                  <a:pos x="T2" y="T3"/>
                </a:cxn>
                <a:cxn ang="0">
                  <a:pos x="T4" y="T5"/>
                </a:cxn>
                <a:cxn ang="0">
                  <a:pos x="T6" y="T7"/>
                </a:cxn>
                <a:cxn ang="0">
                  <a:pos x="T8" y="T9"/>
                </a:cxn>
                <a:cxn ang="0">
                  <a:pos x="T10" y="T11"/>
                </a:cxn>
              </a:cxnLst>
              <a:rect l="0" t="0" r="r" b="b"/>
              <a:pathLst>
                <a:path w="44" h="53">
                  <a:moveTo>
                    <a:pt x="29" y="0"/>
                  </a:moveTo>
                  <a:cubicBezTo>
                    <a:pt x="34" y="7"/>
                    <a:pt x="39" y="14"/>
                    <a:pt x="44" y="22"/>
                  </a:cubicBezTo>
                  <a:cubicBezTo>
                    <a:pt x="29" y="32"/>
                    <a:pt x="15" y="42"/>
                    <a:pt x="0" y="53"/>
                  </a:cubicBezTo>
                  <a:cubicBezTo>
                    <a:pt x="0" y="47"/>
                    <a:pt x="0" y="41"/>
                    <a:pt x="0" y="35"/>
                  </a:cubicBezTo>
                  <a:cubicBezTo>
                    <a:pt x="0" y="34"/>
                    <a:pt x="0" y="33"/>
                    <a:pt x="1" y="32"/>
                  </a:cubicBezTo>
                  <a:cubicBezTo>
                    <a:pt x="10" y="22"/>
                    <a:pt x="19" y="11"/>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15" name="Rectangle 14">
            <a:extLst>
              <a:ext uri="{FF2B5EF4-FFF2-40B4-BE49-F238E27FC236}">
                <a16:creationId xmlns:a16="http://schemas.microsoft.com/office/drawing/2014/main" id="{5FA9F0DB-0107-46F5-84E3-0F34DA463CAC}"/>
              </a:ext>
            </a:extLst>
          </p:cNvPr>
          <p:cNvSpPr/>
          <p:nvPr userDrawn="1"/>
        </p:nvSpPr>
        <p:spPr>
          <a:xfrm>
            <a:off x="6082393" y="4075958"/>
            <a:ext cx="2750344" cy="884942"/>
          </a:xfrm>
          <a:prstGeom prst="rect">
            <a:avLst/>
          </a:prstGeom>
          <a:solidFill>
            <a:srgbClr val="131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Rectangle 15">
            <a:extLst>
              <a:ext uri="{FF2B5EF4-FFF2-40B4-BE49-F238E27FC236}">
                <a16:creationId xmlns:a16="http://schemas.microsoft.com/office/drawing/2014/main" id="{A26B83E6-0B29-46D6-9C9B-7F245656877F}"/>
              </a:ext>
            </a:extLst>
          </p:cNvPr>
          <p:cNvSpPr/>
          <p:nvPr userDrawn="1"/>
        </p:nvSpPr>
        <p:spPr>
          <a:xfrm>
            <a:off x="0" y="0"/>
            <a:ext cx="9198529" cy="5143500"/>
          </a:xfrm>
          <a:prstGeom prst="rect">
            <a:avLst/>
          </a:prstGeom>
          <a:solidFill>
            <a:srgbClr val="1827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i="0" dirty="0">
              <a:latin typeface="Lato" panose="020F0502020204030203" pitchFamily="34" charset="0"/>
            </a:endParaRPr>
          </a:p>
        </p:txBody>
      </p:sp>
      <p:pic>
        <p:nvPicPr>
          <p:cNvPr id="17" name="Picture 16">
            <a:extLst>
              <a:ext uri="{FF2B5EF4-FFF2-40B4-BE49-F238E27FC236}">
                <a16:creationId xmlns:a16="http://schemas.microsoft.com/office/drawing/2014/main" id="{E3A2D985-A335-458C-A51E-A658A88F027B}"/>
              </a:ext>
            </a:extLst>
          </p:cNvPr>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48305" b="15303"/>
          <a:stretch/>
        </p:blipFill>
        <p:spPr>
          <a:xfrm>
            <a:off x="1163" y="0"/>
            <a:ext cx="9142838" cy="5158859"/>
          </a:xfrm>
          <a:prstGeom prst="rect">
            <a:avLst/>
          </a:prstGeom>
        </p:spPr>
      </p:pic>
    </p:spTree>
    <p:custDataLst>
      <p:tags r:id="rId1"/>
    </p:custDataLst>
    <p:extLst>
      <p:ext uri="{BB962C8B-B14F-4D97-AF65-F5344CB8AC3E}">
        <p14:creationId xmlns:p14="http://schemas.microsoft.com/office/powerpoint/2010/main" val="3843774489"/>
      </p:ext>
    </p:extLst>
  </p:cSld>
  <p:clrMapOvr>
    <a:masterClrMapping/>
  </p:clrMapOvr>
  <p:transition>
    <p:fade/>
  </p:transition>
  <p:extLst>
    <p:ext uri="{DCECCB84-F9BA-43D5-87BE-67443E8EF086}">
      <p15:sldGuideLst xmlns:p15="http://schemas.microsoft.com/office/powerpoint/2012/main">
        <p15:guide id="1" pos="1323">
          <p15:clr>
            <a:srgbClr val="A4A3A4"/>
          </p15:clr>
        </p15:guide>
        <p15:guide id="2" pos="6357">
          <p15:clr>
            <a:srgbClr val="A4A3A4"/>
          </p15:clr>
        </p15:guide>
        <p15:guide id="3" pos="6267">
          <p15:clr>
            <a:srgbClr val="A4A3A4"/>
          </p15:clr>
        </p15:guide>
        <p15:guide id="4" pos="1413">
          <p15:clr>
            <a:srgbClr val="A4A3A4"/>
          </p15:clr>
        </p15:guide>
        <p15:guide id="5" pos="2547">
          <p15:clr>
            <a:srgbClr val="A4A3A4"/>
          </p15:clr>
        </p15:guide>
        <p15:guide id="6" pos="5133">
          <p15:clr>
            <a:srgbClr val="A4A3A4"/>
          </p15:clr>
        </p15:guide>
        <p15:guide id="7" pos="5042">
          <p15:clr>
            <a:srgbClr val="A4A3A4"/>
          </p15:clr>
        </p15:guide>
        <p15:guide id="8" pos="2638">
          <p15:clr>
            <a:srgbClr val="A4A3A4"/>
          </p15:clr>
        </p15:guide>
        <p15:guide id="9" pos="3795">
          <p15:clr>
            <a:srgbClr val="A4A3A4"/>
          </p15:clr>
        </p15:guide>
        <p15:guide id="10" pos="3885">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74327E-3563-4302-B3C8-AC2FB2A154E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5" y="0"/>
            <a:ext cx="9144485" cy="5143500"/>
          </a:xfrm>
          <a:prstGeom prst="rect">
            <a:avLst/>
          </a:prstGeom>
        </p:spPr>
      </p:pic>
      <p:sp>
        <p:nvSpPr>
          <p:cNvPr id="3" name="TextBox 2">
            <a:extLst>
              <a:ext uri="{FF2B5EF4-FFF2-40B4-BE49-F238E27FC236}">
                <a16:creationId xmlns:a16="http://schemas.microsoft.com/office/drawing/2014/main" id="{A336E186-57FA-40CC-90FD-D52B68F88A57}"/>
              </a:ext>
            </a:extLst>
          </p:cNvPr>
          <p:cNvSpPr txBox="1"/>
          <p:nvPr userDrawn="1"/>
        </p:nvSpPr>
        <p:spPr>
          <a:xfrm>
            <a:off x="1314556" y="867731"/>
            <a:ext cx="5161465" cy="7078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solidFill>
                  <a:schemeClr val="accent3"/>
                </a:solidFill>
                <a:effectLst/>
                <a:uLnTx/>
                <a:uFillTx/>
                <a:latin typeface="Century Gothic" panose="020B0502020202020204" pitchFamily="34" charset="0"/>
                <a:ea typeface="+mn-ea"/>
                <a:cs typeface="+mn-cs"/>
              </a:rPr>
              <a:t>Thank you</a:t>
            </a:r>
          </a:p>
        </p:txBody>
      </p:sp>
      <p:pic>
        <p:nvPicPr>
          <p:cNvPr id="4" name="Picture 3">
            <a:extLst>
              <a:ext uri="{FF2B5EF4-FFF2-40B4-BE49-F238E27FC236}">
                <a16:creationId xmlns:a16="http://schemas.microsoft.com/office/drawing/2014/main" id="{8C927B11-0BD0-4F3A-B6FC-B784038AA8A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206196" y="153339"/>
            <a:ext cx="1234678" cy="42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3C7CCA40-2AD7-4841-BCB0-3CC622AFBD81}"/>
              </a:ext>
            </a:extLst>
          </p:cNvPr>
          <p:cNvSpPr txBox="1"/>
          <p:nvPr userDrawn="1"/>
        </p:nvSpPr>
        <p:spPr>
          <a:xfrm>
            <a:off x="1509437" y="4358022"/>
            <a:ext cx="7239185" cy="64633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uising.org       #WeAreCruise</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7" name="TextBox 6">
            <a:extLst>
              <a:ext uri="{FF2B5EF4-FFF2-40B4-BE49-F238E27FC236}">
                <a16:creationId xmlns:a16="http://schemas.microsoft.com/office/drawing/2014/main" id="{092A69D9-439D-4709-AC2E-94B2FACD4A26}"/>
              </a:ext>
            </a:extLst>
          </p:cNvPr>
          <p:cNvSpPr txBox="1"/>
          <p:nvPr userDrawn="1"/>
        </p:nvSpPr>
        <p:spPr>
          <a:xfrm>
            <a:off x="1393067" y="1725674"/>
            <a:ext cx="516146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lease connect with us</a:t>
            </a:r>
          </a:p>
        </p:txBody>
      </p:sp>
      <p:graphicFrame>
        <p:nvGraphicFramePr>
          <p:cNvPr id="8" name="Table 7">
            <a:extLst>
              <a:ext uri="{FF2B5EF4-FFF2-40B4-BE49-F238E27FC236}">
                <a16:creationId xmlns:a16="http://schemas.microsoft.com/office/drawing/2014/main" id="{A073C25B-2D6A-4877-821C-509B0D55D36F}"/>
              </a:ext>
            </a:extLst>
          </p:cNvPr>
          <p:cNvGraphicFramePr>
            <a:graphicFrameLocks noGrp="1"/>
          </p:cNvGraphicFramePr>
          <p:nvPr userDrawn="1">
            <p:extLst>
              <p:ext uri="{D42A27DB-BD31-4B8C-83A1-F6EECF244321}">
                <p14:modId xmlns:p14="http://schemas.microsoft.com/office/powerpoint/2010/main" val="400083826"/>
              </p:ext>
            </p:extLst>
          </p:nvPr>
        </p:nvGraphicFramePr>
        <p:xfrm>
          <a:off x="1205519" y="2163462"/>
          <a:ext cx="4668808" cy="2194560"/>
        </p:xfrm>
        <a:graphic>
          <a:graphicData uri="http://schemas.openxmlformats.org/drawingml/2006/table">
            <a:tbl>
              <a:tblPr firstRow="1" firstCol="1" bandRow="1">
                <a:tableStyleId>{5C22544A-7EE6-4342-B048-85BDC9FD1C3A}</a:tableStyleId>
              </a:tblPr>
              <a:tblGrid>
                <a:gridCol w="755976">
                  <a:extLst>
                    <a:ext uri="{9D8B030D-6E8A-4147-A177-3AD203B41FA5}">
                      <a16:colId xmlns:a16="http://schemas.microsoft.com/office/drawing/2014/main" val="2457087363"/>
                    </a:ext>
                  </a:extLst>
                </a:gridCol>
                <a:gridCol w="3912832">
                  <a:extLst>
                    <a:ext uri="{9D8B030D-6E8A-4147-A177-3AD203B41FA5}">
                      <a16:colId xmlns:a16="http://schemas.microsoft.com/office/drawing/2014/main" val="3291389467"/>
                    </a:ext>
                  </a:extLst>
                </a:gridCol>
              </a:tblGrid>
              <a:tr h="438912">
                <a:tc>
                  <a:txBody>
                    <a:bodyPr/>
                    <a:lstStyle/>
                    <a:p>
                      <a:pPr marL="0" marR="0">
                        <a:spcBef>
                          <a:spcPts val="0"/>
                        </a:spcBef>
                        <a:spcAft>
                          <a:spcPts val="0"/>
                        </a:spcAft>
                      </a:pPr>
                      <a:endParaRPr lang="en-US" sz="1100" b="0" dirty="0">
                        <a:solidFill>
                          <a:schemeClr val="bg1"/>
                        </a:solidFill>
                        <a:effectLst/>
                        <a:latin typeface="Century Gothic" panose="020B0502020202020204" pitchFamily="34" charset="0"/>
                        <a:ea typeface="Calibri" panose="020F050202020403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100" b="0" dirty="0">
                          <a:solidFill>
                            <a:schemeClr val="bg1"/>
                          </a:solidFill>
                          <a:effectLst/>
                          <a:latin typeface="Century Gothic" panose="020B0502020202020204" pitchFamily="34" charset="0"/>
                        </a:rPr>
                        <a:t>Facebook.com/CLIAglobal</a:t>
                      </a:r>
                      <a:endParaRPr lang="en-US" sz="1100" b="0" dirty="0">
                        <a:solidFill>
                          <a:schemeClr val="bg1"/>
                        </a:solidFill>
                        <a:effectLst/>
                        <a:latin typeface="Century Gothic" panose="020B0502020202020204" pitchFamily="34" charset="0"/>
                        <a:ea typeface="Calibri" panose="020F0502020204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1976892"/>
                  </a:ext>
                </a:extLst>
              </a:tr>
              <a:tr h="438912">
                <a:tc>
                  <a:txBody>
                    <a:bodyPr/>
                    <a:lstStyle/>
                    <a:p>
                      <a:pPr marL="0" marR="0">
                        <a:spcBef>
                          <a:spcPts val="0"/>
                        </a:spcBef>
                        <a:spcAft>
                          <a:spcPts val="0"/>
                        </a:spcAft>
                      </a:pPr>
                      <a:endParaRPr lang="en-US" sz="1100" b="0" dirty="0">
                        <a:solidFill>
                          <a:schemeClr val="bg1"/>
                        </a:solidFill>
                        <a:effectLst/>
                        <a:latin typeface="Century Gothic" panose="020B0502020202020204" pitchFamily="34" charset="0"/>
                        <a:ea typeface="Calibri" panose="020F050202020403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100" b="0" dirty="0">
                          <a:solidFill>
                            <a:schemeClr val="bg1"/>
                          </a:solidFill>
                          <a:effectLst/>
                          <a:latin typeface="Century Gothic" panose="020B0502020202020204" pitchFamily="34" charset="0"/>
                        </a:rPr>
                        <a:t>CLIA Global</a:t>
                      </a:r>
                      <a:endParaRPr lang="en-US" sz="1100" b="0" dirty="0">
                        <a:solidFill>
                          <a:schemeClr val="bg1"/>
                        </a:solidFill>
                        <a:effectLst/>
                        <a:latin typeface="Century Gothic" panose="020B0502020202020204" pitchFamily="34" charset="0"/>
                        <a:ea typeface="Calibri" panose="020F050202020403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9445736"/>
                  </a:ext>
                </a:extLst>
              </a:tr>
              <a:tr h="438912">
                <a:tc>
                  <a:txBody>
                    <a:bodyPr/>
                    <a:lstStyle/>
                    <a:p>
                      <a:pPr marL="0" marR="0">
                        <a:spcBef>
                          <a:spcPts val="0"/>
                        </a:spcBef>
                        <a:spcAft>
                          <a:spcPts val="0"/>
                        </a:spcAft>
                      </a:pPr>
                      <a:endParaRPr lang="en-US" sz="1100" b="0" dirty="0">
                        <a:solidFill>
                          <a:schemeClr val="bg1"/>
                        </a:solidFill>
                        <a:effectLst/>
                        <a:latin typeface="Century Gothic" panose="020B0502020202020204" pitchFamily="34" charset="0"/>
                        <a:ea typeface="Calibri" panose="020F05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100" b="0" dirty="0">
                          <a:solidFill>
                            <a:schemeClr val="bg1"/>
                          </a:solidFill>
                          <a:effectLst/>
                          <a:latin typeface="Century Gothic" panose="020B0502020202020204" pitchFamily="34" charset="0"/>
                        </a:rPr>
                        <a:t>@CLIA Global</a:t>
                      </a:r>
                      <a:endParaRPr lang="en-US" sz="1100" b="0" dirty="0">
                        <a:solidFill>
                          <a:schemeClr val="bg1"/>
                        </a:solidFill>
                        <a:effectLst/>
                        <a:latin typeface="Century Gothic" panose="020B0502020202020204" pitchFamily="34" charset="0"/>
                        <a:ea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7162105"/>
                  </a:ext>
                </a:extLst>
              </a:tr>
              <a:tr h="438912">
                <a:tc>
                  <a:txBody>
                    <a:bodyPr/>
                    <a:lstStyle/>
                    <a:p>
                      <a:pPr marL="0" marR="0">
                        <a:spcBef>
                          <a:spcPts val="0"/>
                        </a:spcBef>
                        <a:spcAft>
                          <a:spcPts val="0"/>
                        </a:spcAft>
                      </a:pPr>
                      <a:endParaRPr lang="en-US" sz="1100" b="0" dirty="0">
                        <a:solidFill>
                          <a:schemeClr val="bg1"/>
                        </a:solidFill>
                        <a:effectLst/>
                        <a:latin typeface="Century Gothic" panose="020B0502020202020204" pitchFamily="34" charset="0"/>
                        <a:ea typeface="Calibri" panose="020F05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100" b="0" dirty="0">
                          <a:solidFill>
                            <a:schemeClr val="bg1"/>
                          </a:solidFill>
                          <a:effectLst/>
                          <a:latin typeface="Century Gothic" panose="020B0502020202020204" pitchFamily="34" charset="0"/>
                        </a:rPr>
                        <a:t>YouTube.com/CLIAglobal</a:t>
                      </a:r>
                      <a:endParaRPr lang="en-US" sz="1100" b="0" dirty="0">
                        <a:solidFill>
                          <a:schemeClr val="bg1"/>
                        </a:solidFill>
                        <a:effectLst/>
                        <a:latin typeface="Century Gothic" panose="020B0502020202020204" pitchFamily="34" charset="0"/>
                        <a:ea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82572699"/>
                  </a:ext>
                </a:extLst>
              </a:tr>
              <a:tr h="438912">
                <a:tc>
                  <a:txBody>
                    <a:bodyPr/>
                    <a:lstStyle/>
                    <a:p>
                      <a:pPr marL="0" marR="0">
                        <a:spcBef>
                          <a:spcPts val="0"/>
                        </a:spcBef>
                        <a:spcAft>
                          <a:spcPts val="0"/>
                        </a:spcAft>
                      </a:pPr>
                      <a:endParaRPr lang="en-US" sz="1100" b="0" dirty="0">
                        <a:solidFill>
                          <a:schemeClr val="bg1"/>
                        </a:solidFill>
                        <a:effectLst/>
                        <a:latin typeface="Century Gothic" panose="020B0502020202020204" pitchFamily="34" charset="0"/>
                        <a:ea typeface="Calibri" panose="020F05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100" b="0" dirty="0">
                          <a:solidFill>
                            <a:schemeClr val="bg1"/>
                          </a:solidFill>
                          <a:effectLst/>
                          <a:latin typeface="Century Gothic" panose="020B0502020202020204" pitchFamily="34" charset="0"/>
                          <a:ea typeface="Calibri" panose="020F0502020204030204" pitchFamily="34" charset="0"/>
                        </a:rPr>
                        <a:t>CLIA (Cruise Lines International Associa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7496607"/>
                  </a:ext>
                </a:extLst>
              </a:tr>
            </a:tbl>
          </a:graphicData>
        </a:graphic>
      </p:graphicFrame>
      <p:pic>
        <p:nvPicPr>
          <p:cNvPr id="14" name="Picture 14" descr="Navy blue facebook 7 icon - Free navy blue social icons">
            <a:extLst>
              <a:ext uri="{FF2B5EF4-FFF2-40B4-BE49-F238E27FC236}">
                <a16:creationId xmlns:a16="http://schemas.microsoft.com/office/drawing/2014/main" id="{7C8A214F-8789-46DD-90A0-4C16BCFF8CD5}"/>
              </a:ext>
            </a:extLst>
          </p:cNvPr>
          <p:cNvPicPr>
            <a:picLocks noChangeAspect="1" noChangeArrowheads="1"/>
          </p:cNvPicPr>
          <p:nvPr userDrawn="1"/>
        </p:nvPicPr>
        <p:blipFill rotWithShape="1">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2689" t="1580" r="2353" b="1283"/>
          <a:stretch/>
        </p:blipFill>
        <p:spPr bwMode="auto">
          <a:xfrm>
            <a:off x="1558423" y="2185107"/>
            <a:ext cx="365760" cy="374153"/>
          </a:xfrm>
          <a:prstGeom prst="ellipse">
            <a:avLst/>
          </a:prstGeom>
          <a:noFill/>
          <a:extLst>
            <a:ext uri="{909E8E84-426E-40DD-AFC4-6F175D3DCCD1}">
              <a14:hiddenFill xmlns:a14="http://schemas.microsoft.com/office/drawing/2010/main">
                <a:solidFill>
                  <a:srgbClr val="FFFFFF"/>
                </a:solidFill>
              </a14:hiddenFill>
            </a:ext>
          </a:extLst>
        </p:spPr>
      </p:pic>
      <p:pic>
        <p:nvPicPr>
          <p:cNvPr id="15" name="Picture 12" descr="Navy blue instagram 4 icon - Free navy blue social icons">
            <a:extLst>
              <a:ext uri="{FF2B5EF4-FFF2-40B4-BE49-F238E27FC236}">
                <a16:creationId xmlns:a16="http://schemas.microsoft.com/office/drawing/2014/main" id="{AE5932D1-E4A7-4CED-9645-221BC161F7B3}"/>
              </a:ext>
            </a:extLst>
          </p:cNvPr>
          <p:cNvPicPr>
            <a:picLocks noChangeAspect="1" noChangeArrowheads="1"/>
          </p:cNvPicPr>
          <p:nvPr userDrawn="1"/>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l="3483" t="2748" r="1560" b="2863"/>
          <a:stretch/>
        </p:blipFill>
        <p:spPr bwMode="auto">
          <a:xfrm>
            <a:off x="1558423" y="2647109"/>
            <a:ext cx="365760" cy="363566"/>
          </a:xfrm>
          <a:prstGeom prst="ellipse">
            <a:avLst/>
          </a:prstGeom>
          <a:noFill/>
          <a:extLst>
            <a:ext uri="{909E8E84-426E-40DD-AFC4-6F175D3DCCD1}">
              <a14:hiddenFill xmlns:a14="http://schemas.microsoft.com/office/drawing/2010/main">
                <a:solidFill>
                  <a:srgbClr val="FFFFFF"/>
                </a:solidFill>
              </a14:hiddenFill>
            </a:ext>
          </a:extLst>
        </p:spPr>
      </p:pic>
      <p:pic>
        <p:nvPicPr>
          <p:cNvPr id="16" name="Picture 10" descr="Navy blue twitter 4 icon - Free navy blue social icons">
            <a:extLst>
              <a:ext uri="{FF2B5EF4-FFF2-40B4-BE49-F238E27FC236}">
                <a16:creationId xmlns:a16="http://schemas.microsoft.com/office/drawing/2014/main" id="{F4488ACE-C499-48C9-9963-703C17B5E570}"/>
              </a:ext>
            </a:extLst>
          </p:cNvPr>
          <p:cNvPicPr>
            <a:picLocks noChangeAspect="1" noChangeArrowheads="1"/>
          </p:cNvPicPr>
          <p:nvPr userDrawn="1"/>
        </p:nvPicPr>
        <p:blipFill rotWithShape="1">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l="2586" t="2864" r="2457" b="2749"/>
          <a:stretch/>
        </p:blipFill>
        <p:spPr bwMode="auto">
          <a:xfrm>
            <a:off x="1558423" y="3091872"/>
            <a:ext cx="365760" cy="363566"/>
          </a:xfrm>
          <a:prstGeom prst="ellipse">
            <a:avLst/>
          </a:prstGeom>
          <a:noFill/>
          <a:extLst>
            <a:ext uri="{909E8E84-426E-40DD-AFC4-6F175D3DCCD1}">
              <a14:hiddenFill xmlns:a14="http://schemas.microsoft.com/office/drawing/2010/main">
                <a:solidFill>
                  <a:srgbClr val="FFFFFF"/>
                </a:solidFill>
              </a14:hiddenFill>
            </a:ext>
          </a:extLst>
        </p:spPr>
      </p:pic>
      <p:pic>
        <p:nvPicPr>
          <p:cNvPr id="18" name="Picture 17" descr="Image result for youtube icon circle">
            <a:extLst>
              <a:ext uri="{FF2B5EF4-FFF2-40B4-BE49-F238E27FC236}">
                <a16:creationId xmlns:a16="http://schemas.microsoft.com/office/drawing/2014/main" id="{83007A9A-D1A4-4A45-84DD-2FC2030EA135}"/>
              </a:ext>
            </a:extLst>
          </p:cNvPr>
          <p:cNvPicPr>
            <a:picLocks noChangeAspect="1"/>
          </p:cNvPicPr>
          <p:nvPr userDrawn="1"/>
        </p:nvPicPr>
        <p:blipFill rotWithShape="1">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l="1332" t="5326" r="1524" b="2815"/>
          <a:stretch/>
        </p:blipFill>
        <p:spPr bwMode="auto">
          <a:xfrm>
            <a:off x="1558423" y="3536352"/>
            <a:ext cx="365760" cy="365760"/>
          </a:xfrm>
          <a:prstGeom prst="ellipse">
            <a:avLst/>
          </a:prstGeom>
          <a:noFill/>
          <a:ln>
            <a:noFill/>
          </a:ln>
          <a:extLst>
            <a:ext uri="{53640926-AAD7-44D8-BBD7-CCE9431645EC}">
              <a14:shadowObscured xmlns:a14="http://schemas.microsoft.com/office/drawing/2010/main"/>
            </a:ext>
          </a:extLst>
        </p:spPr>
      </p:pic>
      <p:pic>
        <p:nvPicPr>
          <p:cNvPr id="19" name="Picture 16" descr="Navy blue linkedin 4 icon - Free navy blue site logo icons">
            <a:extLst>
              <a:ext uri="{FF2B5EF4-FFF2-40B4-BE49-F238E27FC236}">
                <a16:creationId xmlns:a16="http://schemas.microsoft.com/office/drawing/2014/main" id="{9D911C90-D7FB-496B-A1EF-1AA1F4FD105E}"/>
              </a:ext>
            </a:extLst>
          </p:cNvPr>
          <p:cNvPicPr>
            <a:picLocks noChangeAspect="1" noChangeArrowheads="1"/>
          </p:cNvPicPr>
          <p:nvPr userDrawn="1"/>
        </p:nvPicPr>
        <p:blipFill rotWithShape="1">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l="2307" t="1433" r="2734" b="1433"/>
          <a:stretch/>
        </p:blipFill>
        <p:spPr bwMode="auto">
          <a:xfrm>
            <a:off x="1558423" y="3966232"/>
            <a:ext cx="365760" cy="36576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968768"/>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lternate Title Page with Image A">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121564" y="1451161"/>
            <a:ext cx="3772226" cy="1123139"/>
          </a:xfrm>
          <a:prstGeom prst="rect">
            <a:avLst/>
          </a:prstGeom>
        </p:spPr>
        <p:txBody>
          <a:bodyPr vert="horz" lIns="91440" tIns="45720" rIns="91440" bIns="45720" rtlCol="0" anchor="ctr">
            <a:normAutofit/>
          </a:bodyPr>
          <a:lstStyle>
            <a:lvl1pPr algn="r">
              <a:defRPr sz="2800" b="0" spc="0" baseline="0">
                <a:solidFill>
                  <a:schemeClr val="bg1"/>
                </a:solidFill>
                <a:latin typeface="Century Gothic" panose="020B0502020202020204" pitchFamily="34" charset="0"/>
              </a:defRPr>
            </a:lvl1pPr>
          </a:lstStyle>
          <a:p>
            <a:r>
              <a:rPr lang="en-US"/>
              <a:t>CLICK TO EDIT </a:t>
            </a:r>
            <a:br>
              <a:rPr lang="en-US"/>
            </a:br>
            <a:r>
              <a:rPr lang="en-US"/>
              <a:t>MASTER TITLE STYLE</a:t>
            </a:r>
          </a:p>
        </p:txBody>
      </p:sp>
      <p:sp>
        <p:nvSpPr>
          <p:cNvPr id="3" name="Picture Placeholder 2"/>
          <p:cNvSpPr>
            <a:spLocks noGrp="1"/>
          </p:cNvSpPr>
          <p:nvPr>
            <p:ph type="pic" sz="quarter" idx="10"/>
          </p:nvPr>
        </p:nvSpPr>
        <p:spPr>
          <a:xfrm>
            <a:off x="-361" y="0"/>
            <a:ext cx="6432118" cy="5152407"/>
          </a:xfrm>
          <a:custGeom>
            <a:avLst/>
            <a:gdLst>
              <a:gd name="connsiteX0" fmla="*/ 0 w 8575675"/>
              <a:gd name="connsiteY0" fmla="*/ 0 h 6858000"/>
              <a:gd name="connsiteX1" fmla="*/ 8575675 w 8575675"/>
              <a:gd name="connsiteY1" fmla="*/ 0 h 6858000"/>
              <a:gd name="connsiteX2" fmla="*/ 8575675 w 8575675"/>
              <a:gd name="connsiteY2" fmla="*/ 6858000 h 6858000"/>
              <a:gd name="connsiteX3" fmla="*/ 0 w 8575675"/>
              <a:gd name="connsiteY3" fmla="*/ 6858000 h 6858000"/>
              <a:gd name="connsiteX4" fmla="*/ 0 w 8575675"/>
              <a:gd name="connsiteY4" fmla="*/ 0 h 6858000"/>
              <a:gd name="connsiteX0" fmla="*/ 0 w 8575675"/>
              <a:gd name="connsiteY0" fmla="*/ 0 h 6858000"/>
              <a:gd name="connsiteX1" fmla="*/ 8575675 w 8575675"/>
              <a:gd name="connsiteY1" fmla="*/ 0 h 6858000"/>
              <a:gd name="connsiteX2" fmla="*/ 8568047 w 8575675"/>
              <a:gd name="connsiteY2" fmla="*/ 564078 h 6858000"/>
              <a:gd name="connsiteX3" fmla="*/ 8575675 w 8575675"/>
              <a:gd name="connsiteY3" fmla="*/ 6858000 h 6858000"/>
              <a:gd name="connsiteX4" fmla="*/ 0 w 8575675"/>
              <a:gd name="connsiteY4" fmla="*/ 6858000 h 6858000"/>
              <a:gd name="connsiteX5" fmla="*/ 0 w 8575675"/>
              <a:gd name="connsiteY5" fmla="*/ 0 h 6858000"/>
              <a:gd name="connsiteX0" fmla="*/ 0 w 8575675"/>
              <a:gd name="connsiteY0" fmla="*/ 0 h 6858000"/>
              <a:gd name="connsiteX1" fmla="*/ 8575675 w 8575675"/>
              <a:gd name="connsiteY1" fmla="*/ 0 h 6858000"/>
              <a:gd name="connsiteX2" fmla="*/ 4649190 w 8575675"/>
              <a:gd name="connsiteY2" fmla="*/ 4132613 h 6858000"/>
              <a:gd name="connsiteX3" fmla="*/ 8575675 w 8575675"/>
              <a:gd name="connsiteY3" fmla="*/ 6858000 h 6858000"/>
              <a:gd name="connsiteX4" fmla="*/ 0 w 8575675"/>
              <a:gd name="connsiteY4" fmla="*/ 6858000 h 6858000"/>
              <a:gd name="connsiteX5" fmla="*/ 0 w 8575675"/>
              <a:gd name="connsiteY5" fmla="*/ 0 h 6858000"/>
              <a:gd name="connsiteX0" fmla="*/ 0 w 8575675"/>
              <a:gd name="connsiteY0" fmla="*/ 0 h 6858000"/>
              <a:gd name="connsiteX1" fmla="*/ 8575675 w 8575675"/>
              <a:gd name="connsiteY1" fmla="*/ 0 h 6858000"/>
              <a:gd name="connsiteX2" fmla="*/ 4649190 w 8575675"/>
              <a:gd name="connsiteY2" fmla="*/ 4132613 h 6858000"/>
              <a:gd name="connsiteX3" fmla="*/ 8575675 w 8575675"/>
              <a:gd name="connsiteY3" fmla="*/ 6858000 h 6858000"/>
              <a:gd name="connsiteX4" fmla="*/ 0 w 8575675"/>
              <a:gd name="connsiteY4" fmla="*/ 6858000 h 6858000"/>
              <a:gd name="connsiteX5" fmla="*/ 0 w 8575675"/>
              <a:gd name="connsiteY5" fmla="*/ 0 h 6858000"/>
              <a:gd name="connsiteX0" fmla="*/ 0 w 8575675"/>
              <a:gd name="connsiteY0" fmla="*/ 0 h 6863938"/>
              <a:gd name="connsiteX1" fmla="*/ 8575675 w 8575675"/>
              <a:gd name="connsiteY1" fmla="*/ 0 h 6863938"/>
              <a:gd name="connsiteX2" fmla="*/ 4649190 w 8575675"/>
              <a:gd name="connsiteY2" fmla="*/ 4132613 h 6863938"/>
              <a:gd name="connsiteX3" fmla="*/ 1604860 w 8575675"/>
              <a:gd name="connsiteY3" fmla="*/ 6863938 h 6863938"/>
              <a:gd name="connsiteX4" fmla="*/ 0 w 8575675"/>
              <a:gd name="connsiteY4" fmla="*/ 6858000 h 6863938"/>
              <a:gd name="connsiteX5" fmla="*/ 0 w 8575675"/>
              <a:gd name="connsiteY5" fmla="*/ 0 h 6863938"/>
              <a:gd name="connsiteX0" fmla="*/ 0 w 8575675"/>
              <a:gd name="connsiteY0" fmla="*/ 0 h 6863938"/>
              <a:gd name="connsiteX1" fmla="*/ 8575675 w 8575675"/>
              <a:gd name="connsiteY1" fmla="*/ 0 h 6863938"/>
              <a:gd name="connsiteX2" fmla="*/ 4649190 w 8575675"/>
              <a:gd name="connsiteY2" fmla="*/ 4132613 h 6863938"/>
              <a:gd name="connsiteX3" fmla="*/ 1604860 w 8575675"/>
              <a:gd name="connsiteY3" fmla="*/ 6863938 h 6863938"/>
              <a:gd name="connsiteX4" fmla="*/ 0 w 8575675"/>
              <a:gd name="connsiteY4" fmla="*/ 6858000 h 6863938"/>
              <a:gd name="connsiteX5" fmla="*/ 0 w 8575675"/>
              <a:gd name="connsiteY5" fmla="*/ 0 h 6863938"/>
              <a:gd name="connsiteX0" fmla="*/ 0 w 8575675"/>
              <a:gd name="connsiteY0" fmla="*/ 0 h 6869876"/>
              <a:gd name="connsiteX1" fmla="*/ 8575675 w 8575675"/>
              <a:gd name="connsiteY1" fmla="*/ 0 h 6869876"/>
              <a:gd name="connsiteX2" fmla="*/ 4649190 w 8575675"/>
              <a:gd name="connsiteY2" fmla="*/ 4132613 h 6869876"/>
              <a:gd name="connsiteX3" fmla="*/ 1563296 w 8575675"/>
              <a:gd name="connsiteY3" fmla="*/ 6869876 h 6869876"/>
              <a:gd name="connsiteX4" fmla="*/ 0 w 8575675"/>
              <a:gd name="connsiteY4" fmla="*/ 6858000 h 6869876"/>
              <a:gd name="connsiteX5" fmla="*/ 0 w 8575675"/>
              <a:gd name="connsiteY5" fmla="*/ 0 h 6869876"/>
              <a:gd name="connsiteX0" fmla="*/ 0 w 8575675"/>
              <a:gd name="connsiteY0" fmla="*/ 0 h 6869876"/>
              <a:gd name="connsiteX1" fmla="*/ 8575675 w 8575675"/>
              <a:gd name="connsiteY1" fmla="*/ 0 h 6869876"/>
              <a:gd name="connsiteX2" fmla="*/ 4649190 w 8575675"/>
              <a:gd name="connsiteY2" fmla="*/ 4132613 h 6869876"/>
              <a:gd name="connsiteX3" fmla="*/ 1563296 w 8575675"/>
              <a:gd name="connsiteY3" fmla="*/ 6869876 h 6869876"/>
              <a:gd name="connsiteX4" fmla="*/ 0 w 8575675"/>
              <a:gd name="connsiteY4" fmla="*/ 6858000 h 6869876"/>
              <a:gd name="connsiteX5" fmla="*/ 0 w 8575675"/>
              <a:gd name="connsiteY5" fmla="*/ 0 h 6869876"/>
              <a:gd name="connsiteX0" fmla="*/ 0 w 8575675"/>
              <a:gd name="connsiteY0" fmla="*/ 0 h 6869876"/>
              <a:gd name="connsiteX1" fmla="*/ 8575675 w 8575675"/>
              <a:gd name="connsiteY1" fmla="*/ 0 h 6869876"/>
              <a:gd name="connsiteX2" fmla="*/ 4649190 w 8575675"/>
              <a:gd name="connsiteY2" fmla="*/ 4132613 h 6869876"/>
              <a:gd name="connsiteX3" fmla="*/ 1563296 w 8575675"/>
              <a:gd name="connsiteY3" fmla="*/ 6869876 h 6869876"/>
              <a:gd name="connsiteX4" fmla="*/ 0 w 8575675"/>
              <a:gd name="connsiteY4" fmla="*/ 6858000 h 6869876"/>
              <a:gd name="connsiteX5" fmla="*/ 0 w 8575675"/>
              <a:gd name="connsiteY5" fmla="*/ 0 h 6869876"/>
              <a:gd name="connsiteX0" fmla="*/ 5938 w 8581613"/>
              <a:gd name="connsiteY0" fmla="*/ 0 h 6869876"/>
              <a:gd name="connsiteX1" fmla="*/ 8581613 w 8581613"/>
              <a:gd name="connsiteY1" fmla="*/ 0 h 6869876"/>
              <a:gd name="connsiteX2" fmla="*/ 4655128 w 8581613"/>
              <a:gd name="connsiteY2" fmla="*/ 4132613 h 6869876"/>
              <a:gd name="connsiteX3" fmla="*/ 1569234 w 8581613"/>
              <a:gd name="connsiteY3" fmla="*/ 6869876 h 6869876"/>
              <a:gd name="connsiteX4" fmla="*/ 5938 w 8581613"/>
              <a:gd name="connsiteY4" fmla="*/ 6858000 h 6869876"/>
              <a:gd name="connsiteX5" fmla="*/ 0 w 8581613"/>
              <a:gd name="connsiteY5" fmla="*/ 771896 h 6869876"/>
              <a:gd name="connsiteX6" fmla="*/ 5938 w 8581613"/>
              <a:gd name="connsiteY6" fmla="*/ 0 h 6869876"/>
              <a:gd name="connsiteX0" fmla="*/ 5938 w 8581613"/>
              <a:gd name="connsiteY0" fmla="*/ 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5938 w 8581613"/>
              <a:gd name="connsiteY7" fmla="*/ 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594118 w 8581613"/>
              <a:gd name="connsiteY0" fmla="*/ 352132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594118 w 8581613"/>
              <a:gd name="connsiteY7" fmla="*/ 352132 h 6869876"/>
              <a:gd name="connsiteX0" fmla="*/ 1594118 w 8581613"/>
              <a:gd name="connsiteY0" fmla="*/ 352132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594118 w 8581613"/>
              <a:gd name="connsiteY7" fmla="*/ 352132 h 6869876"/>
              <a:gd name="connsiteX0" fmla="*/ 1594118 w 8581613"/>
              <a:gd name="connsiteY0" fmla="*/ 352132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594118 w 8581613"/>
              <a:gd name="connsiteY7" fmla="*/ 352132 h 6869876"/>
              <a:gd name="connsiteX0" fmla="*/ 1588662 w 8576157"/>
              <a:gd name="connsiteY0" fmla="*/ 352132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588662 w 8576157"/>
              <a:gd name="connsiteY7" fmla="*/ 352132 h 6869876"/>
              <a:gd name="connsiteX0" fmla="*/ 1733041 w 8576157"/>
              <a:gd name="connsiteY0" fmla="*/ 328069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733041 w 8576157"/>
              <a:gd name="connsiteY7" fmla="*/ 328069 h 6869876"/>
              <a:gd name="connsiteX0" fmla="*/ 1733041 w 8576157"/>
              <a:gd name="connsiteY0" fmla="*/ 328069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733041 w 8576157"/>
              <a:gd name="connsiteY7" fmla="*/ 328069 h 6869876"/>
              <a:gd name="connsiteX0" fmla="*/ 1733041 w 8576157"/>
              <a:gd name="connsiteY0" fmla="*/ 328069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733041 w 8576157"/>
              <a:gd name="connsiteY7" fmla="*/ 328069 h 6869876"/>
              <a:gd name="connsiteX0" fmla="*/ 1733041 w 8576157"/>
              <a:gd name="connsiteY0" fmla="*/ 328069 h 6869876"/>
              <a:gd name="connsiteX1" fmla="*/ 2248668 w 8576157"/>
              <a:gd name="connsiteY1" fmla="*/ 237194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252105 w 8576157"/>
              <a:gd name="connsiteY1" fmla="*/ 312821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252105 w 8576157"/>
              <a:gd name="connsiteY1" fmla="*/ 312821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643991 w 8576157"/>
              <a:gd name="connsiteY1" fmla="*/ 17531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643991 w 8576157"/>
              <a:gd name="connsiteY1" fmla="*/ 17531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891641 w 8576157"/>
              <a:gd name="connsiteY1" fmla="*/ 30231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6157" h="6869876">
                <a:moveTo>
                  <a:pt x="1733041" y="328069"/>
                </a:moveTo>
                <a:cubicBezTo>
                  <a:pt x="2180584" y="235108"/>
                  <a:pt x="2395168" y="206457"/>
                  <a:pt x="2939266" y="130867"/>
                </a:cubicBezTo>
                <a:cubicBezTo>
                  <a:pt x="3374459" y="74351"/>
                  <a:pt x="3580090" y="42970"/>
                  <a:pt x="4287474" y="0"/>
                </a:cubicBezTo>
                <a:lnTo>
                  <a:pt x="8576157" y="0"/>
                </a:lnTo>
                <a:cubicBezTo>
                  <a:pt x="7599838" y="1056905"/>
                  <a:pt x="6665081" y="2232561"/>
                  <a:pt x="4649672" y="4132613"/>
                </a:cubicBezTo>
                <a:lnTo>
                  <a:pt x="1563778" y="6869876"/>
                </a:lnTo>
                <a:lnTo>
                  <a:pt x="482" y="6858000"/>
                </a:lnTo>
                <a:cubicBezTo>
                  <a:pt x="-1497" y="4829299"/>
                  <a:pt x="3398" y="2810910"/>
                  <a:pt x="1419" y="782209"/>
                </a:cubicBezTo>
                <a:cubicBezTo>
                  <a:pt x="9336" y="786167"/>
                  <a:pt x="998694" y="473705"/>
                  <a:pt x="1733041" y="328069"/>
                </a:cubicBezTo>
                <a:close/>
              </a:path>
            </a:pathLst>
          </a:custGeom>
          <a:ln w="38100">
            <a:solidFill>
              <a:srgbClr val="03779B"/>
            </a:solidFill>
          </a:ln>
        </p:spPr>
        <p:txBody>
          <a:bodyPr/>
          <a:lstStyle>
            <a:lvl1pPr>
              <a:defRPr>
                <a:latin typeface="Century Gothic" panose="020B0502020202020204" pitchFamily="34" charset="0"/>
              </a:defRPr>
            </a:lvl1pPr>
          </a:lstStyle>
          <a:p>
            <a:endParaRPr lang="en-US" dirty="0"/>
          </a:p>
        </p:txBody>
      </p:sp>
      <p:sp>
        <p:nvSpPr>
          <p:cNvPr id="10" name="Text Placeholder 14"/>
          <p:cNvSpPr>
            <a:spLocks noGrp="1"/>
          </p:cNvSpPr>
          <p:nvPr>
            <p:ph type="body" sz="quarter" idx="11" hasCustomPrompt="1"/>
          </p:nvPr>
        </p:nvSpPr>
        <p:spPr>
          <a:xfrm>
            <a:off x="4050145" y="2866111"/>
            <a:ext cx="4843645" cy="352425"/>
          </a:xfrm>
          <a:prstGeom prst="rect">
            <a:avLst/>
          </a:prstGeom>
        </p:spPr>
        <p:txBody>
          <a:bodyPr/>
          <a:lstStyle>
            <a:lvl1pPr marL="0" indent="0" algn="r">
              <a:buNone/>
              <a:defRPr sz="1350" b="0" i="0" baseline="0">
                <a:solidFill>
                  <a:schemeClr val="bg1"/>
                </a:solidFill>
                <a:latin typeface="Century Gothic" panose="020B0502020202020204" pitchFamily="34" charset="0"/>
                <a:ea typeface="Century Gothic" panose="020B0502020202020204" pitchFamily="34" charset="0"/>
                <a:cs typeface="Arial" charset="0"/>
              </a:defRPr>
            </a:lvl1pPr>
          </a:lstStyle>
          <a:p>
            <a:pPr lvl="0"/>
            <a:r>
              <a:rPr lang="en-US"/>
              <a:t>Click to edit Name | Date</a:t>
            </a:r>
          </a:p>
        </p:txBody>
      </p:sp>
      <p:pic>
        <p:nvPicPr>
          <p:cNvPr id="5" name="Picture 4">
            <a:extLst>
              <a:ext uri="{FF2B5EF4-FFF2-40B4-BE49-F238E27FC236}">
                <a16:creationId xmlns:a16="http://schemas.microsoft.com/office/drawing/2014/main" id="{711E9FDF-EFB1-428D-BEB0-1CFF9C7752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51963" y="4252643"/>
            <a:ext cx="1694045" cy="576923"/>
          </a:xfrm>
          <a:prstGeom prst="rect">
            <a:avLst/>
          </a:prstGeom>
        </p:spPr>
      </p:pic>
    </p:spTree>
    <p:extLst>
      <p:ext uri="{BB962C8B-B14F-4D97-AF65-F5344CB8AC3E}">
        <p14:creationId xmlns:p14="http://schemas.microsoft.com/office/powerpoint/2010/main" val="195297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Alternate Title Page_Custom">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03B9CE-105A-4126-8595-AC58129E9A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51963" y="4252643"/>
            <a:ext cx="1694045" cy="576923"/>
          </a:xfrm>
          <a:prstGeom prst="rect">
            <a:avLst/>
          </a:prstGeom>
        </p:spPr>
      </p:pic>
      <p:pic>
        <p:nvPicPr>
          <p:cNvPr id="7" name="Picture 6">
            <a:extLst>
              <a:ext uri="{FF2B5EF4-FFF2-40B4-BE49-F238E27FC236}">
                <a16:creationId xmlns:a16="http://schemas.microsoft.com/office/drawing/2014/main" id="{D4822091-CB70-4B85-9CC0-DA3250FEE27B}"/>
              </a:ext>
            </a:extLst>
          </p:cNvPr>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1" y="0"/>
            <a:ext cx="5121565" cy="51435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078123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Alternate Title Page with Image B_Cus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90391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6BFF0-A9FC-42A5-99ED-6093A2D63C93}"/>
              </a:ext>
            </a:extLst>
          </p:cNvPr>
          <p:cNvSpPr>
            <a:spLocks noGrp="1"/>
          </p:cNvSpPr>
          <p:nvPr>
            <p:ph type="ctrTitle"/>
          </p:nvPr>
        </p:nvSpPr>
        <p:spPr>
          <a:xfrm>
            <a:off x="590976" y="-81864"/>
            <a:ext cx="7341846" cy="916205"/>
          </a:xfrm>
          <a:prstGeom prst="rect">
            <a:avLst/>
          </a:prstGeom>
        </p:spPr>
        <p:txBody>
          <a:bodyPr anchor="b">
            <a:normAutofit/>
          </a:bodyPr>
          <a:lstStyle>
            <a:lvl1pPr algn="ctr">
              <a:defRPr sz="2800"/>
            </a:lvl1pPr>
          </a:lstStyle>
          <a:p>
            <a:r>
              <a:rPr lang="en-US"/>
              <a:t>Click to edit Master title style</a:t>
            </a:r>
          </a:p>
        </p:txBody>
      </p:sp>
      <p:sp>
        <p:nvSpPr>
          <p:cNvPr id="3" name="Subtitle 2">
            <a:extLst>
              <a:ext uri="{FF2B5EF4-FFF2-40B4-BE49-F238E27FC236}">
                <a16:creationId xmlns:a16="http://schemas.microsoft.com/office/drawing/2014/main" id="{2EA7D5E0-420F-4F5C-86C9-FBB431F572F1}"/>
              </a:ext>
            </a:extLst>
          </p:cNvPr>
          <p:cNvSpPr>
            <a:spLocks noGrp="1"/>
          </p:cNvSpPr>
          <p:nvPr>
            <p:ph type="subTitle" idx="1"/>
          </p:nvPr>
        </p:nvSpPr>
        <p:spPr>
          <a:xfrm>
            <a:off x="1143000" y="1950840"/>
            <a:ext cx="6789822" cy="1241822"/>
          </a:xfrm>
        </p:spPr>
        <p:txBody>
          <a:bodyPr/>
          <a:lstStyle>
            <a:lvl1pPr marL="0" indent="0" algn="ctr">
              <a:spcBef>
                <a:spcPts val="0"/>
              </a:spcBef>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179FD57-510E-4616-B432-794FE41A6808}"/>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8001641-8B87-428D-A38B-731246FC69F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25A2EA1-25BC-4F01-94E3-20200B4F4A73}"/>
              </a:ext>
            </a:extLst>
          </p:cNvPr>
          <p:cNvSpPr>
            <a:spLocks noGrp="1"/>
          </p:cNvSpPr>
          <p:nvPr>
            <p:ph type="sldNum" sz="quarter" idx="12"/>
          </p:nvPr>
        </p:nvSpPr>
        <p:spPr>
          <a:xfrm>
            <a:off x="690245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9128915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2589" y="1276690"/>
            <a:ext cx="8494776" cy="3263504"/>
          </a:xfrm>
        </p:spPr>
        <p:txBody>
          <a:bodyPr>
            <a:normAutofit/>
          </a:bodyPr>
          <a:lstStyle>
            <a:lvl1pPr marL="171446" indent="-171446">
              <a:buClr>
                <a:srgbClr val="002060"/>
              </a:buClr>
              <a:buFont typeface="Wingdings" panose="05000000000000000000" pitchFamily="2" charset="2"/>
              <a:buChar char="§"/>
              <a:defRPr sz="1800"/>
            </a:lvl1pPr>
            <a:lvl2pPr marL="514337" indent="-171446">
              <a:buClr>
                <a:srgbClr val="002060"/>
              </a:buClr>
              <a:buFont typeface="Wingdings" panose="05000000000000000000" pitchFamily="2" charset="2"/>
              <a:buChar char="§"/>
              <a:defRPr sz="1800"/>
            </a:lvl2pPr>
            <a:lvl3pPr marL="857228" indent="-171446">
              <a:buClr>
                <a:srgbClr val="002060"/>
              </a:buClr>
              <a:buFont typeface="Wingdings" panose="05000000000000000000" pitchFamily="2" charset="2"/>
              <a:buChar char="§"/>
              <a:defRPr sz="1400"/>
            </a:lvl3pPr>
            <a:lvl4pPr marL="1200120" indent="-171446">
              <a:buClr>
                <a:srgbClr val="002060"/>
              </a:buClr>
              <a:buFont typeface="Wingdings" panose="05000000000000000000" pitchFamily="2" charset="2"/>
              <a:buChar char="§"/>
              <a:defRPr sz="1200"/>
            </a:lvl4pPr>
            <a:lvl5pPr marL="1543012" indent="-171446">
              <a:buClr>
                <a:srgbClr val="002060"/>
              </a:buClr>
              <a:buFont typeface="Wingdings" panose="05000000000000000000" pitchFamily="2" charset="2"/>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1D30680-7834-4D00-B45B-BCD9BD377547}"/>
              </a:ext>
            </a:extLst>
          </p:cNvPr>
          <p:cNvSpPr>
            <a:spLocks noGrp="1"/>
          </p:cNvSpPr>
          <p:nvPr>
            <p:ph type="sldNum" sz="quarter" idx="12"/>
          </p:nvPr>
        </p:nvSpPr>
        <p:spPr>
          <a:xfrm>
            <a:off x="6789965" y="4767264"/>
            <a:ext cx="2057400" cy="273844"/>
          </a:xfrm>
          <a:prstGeom prst="rect">
            <a:avLst/>
          </a:prstGeom>
        </p:spPr>
        <p:txBody>
          <a:bodyPr/>
          <a:lstStyle/>
          <a:p>
            <a:fld id="{68B82C89-54EC-4D90-B7E5-A6254AC09059}" type="slidenum">
              <a:rPr lang="en-US" smtClean="0"/>
              <a:t>‹#›</a:t>
            </a:fld>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52590" y="351278"/>
            <a:ext cx="6600773" cy="497489"/>
          </a:xfrm>
          <a:prstGeom prst="rect">
            <a:avLst/>
          </a:prstGeom>
        </p:spPr>
        <p:txBody>
          <a:bodyPr/>
          <a:lstStyle>
            <a:lvl1pPr>
              <a:defRPr>
                <a:latin typeface="Century Gothic" panose="020B0502020202020204" pitchFamily="34" charset="0"/>
                <a:cs typeface="David" panose="020E0502060401010101" pitchFamily="34" charset="-79"/>
              </a:defRPr>
            </a:lvl1pPr>
          </a:lstStyle>
          <a:p>
            <a:r>
              <a:rPr lang="en-US"/>
              <a:t>Click to edit Master title style</a:t>
            </a:r>
          </a:p>
        </p:txBody>
      </p:sp>
    </p:spTree>
    <p:extLst>
      <p:ext uri="{BB962C8B-B14F-4D97-AF65-F5344CB8AC3E}">
        <p14:creationId xmlns:p14="http://schemas.microsoft.com/office/powerpoint/2010/main" val="385898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1B9F1-2DC1-43BA-8048-85F619D77F1B}"/>
              </a:ext>
            </a:extLst>
          </p:cNvPr>
          <p:cNvSpPr>
            <a:spLocks noGrp="1"/>
          </p:cNvSpPr>
          <p:nvPr>
            <p:ph type="title"/>
          </p:nvPr>
        </p:nvSpPr>
        <p:spPr>
          <a:xfrm>
            <a:off x="319572" y="54570"/>
            <a:ext cx="7320240" cy="912416"/>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19572" y="1352892"/>
            <a:ext cx="7886700" cy="3263504"/>
          </a:xfrm>
        </p:spPr>
        <p:txBody>
          <a:bodyPr/>
          <a:lstStyle>
            <a:lvl1pPr marL="171446" indent="-171446">
              <a:buClr>
                <a:srgbClr val="002060"/>
              </a:buClr>
              <a:buFont typeface="Wingdings" panose="05000000000000000000" pitchFamily="2" charset="2"/>
              <a:buChar char="§"/>
              <a:defRPr/>
            </a:lvl1pPr>
            <a:lvl2pPr marL="514337" indent="-171446">
              <a:buClr>
                <a:srgbClr val="002060"/>
              </a:buClr>
              <a:buFont typeface="Wingdings" panose="05000000000000000000" pitchFamily="2" charset="2"/>
              <a:buChar char="§"/>
              <a:defRPr sz="2100"/>
            </a:lvl2pPr>
            <a:lvl3pPr marL="857228" indent="-171446">
              <a:buClr>
                <a:srgbClr val="002060"/>
              </a:buClr>
              <a:buFont typeface="Wingdings" panose="05000000000000000000" pitchFamily="2" charset="2"/>
              <a:buChar char="§"/>
              <a:defRPr sz="1800"/>
            </a:lvl3pPr>
            <a:lvl4pPr marL="1200120" indent="-171446">
              <a:buClr>
                <a:srgbClr val="002060"/>
              </a:buClr>
              <a:buFont typeface="Wingdings" panose="05000000000000000000" pitchFamily="2" charset="2"/>
              <a:buChar char="§"/>
              <a:defRPr sz="1500"/>
            </a:lvl4pPr>
            <a:lvl5pPr marL="1543012" indent="-171446">
              <a:buClr>
                <a:srgbClr val="002060"/>
              </a:buClr>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0786D175-1D27-455E-847B-7F4BE0D450BE}"/>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11602792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55764-0596-4F2C-A5D1-F7283E4517E0}"/>
              </a:ext>
            </a:extLst>
          </p:cNvPr>
          <p:cNvSpPr>
            <a:spLocks noGrp="1"/>
          </p:cNvSpPr>
          <p:nvPr>
            <p:ph type="title"/>
          </p:nvPr>
        </p:nvSpPr>
        <p:spPr>
          <a:xfrm>
            <a:off x="623888" y="1282305"/>
            <a:ext cx="8221662"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723CD4F0-1ED8-4A81-AC35-9F3DD0383FCB}"/>
              </a:ext>
            </a:extLst>
          </p:cNvPr>
          <p:cNvSpPr>
            <a:spLocks noGrp="1"/>
          </p:cNvSpPr>
          <p:nvPr>
            <p:ph type="body" idx="1"/>
          </p:nvPr>
        </p:nvSpPr>
        <p:spPr>
          <a:xfrm>
            <a:off x="623888" y="3442099"/>
            <a:ext cx="8221662"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F401CF-FED1-42DA-AC04-27DAAE0D9249}"/>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088E46C-DC49-42DA-B87B-4774A269519F}"/>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B870777D-989B-4ABC-9AEC-AF48EC83039B}"/>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42841219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43C7-F05B-40FF-887D-D98EE861AA1E}"/>
              </a:ext>
            </a:extLst>
          </p:cNvPr>
          <p:cNvSpPr>
            <a:spLocks noGrp="1"/>
          </p:cNvSpPr>
          <p:nvPr>
            <p:ph type="title"/>
          </p:nvPr>
        </p:nvSpPr>
        <p:spPr>
          <a:xfrm>
            <a:off x="378279" y="102394"/>
            <a:ext cx="7354062" cy="875507"/>
          </a:xfrm>
          <a:prstGeom prst="rect">
            <a:avLst/>
          </a:prstGeom>
        </p:spPr>
        <p:txBody>
          <a:bodyPr>
            <a:normAutofit/>
          </a:bodyPr>
          <a:lstStyle>
            <a:lvl1pPr>
              <a:defRPr sz="24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11A86B4-5FC5-4D52-B176-85D79D3A2AB1}"/>
              </a:ext>
            </a:extLst>
          </p:cNvPr>
          <p:cNvSpPr>
            <a:spLocks noGrp="1"/>
          </p:cNvSpPr>
          <p:nvPr>
            <p:ph sz="half" idx="1"/>
          </p:nvPr>
        </p:nvSpPr>
        <p:spPr>
          <a:xfrm>
            <a:off x="384629" y="1369219"/>
            <a:ext cx="3886200" cy="3263504"/>
          </a:xfrm>
        </p:spPr>
        <p:txBody>
          <a:bodyPr>
            <a:normAutofit/>
          </a:bodyPr>
          <a:lstStyle>
            <a:lvl1pPr>
              <a:defRPr sz="18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4DF9D3-E1D2-4793-B34D-AD35452CE1EA}"/>
              </a:ext>
            </a:extLst>
          </p:cNvPr>
          <p:cNvSpPr>
            <a:spLocks noGrp="1"/>
          </p:cNvSpPr>
          <p:nvPr>
            <p:ph sz="half" idx="2"/>
          </p:nvPr>
        </p:nvSpPr>
        <p:spPr>
          <a:xfrm>
            <a:off x="4629150" y="1369219"/>
            <a:ext cx="4305300" cy="3263504"/>
          </a:xfrm>
        </p:spPr>
        <p:txBody>
          <a:bodyPr>
            <a:normAutofit/>
          </a:bodyPr>
          <a:lstStyle>
            <a:lvl1pPr>
              <a:defRPr sz="18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C687B7F-7ADE-4354-8BDD-4F740FC9D508}"/>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B9E26D41-7F08-4D4E-A53E-F4A5109BBFF5}"/>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120B4AFE-F546-45EB-B69F-1E1C34F1D3CD}"/>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538213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2589" y="1276690"/>
            <a:ext cx="8494776" cy="3263504"/>
          </a:xfrm>
        </p:spPr>
        <p:txBody>
          <a:bodyPr>
            <a:normAutofit/>
          </a:bodyPr>
          <a:lstStyle>
            <a:lvl1pPr marL="171450" indent="-171450">
              <a:buClr>
                <a:srgbClr val="002060"/>
              </a:buClr>
              <a:buFont typeface="Wingdings" panose="05000000000000000000" pitchFamily="2" charset="2"/>
              <a:buChar char="§"/>
              <a:defRPr sz="1800"/>
            </a:lvl1pPr>
            <a:lvl2pPr marL="514350" indent="-171450">
              <a:buClr>
                <a:srgbClr val="002060"/>
              </a:buClr>
              <a:buFont typeface="Wingdings" panose="05000000000000000000" pitchFamily="2" charset="2"/>
              <a:buChar char="§"/>
              <a:defRPr sz="1800"/>
            </a:lvl2pPr>
            <a:lvl3pPr marL="857250" indent="-171450">
              <a:buClr>
                <a:srgbClr val="002060"/>
              </a:buClr>
              <a:buFont typeface="Wingdings" panose="05000000000000000000" pitchFamily="2" charset="2"/>
              <a:buChar char="§"/>
              <a:defRPr sz="1400"/>
            </a:lvl3pPr>
            <a:lvl4pPr marL="1200150" indent="-171450">
              <a:buClr>
                <a:srgbClr val="002060"/>
              </a:buClr>
              <a:buFont typeface="Wingdings" panose="05000000000000000000" pitchFamily="2" charset="2"/>
              <a:buChar char="§"/>
              <a:defRPr sz="1200"/>
            </a:lvl4pPr>
            <a:lvl5pPr marL="1543050" indent="-171450">
              <a:buClr>
                <a:srgbClr val="002060"/>
              </a:buClr>
              <a:buFont typeface="Wingdings" panose="05000000000000000000" pitchFamily="2" charset="2"/>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1D30680-7834-4D00-B45B-BCD9BD377547}"/>
              </a:ext>
            </a:extLst>
          </p:cNvPr>
          <p:cNvSpPr>
            <a:spLocks noGrp="1"/>
          </p:cNvSpPr>
          <p:nvPr>
            <p:ph type="sldNum" sz="quarter" idx="12"/>
          </p:nvPr>
        </p:nvSpPr>
        <p:spPr>
          <a:xfrm>
            <a:off x="6789965" y="4767263"/>
            <a:ext cx="2057400" cy="273844"/>
          </a:xfrm>
          <a:prstGeom prst="rect">
            <a:avLst/>
          </a:prstGeom>
        </p:spPr>
        <p:txBody>
          <a:bodyPr/>
          <a:lstStyle/>
          <a:p>
            <a:fld id="{68B82C89-54EC-4D90-B7E5-A6254AC09059}" type="slidenum">
              <a:rPr lang="en-US" smtClean="0"/>
              <a:t>‹#›</a:t>
            </a:fld>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52589" y="351277"/>
            <a:ext cx="6600773" cy="497489"/>
          </a:xfrm>
          <a:prstGeom prst="rect">
            <a:avLst/>
          </a:prstGeom>
        </p:spPr>
        <p:txBody>
          <a:bodyPr/>
          <a:lstStyle>
            <a:lvl1pPr>
              <a:defRPr>
                <a:latin typeface="Century Gothic" panose="020B0502020202020204" pitchFamily="34" charset="0"/>
                <a:cs typeface="David" panose="020E0502060401010101" pitchFamily="34" charset="-79"/>
              </a:defRPr>
            </a:lvl1pPr>
          </a:lstStyle>
          <a:p>
            <a:r>
              <a:rPr lang="en-US" dirty="0"/>
              <a:t>Click to edit Master title style</a:t>
            </a:r>
          </a:p>
        </p:txBody>
      </p:sp>
    </p:spTree>
    <p:extLst>
      <p:ext uri="{BB962C8B-B14F-4D97-AF65-F5344CB8AC3E}">
        <p14:creationId xmlns:p14="http://schemas.microsoft.com/office/powerpoint/2010/main" val="21361873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03209-76CF-4459-B69B-0A25C2C8BDBD}"/>
              </a:ext>
            </a:extLst>
          </p:cNvPr>
          <p:cNvSpPr>
            <a:spLocks noGrp="1"/>
          </p:cNvSpPr>
          <p:nvPr>
            <p:ph type="title"/>
          </p:nvPr>
        </p:nvSpPr>
        <p:spPr>
          <a:xfrm>
            <a:off x="341371" y="4168"/>
            <a:ext cx="7704080" cy="994172"/>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2291CB0F-4303-40C4-A714-8D514F7BEF7A}"/>
              </a:ext>
            </a:extLst>
          </p:cNvPr>
          <p:cNvSpPr>
            <a:spLocks noGrp="1"/>
          </p:cNvSpPr>
          <p:nvPr>
            <p:ph type="body" idx="1"/>
          </p:nvPr>
        </p:nvSpPr>
        <p:spPr>
          <a:xfrm>
            <a:off x="341371" y="1198364"/>
            <a:ext cx="3868340" cy="617934"/>
          </a:xfrm>
        </p:spPr>
        <p:txBody>
          <a:bodyPr anchor="b"/>
          <a:lstStyle>
            <a:lvl1pPr marL="0" indent="0">
              <a:spcBef>
                <a:spcPts val="0"/>
              </a:spcBef>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AAA9D2F-3A93-4302-8757-7D47440E8BF1}"/>
              </a:ext>
            </a:extLst>
          </p:cNvPr>
          <p:cNvSpPr>
            <a:spLocks noGrp="1"/>
          </p:cNvSpPr>
          <p:nvPr>
            <p:ph sz="half" idx="2"/>
          </p:nvPr>
        </p:nvSpPr>
        <p:spPr>
          <a:xfrm>
            <a:off x="341371"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842717-1393-4E34-9E66-F3E5DF4356AD}"/>
              </a:ext>
            </a:extLst>
          </p:cNvPr>
          <p:cNvSpPr>
            <a:spLocks noGrp="1"/>
          </p:cNvSpPr>
          <p:nvPr>
            <p:ph type="body" sz="quarter" idx="3"/>
          </p:nvPr>
        </p:nvSpPr>
        <p:spPr>
          <a:xfrm>
            <a:off x="4629150" y="1197215"/>
            <a:ext cx="4173480" cy="617934"/>
          </a:xfrm>
        </p:spPr>
        <p:txBody>
          <a:bodyPr anchor="b"/>
          <a:lstStyle>
            <a:lvl1pPr marL="0" indent="0">
              <a:spcBef>
                <a:spcPts val="0"/>
              </a:spcBef>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BB8BA4C-1EC8-49FB-BB86-E62639CB8B5B}"/>
              </a:ext>
            </a:extLst>
          </p:cNvPr>
          <p:cNvSpPr>
            <a:spLocks noGrp="1"/>
          </p:cNvSpPr>
          <p:nvPr>
            <p:ph sz="quarter" idx="4"/>
          </p:nvPr>
        </p:nvSpPr>
        <p:spPr>
          <a:xfrm>
            <a:off x="4629150" y="1878806"/>
            <a:ext cx="417348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E74484-9CF5-45C9-98AB-BE863D2CE06E}"/>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8" name="Footer Placeholder 7">
            <a:extLst>
              <a:ext uri="{FF2B5EF4-FFF2-40B4-BE49-F238E27FC236}">
                <a16:creationId xmlns:a16="http://schemas.microsoft.com/office/drawing/2014/main" id="{3AD32C6B-EE7D-40F5-9FA2-2885CD2E8500}"/>
              </a:ext>
            </a:extLst>
          </p:cNvPr>
          <p:cNvSpPr>
            <a:spLocks noGrp="1"/>
          </p:cNvSpPr>
          <p:nvPr>
            <p:ph type="ftr" sz="quarter" idx="11"/>
          </p:nvPr>
        </p:nvSpPr>
        <p:spPr/>
        <p:txBody>
          <a:bodyPr/>
          <a:lstStyle/>
          <a:p>
            <a:endParaRPr lang="en-US" dirty="0"/>
          </a:p>
        </p:txBody>
      </p:sp>
      <p:sp>
        <p:nvSpPr>
          <p:cNvPr id="10" name="Slide Number Placeholder 5">
            <a:extLst>
              <a:ext uri="{FF2B5EF4-FFF2-40B4-BE49-F238E27FC236}">
                <a16:creationId xmlns:a16="http://schemas.microsoft.com/office/drawing/2014/main" id="{0F37023D-EC39-4A8D-8A78-130488EB2FCE}"/>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24828360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A0050-7F0F-4370-AE0B-6230918A3675}"/>
              </a:ext>
            </a:extLst>
          </p:cNvPr>
          <p:cNvSpPr>
            <a:spLocks noGrp="1"/>
          </p:cNvSpPr>
          <p:nvPr>
            <p:ph type="title"/>
          </p:nvPr>
        </p:nvSpPr>
        <p:spPr>
          <a:xfrm>
            <a:off x="343762" y="1"/>
            <a:ext cx="7088459" cy="994172"/>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B2EE3464-3F6E-4575-820F-682CF87B0C1F}"/>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4" name="Footer Placeholder 3">
            <a:extLst>
              <a:ext uri="{FF2B5EF4-FFF2-40B4-BE49-F238E27FC236}">
                <a16:creationId xmlns:a16="http://schemas.microsoft.com/office/drawing/2014/main" id="{5BD65CCE-E076-481B-901C-15BE8B8EC0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77194A-9BDA-482C-A60A-C2A5AD1F4E91}"/>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13323902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1E34CE-CD68-4230-9722-BC05CD29FC8E}"/>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3" name="Footer Placeholder 2">
            <a:extLst>
              <a:ext uri="{FF2B5EF4-FFF2-40B4-BE49-F238E27FC236}">
                <a16:creationId xmlns:a16="http://schemas.microsoft.com/office/drawing/2014/main" id="{5C735421-AE90-4733-ADF9-EE8C15D8DE52}"/>
              </a:ext>
            </a:extLst>
          </p:cNvPr>
          <p:cNvSpPr>
            <a:spLocks noGrp="1"/>
          </p:cNvSpPr>
          <p:nvPr>
            <p:ph type="ftr" sz="quarter" idx="11"/>
          </p:nvPr>
        </p:nvSpPr>
        <p:spPr/>
        <p:txBody>
          <a:bodyPr/>
          <a:lstStyle/>
          <a:p>
            <a:endParaRPr lang="en-US" dirty="0"/>
          </a:p>
        </p:txBody>
      </p:sp>
      <p:sp>
        <p:nvSpPr>
          <p:cNvPr id="5" name="Slide Number Placeholder 5">
            <a:extLst>
              <a:ext uri="{FF2B5EF4-FFF2-40B4-BE49-F238E27FC236}">
                <a16:creationId xmlns:a16="http://schemas.microsoft.com/office/drawing/2014/main" id="{718B41C7-12FF-47C0-B354-DF3AA16CEC70}"/>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10175011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5DB7F-5672-4A85-A76D-BAC89A5C72AE}"/>
              </a:ext>
            </a:extLst>
          </p:cNvPr>
          <p:cNvSpPr>
            <a:spLocks noGrp="1"/>
          </p:cNvSpPr>
          <p:nvPr>
            <p:ph type="title"/>
          </p:nvPr>
        </p:nvSpPr>
        <p:spPr>
          <a:xfrm>
            <a:off x="351064" y="46603"/>
            <a:ext cx="6789080" cy="991226"/>
          </a:xfrm>
          <a:prstGeom prst="rect">
            <a:avLst/>
          </a:prstGeom>
        </p:spPr>
        <p:txBody>
          <a:bodyPr anchor="ctr"/>
          <a:lstStyle>
            <a:lvl1pPr>
              <a:defRPr sz="24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212D1B1-AB0D-4D35-94E0-B1DE82C2B87F}"/>
              </a:ext>
            </a:extLst>
          </p:cNvPr>
          <p:cNvSpPr>
            <a:spLocks noGrp="1"/>
          </p:cNvSpPr>
          <p:nvPr>
            <p:ph idx="1"/>
          </p:nvPr>
        </p:nvSpPr>
        <p:spPr>
          <a:xfrm>
            <a:off x="3885009" y="1144788"/>
            <a:ext cx="5055791"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EEEB1BD-0EA4-4BBA-BAAE-9AD4117B0342}"/>
              </a:ext>
            </a:extLst>
          </p:cNvPr>
          <p:cNvSpPr>
            <a:spLocks noGrp="1"/>
          </p:cNvSpPr>
          <p:nvPr>
            <p:ph type="body" sz="half" idx="2"/>
          </p:nvPr>
        </p:nvSpPr>
        <p:spPr>
          <a:xfrm>
            <a:off x="351064" y="1144787"/>
            <a:ext cx="3186793"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F377E42-0786-4698-9421-0BCE6111D1CA}"/>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C92E7250-2DDA-47BC-8017-D741900D3C3C}"/>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78CAD71F-19CE-41C4-A1A2-F10FDC8CEA30}"/>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6080635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1701E-DD13-434C-9F1C-F9D4DC9CF30D}"/>
              </a:ext>
            </a:extLst>
          </p:cNvPr>
          <p:cNvSpPr>
            <a:spLocks noGrp="1"/>
          </p:cNvSpPr>
          <p:nvPr>
            <p:ph type="title"/>
          </p:nvPr>
        </p:nvSpPr>
        <p:spPr>
          <a:xfrm>
            <a:off x="369664" y="0"/>
            <a:ext cx="6945537" cy="1035558"/>
          </a:xfrm>
          <a:prstGeom prst="rect">
            <a:avLst/>
          </a:prstGeom>
        </p:spPr>
        <p:txBody>
          <a:bodyPr anchor="ctr"/>
          <a:lstStyle>
            <a:lvl1pPr algn="l">
              <a:defRPr sz="2400">
                <a:latin typeface="Century Gothic" panose="020B0502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0C99BA28-3909-46B2-B797-9FF0D7C3C21F}"/>
              </a:ext>
            </a:extLst>
          </p:cNvPr>
          <p:cNvSpPr>
            <a:spLocks noGrp="1"/>
          </p:cNvSpPr>
          <p:nvPr>
            <p:ph type="pic" idx="1"/>
          </p:nvPr>
        </p:nvSpPr>
        <p:spPr>
          <a:xfrm>
            <a:off x="4413871" y="1193293"/>
            <a:ext cx="4360466" cy="3202496"/>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p:txBody>
      </p:sp>
      <p:sp>
        <p:nvSpPr>
          <p:cNvPr id="4" name="Text Placeholder 3">
            <a:extLst>
              <a:ext uri="{FF2B5EF4-FFF2-40B4-BE49-F238E27FC236}">
                <a16:creationId xmlns:a16="http://schemas.microsoft.com/office/drawing/2014/main" id="{ACA8DDD7-C56D-419F-BE39-AB44DCE40977}"/>
              </a:ext>
            </a:extLst>
          </p:cNvPr>
          <p:cNvSpPr>
            <a:spLocks noGrp="1"/>
          </p:cNvSpPr>
          <p:nvPr>
            <p:ph type="body" sz="half" idx="2"/>
          </p:nvPr>
        </p:nvSpPr>
        <p:spPr>
          <a:xfrm>
            <a:off x="369664" y="1193293"/>
            <a:ext cx="3675539" cy="3202496"/>
          </a:xfrm>
        </p:spPr>
        <p:txBody>
          <a:bodyPr>
            <a:normAutofit/>
          </a:bodyPr>
          <a:lstStyle>
            <a:lvl1pPr marL="0" indent="0">
              <a:spcBef>
                <a:spcPts val="0"/>
              </a:spcBef>
              <a:buNone/>
              <a:defRPr sz="15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06F150C4-B6BE-45F2-8B0D-90899B425F27}"/>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0C7F3711-C557-4659-8D4F-2CFF5939BA80}"/>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C6521A7F-45F2-4256-AE12-63C0E4B9D94B}"/>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7745087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6218C-C9E1-46F7-9F57-2D09E9A7FB52}"/>
              </a:ext>
            </a:extLst>
          </p:cNvPr>
          <p:cNvSpPr>
            <a:spLocks noGrp="1"/>
          </p:cNvSpPr>
          <p:nvPr>
            <p:ph type="title"/>
          </p:nvPr>
        </p:nvSpPr>
        <p:spPr>
          <a:xfrm>
            <a:off x="628650" y="102394"/>
            <a:ext cx="7292340" cy="994172"/>
          </a:xfrm>
          <a:prstGeom prst="rect">
            <a:avLst/>
          </a:prstGeom>
        </p:spPr>
        <p:txBody>
          <a:bodyPr/>
          <a:lstStyle>
            <a:lvl1pPr>
              <a:defRPr>
                <a:latin typeface="Century Gothic" panose="020B0502020202020204" pitchFamily="34" charset="0"/>
                <a:ea typeface="DotumChe" panose="020B0609000101010101" pitchFamily="49" charset="-127"/>
              </a:defRPr>
            </a:lvl1pPr>
          </a:lstStyle>
          <a:p>
            <a:r>
              <a:rPr lang="en-US"/>
              <a:t>Click to edit Master title style</a:t>
            </a:r>
          </a:p>
        </p:txBody>
      </p:sp>
      <p:sp>
        <p:nvSpPr>
          <p:cNvPr id="3" name="Vertical Text Placeholder 2">
            <a:extLst>
              <a:ext uri="{FF2B5EF4-FFF2-40B4-BE49-F238E27FC236}">
                <a16:creationId xmlns:a16="http://schemas.microsoft.com/office/drawing/2014/main" id="{D34C56AC-6DDD-4D65-A449-C1123DD8B72B}"/>
              </a:ext>
            </a:extLst>
          </p:cNvPr>
          <p:cNvSpPr>
            <a:spLocks noGrp="1"/>
          </p:cNvSpPr>
          <p:nvPr>
            <p:ph type="body" orient="vert" idx="1"/>
          </p:nvPr>
        </p:nvSpPr>
        <p:spPr/>
        <p:txBody>
          <a:bodyPr vert="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61B2BC-90DD-47ED-BD98-BF556BAFFB27}"/>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9EEF4846-D7B6-415E-9C66-785C0B23F1EF}"/>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FF30018F-E1C2-48FE-A115-1D9748E9631B}"/>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2839559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500268-2C46-4768-A016-4C2D21709B6E}"/>
              </a:ext>
            </a:extLst>
          </p:cNvPr>
          <p:cNvSpPr>
            <a:spLocks noGrp="1"/>
          </p:cNvSpPr>
          <p:nvPr>
            <p:ph type="title" orient="vert"/>
          </p:nvPr>
        </p:nvSpPr>
        <p:spPr>
          <a:xfrm>
            <a:off x="6543676" y="1323593"/>
            <a:ext cx="2314575" cy="3309129"/>
          </a:xfrm>
          <a:prstGeom prst="rect">
            <a:avLst/>
          </a:prstGeom>
        </p:spPr>
        <p:txBody>
          <a:bodyPr vert="eaVert"/>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4D2F098B-CE7D-43F0-8E82-412C396DA0E9}"/>
              </a:ext>
            </a:extLst>
          </p:cNvPr>
          <p:cNvSpPr>
            <a:spLocks noGrp="1"/>
          </p:cNvSpPr>
          <p:nvPr>
            <p:ph type="body" orient="vert" idx="1"/>
          </p:nvPr>
        </p:nvSpPr>
        <p:spPr>
          <a:xfrm>
            <a:off x="628651" y="1323595"/>
            <a:ext cx="5800725" cy="33091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D2EF35-ECB7-44C4-8981-74A563A32B14}"/>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F9EFD969-9C7F-42F7-B595-5A6BC3343F1B}"/>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C692975C-4E09-45A5-BE5F-785BD52BDFA7}"/>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8168898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ain Content Page (1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199036" y="89487"/>
            <a:ext cx="7821014" cy="913814"/>
          </a:xfrm>
          <a:prstGeom prst="rect">
            <a:avLst/>
          </a:prstGeom>
        </p:spPr>
        <p:txBody>
          <a:bodyPr vert="horz" lIns="91440" tIns="45720" rIns="91440" bIns="45720" rtlCol="0" anchor="ctr">
            <a:normAutofit/>
          </a:bodyPr>
          <a:lstStyle/>
          <a:p>
            <a:r>
              <a:rPr lang="en-US"/>
              <a:t>Click to edit Master title style</a:t>
            </a:r>
          </a:p>
        </p:txBody>
      </p:sp>
      <p:sp>
        <p:nvSpPr>
          <p:cNvPr id="10" name="Content Placeholder 9"/>
          <p:cNvSpPr>
            <a:spLocks noGrp="1"/>
          </p:cNvSpPr>
          <p:nvPr>
            <p:ph sz="quarter" idx="10"/>
          </p:nvPr>
        </p:nvSpPr>
        <p:spPr>
          <a:xfrm>
            <a:off x="269081" y="1318022"/>
            <a:ext cx="8606033" cy="2886075"/>
          </a:xfrm>
          <a:prstGeom prst="rect">
            <a:avLst/>
          </a:prstGeom>
        </p:spPr>
        <p:txBody>
          <a:bodyPr/>
          <a:lstStyle>
            <a:lvl1pPr>
              <a:defRPr>
                <a:solidFill>
                  <a:srgbClr val="131C4E"/>
                </a:solidFill>
              </a:defRPr>
            </a:lvl1pPr>
            <a:lvl2pPr>
              <a:defRPr>
                <a:solidFill>
                  <a:srgbClr val="131C4E"/>
                </a:solidFill>
              </a:defRPr>
            </a:lvl2pPr>
            <a:lvl3pPr>
              <a:defRPr>
                <a:solidFill>
                  <a:srgbClr val="131C4E"/>
                </a:solidFill>
              </a:defRPr>
            </a:lvl3pPr>
            <a:lvl4pPr>
              <a:defRPr>
                <a:solidFill>
                  <a:srgbClr val="131C4E"/>
                </a:solidFill>
              </a:defRPr>
            </a:lvl4pPr>
            <a:lvl5pPr>
              <a:defRPr>
                <a:solidFill>
                  <a:srgbClr val="131C4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BC0E02D4-230A-4EE9-9C36-AAD1D604230E}"/>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551468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96641" y="1310603"/>
            <a:ext cx="5140959" cy="3263504"/>
          </a:xfrm>
        </p:spPr>
        <p:txBody>
          <a:bodyPr/>
          <a:lstStyle>
            <a:lvl1pPr marL="171446" indent="-171446">
              <a:buClr>
                <a:srgbClr val="002060"/>
              </a:buClr>
              <a:buFont typeface="Wingdings" panose="05000000000000000000" pitchFamily="2" charset="2"/>
              <a:buChar char="§"/>
              <a:defRPr/>
            </a:lvl1pPr>
            <a:lvl2pPr marL="514337" indent="-171446">
              <a:buClr>
                <a:srgbClr val="002060"/>
              </a:buClr>
              <a:buFont typeface="Wingdings" panose="05000000000000000000" pitchFamily="2" charset="2"/>
              <a:buChar char="§"/>
              <a:defRPr sz="2100"/>
            </a:lvl2pPr>
            <a:lvl3pPr marL="857228" indent="-171446">
              <a:buClr>
                <a:srgbClr val="002060"/>
              </a:buClr>
              <a:buFont typeface="Wingdings" panose="05000000000000000000" pitchFamily="2" charset="2"/>
              <a:buChar char="§"/>
              <a:defRPr sz="1800"/>
            </a:lvl3pPr>
            <a:lvl4pPr marL="1200120" indent="-171446">
              <a:buClr>
                <a:srgbClr val="002060"/>
              </a:buClr>
              <a:buFont typeface="Wingdings" panose="05000000000000000000" pitchFamily="2" charset="2"/>
              <a:buChar char="§"/>
              <a:defRPr sz="1500"/>
            </a:lvl4pPr>
            <a:lvl5pPr marL="1543012" indent="-171446">
              <a:buClr>
                <a:srgbClr val="002060"/>
              </a:buClr>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75198" y="331180"/>
            <a:ext cx="6600773" cy="497489"/>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7" name="Slide Number Placeholder 5">
            <a:extLst>
              <a:ext uri="{FF2B5EF4-FFF2-40B4-BE49-F238E27FC236}">
                <a16:creationId xmlns:a16="http://schemas.microsoft.com/office/drawing/2014/main" id="{BC9ECE83-2C5D-4735-87DE-29D9A936A869}"/>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pic>
        <p:nvPicPr>
          <p:cNvPr id="6" name="Picture 5">
            <a:extLst>
              <a:ext uri="{FF2B5EF4-FFF2-40B4-BE49-F238E27FC236}">
                <a16:creationId xmlns:a16="http://schemas.microsoft.com/office/drawing/2014/main" id="{25F8275B-828C-4E91-BDC0-1B265CFBAE1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076959"/>
            <a:ext cx="3031236" cy="4114800"/>
          </a:xfrm>
          <a:prstGeom prst="rect">
            <a:avLst/>
          </a:prstGeom>
        </p:spPr>
      </p:pic>
    </p:spTree>
    <p:extLst>
      <p:ext uri="{BB962C8B-B14F-4D97-AF65-F5344CB8AC3E}">
        <p14:creationId xmlns:p14="http://schemas.microsoft.com/office/powerpoint/2010/main" val="33917218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96641" y="1310603"/>
            <a:ext cx="5140959" cy="3263504"/>
          </a:xfrm>
        </p:spPr>
        <p:txBody>
          <a:bodyPr/>
          <a:lstStyle>
            <a:lvl1pPr marL="171446" indent="-171446">
              <a:buClr>
                <a:srgbClr val="002060"/>
              </a:buClr>
              <a:buFont typeface="Wingdings" panose="05000000000000000000" pitchFamily="2" charset="2"/>
              <a:buChar char="§"/>
              <a:defRPr/>
            </a:lvl1pPr>
            <a:lvl2pPr marL="514337" indent="-171446">
              <a:buClr>
                <a:srgbClr val="002060"/>
              </a:buClr>
              <a:buFont typeface="Wingdings" panose="05000000000000000000" pitchFamily="2" charset="2"/>
              <a:buChar char="§"/>
              <a:defRPr sz="2100"/>
            </a:lvl2pPr>
            <a:lvl3pPr marL="857228" indent="-171446">
              <a:buClr>
                <a:srgbClr val="002060"/>
              </a:buClr>
              <a:buFont typeface="Wingdings" panose="05000000000000000000" pitchFamily="2" charset="2"/>
              <a:buChar char="§"/>
              <a:defRPr sz="1800"/>
            </a:lvl3pPr>
            <a:lvl4pPr marL="1200120" indent="-171446">
              <a:buClr>
                <a:srgbClr val="002060"/>
              </a:buClr>
              <a:buFont typeface="Wingdings" panose="05000000000000000000" pitchFamily="2" charset="2"/>
              <a:buChar char="§"/>
              <a:defRPr sz="1500"/>
            </a:lvl4pPr>
            <a:lvl5pPr marL="1543012" indent="-171446">
              <a:buClr>
                <a:srgbClr val="002060"/>
              </a:buClr>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75198" y="331180"/>
            <a:ext cx="6600773" cy="497489"/>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7" name="Slide Number Placeholder 5">
            <a:extLst>
              <a:ext uri="{FF2B5EF4-FFF2-40B4-BE49-F238E27FC236}">
                <a16:creationId xmlns:a16="http://schemas.microsoft.com/office/drawing/2014/main" id="{BC9ECE83-2C5D-4735-87DE-29D9A936A869}"/>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pic>
        <p:nvPicPr>
          <p:cNvPr id="11" name="Picture 10">
            <a:extLst>
              <a:ext uri="{FF2B5EF4-FFF2-40B4-BE49-F238E27FC236}">
                <a16:creationId xmlns:a16="http://schemas.microsoft.com/office/drawing/2014/main" id="{47111D2F-7291-4564-A0FD-75CF479CA51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250"/>
          <a:stretch/>
        </p:blipFill>
        <p:spPr>
          <a:xfrm>
            <a:off x="0" y="1089660"/>
            <a:ext cx="3086100" cy="4114800"/>
          </a:xfrm>
          <a:prstGeom prst="rect">
            <a:avLst/>
          </a:prstGeom>
        </p:spPr>
      </p:pic>
    </p:spTree>
    <p:extLst>
      <p:ext uri="{BB962C8B-B14F-4D97-AF65-F5344CB8AC3E}">
        <p14:creationId xmlns:p14="http://schemas.microsoft.com/office/powerpoint/2010/main" val="25715292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1B9F1-2DC1-43BA-8048-85F619D77F1B}"/>
              </a:ext>
            </a:extLst>
          </p:cNvPr>
          <p:cNvSpPr>
            <a:spLocks noGrp="1"/>
          </p:cNvSpPr>
          <p:nvPr>
            <p:ph type="title"/>
          </p:nvPr>
        </p:nvSpPr>
        <p:spPr>
          <a:xfrm>
            <a:off x="319572" y="54569"/>
            <a:ext cx="7320240" cy="912416"/>
          </a:xfrm>
          <a:prstGeom prst="rect">
            <a:avLst/>
          </a:prstGeom>
        </p:spPr>
        <p:txBody>
          <a:bodyPr/>
          <a:lstStyle>
            <a:lvl1pPr>
              <a:defRPr>
                <a:latin typeface="Century Gothic" panose="020B0502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19572" y="1352891"/>
            <a:ext cx="7886700" cy="3263504"/>
          </a:xfrm>
        </p:spPr>
        <p:txBody>
          <a:bodyPr/>
          <a:lstStyle>
            <a:lvl1pPr marL="171450" indent="-171450">
              <a:buClr>
                <a:srgbClr val="002060"/>
              </a:buClr>
              <a:buFont typeface="Wingdings" panose="05000000000000000000" pitchFamily="2" charset="2"/>
              <a:buChar char="§"/>
              <a:defRPr/>
            </a:lvl1pPr>
            <a:lvl2pPr marL="514350" indent="-171450">
              <a:buClr>
                <a:srgbClr val="002060"/>
              </a:buClr>
              <a:buFont typeface="Wingdings" panose="05000000000000000000" pitchFamily="2" charset="2"/>
              <a:buChar char="§"/>
              <a:defRPr sz="2100"/>
            </a:lvl2pPr>
            <a:lvl3pPr marL="857250" indent="-171450">
              <a:buClr>
                <a:srgbClr val="002060"/>
              </a:buClr>
              <a:buFont typeface="Wingdings" panose="05000000000000000000" pitchFamily="2" charset="2"/>
              <a:buChar char="§"/>
              <a:defRPr sz="1800"/>
            </a:lvl3pPr>
            <a:lvl4pPr marL="1200150" indent="-171450">
              <a:buClr>
                <a:srgbClr val="002060"/>
              </a:buClr>
              <a:buFont typeface="Wingdings" panose="05000000000000000000" pitchFamily="2" charset="2"/>
              <a:buChar char="§"/>
              <a:defRPr sz="1500"/>
            </a:lvl4pPr>
            <a:lvl5pPr marL="1543050" indent="-171450">
              <a:buClr>
                <a:srgbClr val="002060"/>
              </a:buClr>
              <a:buFont typeface="Wingdings" panose="05000000000000000000" pitchFamily="2" charset="2"/>
              <a:buChar cha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0786D175-1D27-455E-847B-7F4BE0D450BE}"/>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5533316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lternate Title Page_Custom">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49FDF2A-930F-4A32-99E5-B885EEF14DB8}"/>
              </a:ext>
            </a:extLst>
          </p:cNvPr>
          <p:cNvSpPr>
            <a:spLocks noGrp="1"/>
          </p:cNvSpPr>
          <p:nvPr>
            <p:ph type="sldNum" sz="quarter" idx="12"/>
          </p:nvPr>
        </p:nvSpPr>
        <p:spPr>
          <a:xfrm>
            <a:off x="6883400" y="4767264"/>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360893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D0AED-4438-421A-B241-4E84B9ACF1B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Rectangle 2">
            <a:extLst>
              <a:ext uri="{FF2B5EF4-FFF2-40B4-BE49-F238E27FC236}">
                <a16:creationId xmlns:a16="http://schemas.microsoft.com/office/drawing/2014/main" id="{13CBCFDA-190A-4E56-A4FE-85185F572009}"/>
              </a:ext>
            </a:extLst>
          </p:cNvPr>
          <p:cNvSpPr/>
          <p:nvPr userDrawn="1"/>
        </p:nvSpPr>
        <p:spPr>
          <a:xfrm>
            <a:off x="-125165" y="0"/>
            <a:ext cx="9198529" cy="5143500"/>
          </a:xfrm>
          <a:prstGeom prst="rect">
            <a:avLst/>
          </a:prstGeom>
          <a:solidFill>
            <a:srgbClr val="1827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4" name="Picture 3">
            <a:extLst>
              <a:ext uri="{FF2B5EF4-FFF2-40B4-BE49-F238E27FC236}">
                <a16:creationId xmlns:a16="http://schemas.microsoft.com/office/drawing/2014/main" id="{6845A5D8-B70A-AEA5-3158-C793FE8A68F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51964" y="4252644"/>
            <a:ext cx="1694045" cy="576923"/>
          </a:xfrm>
          <a:prstGeom prst="rect">
            <a:avLst/>
          </a:prstGeom>
        </p:spPr>
      </p:pic>
    </p:spTree>
    <p:custDataLst>
      <p:tags r:id="rId1"/>
    </p:custDataLst>
    <p:extLst>
      <p:ext uri="{BB962C8B-B14F-4D97-AF65-F5344CB8AC3E}">
        <p14:creationId xmlns:p14="http://schemas.microsoft.com/office/powerpoint/2010/main" val="2054382356"/>
      </p:ext>
    </p:extLst>
  </p:cSld>
  <p:clrMapOvr>
    <a:masterClrMapping/>
  </p:clrMapOvr>
  <p:transition>
    <p:fade/>
  </p:transition>
  <p:extLst>
    <p:ext uri="{DCECCB84-F9BA-43D5-87BE-67443E8EF086}">
      <p15:sldGuideLst xmlns:p15="http://schemas.microsoft.com/office/powerpoint/2012/main">
        <p15:guide id="1" pos="1323">
          <p15:clr>
            <a:srgbClr val="A4A3A4"/>
          </p15:clr>
        </p15:guide>
        <p15:guide id="2" pos="6357">
          <p15:clr>
            <a:srgbClr val="A4A3A4"/>
          </p15:clr>
        </p15:guide>
        <p15:guide id="3" pos="6267">
          <p15:clr>
            <a:srgbClr val="A4A3A4"/>
          </p15:clr>
        </p15:guide>
        <p15:guide id="4" pos="1413">
          <p15:clr>
            <a:srgbClr val="A4A3A4"/>
          </p15:clr>
        </p15:guide>
        <p15:guide id="5" pos="2547">
          <p15:clr>
            <a:srgbClr val="A4A3A4"/>
          </p15:clr>
        </p15:guide>
        <p15:guide id="6" pos="5133">
          <p15:clr>
            <a:srgbClr val="A4A3A4"/>
          </p15:clr>
        </p15:guide>
        <p15:guide id="7" pos="5042">
          <p15:clr>
            <a:srgbClr val="A4A3A4"/>
          </p15:clr>
        </p15:guide>
        <p15:guide id="8" pos="2638">
          <p15:clr>
            <a:srgbClr val="A4A3A4"/>
          </p15:clr>
        </p15:guide>
        <p15:guide id="9" pos="3795">
          <p15:clr>
            <a:srgbClr val="A4A3A4"/>
          </p15:clr>
        </p15:guide>
        <p15:guide id="10" pos="3885">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EC41C-E374-3850-CB05-BE1106B8877F}"/>
              </a:ext>
            </a:extLst>
          </p:cNvPr>
          <p:cNvSpPr txBox="1">
            <a:spLocks noGrp="1"/>
          </p:cNvSpPr>
          <p:nvPr>
            <p:ph type="ctrTitle"/>
          </p:nvPr>
        </p:nvSpPr>
        <p:spPr>
          <a:xfrm>
            <a:off x="1143002" y="841771"/>
            <a:ext cx="6858000" cy="1790699"/>
          </a:xfrm>
        </p:spPr>
        <p:txBody>
          <a:bodyPr anchor="b" anchorCtr="1"/>
          <a:lstStyle>
            <a:lvl1pPr algn="ctr">
              <a:defRPr sz="4500"/>
            </a:lvl1pPr>
          </a:lstStyle>
          <a:p>
            <a:pPr lvl="0"/>
            <a:r>
              <a:rPr lang="en-US"/>
              <a:t>Click to edit Master title style</a:t>
            </a:r>
          </a:p>
        </p:txBody>
      </p:sp>
      <p:sp>
        <p:nvSpPr>
          <p:cNvPr id="3" name="Subtitle 2">
            <a:extLst>
              <a:ext uri="{FF2B5EF4-FFF2-40B4-BE49-F238E27FC236}">
                <a16:creationId xmlns:a16="http://schemas.microsoft.com/office/drawing/2014/main" id="{21C86B30-0E30-27A3-092F-94A9AF65EA4E}"/>
              </a:ext>
            </a:extLst>
          </p:cNvPr>
          <p:cNvSpPr txBox="1">
            <a:spLocks noGrp="1"/>
          </p:cNvSpPr>
          <p:nvPr>
            <p:ph type="subTitle" idx="1"/>
          </p:nvPr>
        </p:nvSpPr>
        <p:spPr>
          <a:xfrm>
            <a:off x="1143002" y="2701530"/>
            <a:ext cx="6858000" cy="1241819"/>
          </a:xfrm>
        </p:spPr>
        <p:txBody>
          <a:bodyPr anchorCtr="1"/>
          <a:lstStyle>
            <a:lvl1pPr marL="0" indent="0" algn="ctr">
              <a:buNone/>
              <a:defRPr sz="1800"/>
            </a:lvl1pPr>
          </a:lstStyle>
          <a:p>
            <a:pPr lvl="0"/>
            <a:r>
              <a:rPr lang="en-US"/>
              <a:t>Click to edit Master subtitle style</a:t>
            </a:r>
          </a:p>
        </p:txBody>
      </p:sp>
      <p:sp>
        <p:nvSpPr>
          <p:cNvPr id="4" name="Date Placeholder 3">
            <a:extLst>
              <a:ext uri="{FF2B5EF4-FFF2-40B4-BE49-F238E27FC236}">
                <a16:creationId xmlns:a16="http://schemas.microsoft.com/office/drawing/2014/main" id="{DE41AB1C-D91D-FD5F-BFFA-DD2C9299A80B}"/>
              </a:ext>
            </a:extLst>
          </p:cNvPr>
          <p:cNvSpPr txBox="1">
            <a:spLocks noGrp="1"/>
          </p:cNvSpPr>
          <p:nvPr>
            <p:ph type="dt" sz="half" idx="7"/>
          </p:nvPr>
        </p:nvSpPr>
        <p:spPr/>
        <p:txBody>
          <a:bodyPr/>
          <a:lstStyle>
            <a:lvl1pPr>
              <a:defRPr/>
            </a:lvl1pPr>
          </a:lstStyle>
          <a:p>
            <a:pPr lvl="0"/>
            <a:fld id="{14CFFCAD-567F-495D-AAC8-DCCD405FB178}" type="datetime1">
              <a:rPr lang="en-AT"/>
              <a:pPr lvl="0"/>
              <a:t>07/13/2023</a:t>
            </a:fld>
            <a:endParaRPr lang="en-AT"/>
          </a:p>
        </p:txBody>
      </p:sp>
      <p:sp>
        <p:nvSpPr>
          <p:cNvPr id="5" name="Footer Placeholder 4">
            <a:extLst>
              <a:ext uri="{FF2B5EF4-FFF2-40B4-BE49-F238E27FC236}">
                <a16:creationId xmlns:a16="http://schemas.microsoft.com/office/drawing/2014/main" id="{379E25AD-02D1-F550-7DAD-8AFE7D6F571C}"/>
              </a:ext>
            </a:extLst>
          </p:cNvPr>
          <p:cNvSpPr txBox="1">
            <a:spLocks noGrp="1"/>
          </p:cNvSpPr>
          <p:nvPr>
            <p:ph type="ftr" sz="quarter" idx="9"/>
          </p:nvPr>
        </p:nvSpPr>
        <p:spPr/>
        <p:txBody>
          <a:bodyPr/>
          <a:lstStyle>
            <a:lvl1pPr>
              <a:defRPr/>
            </a:lvl1pPr>
          </a:lstStyle>
          <a:p>
            <a:pPr lvl="0"/>
            <a:endParaRPr lang="en-AT"/>
          </a:p>
        </p:txBody>
      </p:sp>
      <p:sp>
        <p:nvSpPr>
          <p:cNvPr id="6" name="Slide Number Placeholder 5">
            <a:extLst>
              <a:ext uri="{FF2B5EF4-FFF2-40B4-BE49-F238E27FC236}">
                <a16:creationId xmlns:a16="http://schemas.microsoft.com/office/drawing/2014/main" id="{CEC9BB4A-AD10-4C08-470B-51A904BBEF53}"/>
              </a:ext>
            </a:extLst>
          </p:cNvPr>
          <p:cNvSpPr txBox="1">
            <a:spLocks noGrp="1"/>
          </p:cNvSpPr>
          <p:nvPr>
            <p:ph type="sldNum" sz="quarter" idx="8"/>
          </p:nvPr>
        </p:nvSpPr>
        <p:spPr/>
        <p:txBody>
          <a:bodyPr/>
          <a:lstStyle>
            <a:lvl1pPr>
              <a:defRPr/>
            </a:lvl1pPr>
          </a:lstStyle>
          <a:p>
            <a:pPr lvl="0"/>
            <a:fld id="{6D271179-69C8-492B-B5F6-0DA615DC4335}" type="slidenum">
              <a:t>‹#›</a:t>
            </a:fld>
            <a:endParaRPr lang="en-AT"/>
          </a:p>
        </p:txBody>
      </p:sp>
    </p:spTree>
    <p:extLst>
      <p:ext uri="{BB962C8B-B14F-4D97-AF65-F5344CB8AC3E}">
        <p14:creationId xmlns:p14="http://schemas.microsoft.com/office/powerpoint/2010/main" val="41763902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8A2B9-A239-DD1D-EFBD-1BD53E1F63EA}"/>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ACA92E0D-D020-F7D3-899B-57E86C173256}"/>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4A353F-996B-7422-4B8C-80DFBDB01D45}"/>
              </a:ext>
            </a:extLst>
          </p:cNvPr>
          <p:cNvSpPr txBox="1">
            <a:spLocks noGrp="1"/>
          </p:cNvSpPr>
          <p:nvPr>
            <p:ph type="dt" sz="half" idx="7"/>
          </p:nvPr>
        </p:nvSpPr>
        <p:spPr/>
        <p:txBody>
          <a:bodyPr/>
          <a:lstStyle>
            <a:lvl1pPr>
              <a:defRPr/>
            </a:lvl1pPr>
          </a:lstStyle>
          <a:p>
            <a:pPr lvl="0"/>
            <a:fld id="{2FE57AE4-52B5-4B2D-9E12-273DEB31EF9F}" type="datetime1">
              <a:rPr lang="en-AT"/>
              <a:pPr lvl="0"/>
              <a:t>07/13/2023</a:t>
            </a:fld>
            <a:endParaRPr lang="en-AT"/>
          </a:p>
        </p:txBody>
      </p:sp>
      <p:sp>
        <p:nvSpPr>
          <p:cNvPr id="5" name="Footer Placeholder 4">
            <a:extLst>
              <a:ext uri="{FF2B5EF4-FFF2-40B4-BE49-F238E27FC236}">
                <a16:creationId xmlns:a16="http://schemas.microsoft.com/office/drawing/2014/main" id="{BC4EC67D-399D-D242-EA15-1B71EE2416F3}"/>
              </a:ext>
            </a:extLst>
          </p:cNvPr>
          <p:cNvSpPr txBox="1">
            <a:spLocks noGrp="1"/>
          </p:cNvSpPr>
          <p:nvPr>
            <p:ph type="ftr" sz="quarter" idx="9"/>
          </p:nvPr>
        </p:nvSpPr>
        <p:spPr/>
        <p:txBody>
          <a:bodyPr/>
          <a:lstStyle>
            <a:lvl1pPr>
              <a:defRPr/>
            </a:lvl1pPr>
          </a:lstStyle>
          <a:p>
            <a:pPr lvl="0"/>
            <a:endParaRPr lang="en-AT"/>
          </a:p>
        </p:txBody>
      </p:sp>
      <p:sp>
        <p:nvSpPr>
          <p:cNvPr id="6" name="Slide Number Placeholder 5">
            <a:extLst>
              <a:ext uri="{FF2B5EF4-FFF2-40B4-BE49-F238E27FC236}">
                <a16:creationId xmlns:a16="http://schemas.microsoft.com/office/drawing/2014/main" id="{732FF82B-0F6A-3BB2-B5BF-AA7D4FF76025}"/>
              </a:ext>
            </a:extLst>
          </p:cNvPr>
          <p:cNvSpPr txBox="1">
            <a:spLocks noGrp="1"/>
          </p:cNvSpPr>
          <p:nvPr>
            <p:ph type="sldNum" sz="quarter" idx="8"/>
          </p:nvPr>
        </p:nvSpPr>
        <p:spPr/>
        <p:txBody>
          <a:bodyPr/>
          <a:lstStyle>
            <a:lvl1pPr>
              <a:defRPr/>
            </a:lvl1pPr>
          </a:lstStyle>
          <a:p>
            <a:pPr lvl="0"/>
            <a:fld id="{80E7A7D3-8F70-4FE9-B2A7-CF8702B2B6E0}" type="slidenum">
              <a:t>‹#›</a:t>
            </a:fld>
            <a:endParaRPr lang="en-AT"/>
          </a:p>
        </p:txBody>
      </p:sp>
    </p:spTree>
    <p:extLst>
      <p:ext uri="{BB962C8B-B14F-4D97-AF65-F5344CB8AC3E}">
        <p14:creationId xmlns:p14="http://schemas.microsoft.com/office/powerpoint/2010/main" val="38755943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AEF87-2F3D-6930-C4A3-0E9AC2622221}"/>
              </a:ext>
            </a:extLst>
          </p:cNvPr>
          <p:cNvSpPr txBox="1">
            <a:spLocks noGrp="1"/>
          </p:cNvSpPr>
          <p:nvPr>
            <p:ph type="title"/>
          </p:nvPr>
        </p:nvSpPr>
        <p:spPr>
          <a:xfrm>
            <a:off x="623885" y="1282302"/>
            <a:ext cx="7886700" cy="2139551"/>
          </a:xfrm>
        </p:spPr>
        <p:txBody>
          <a:bodyPr anchor="b"/>
          <a:lstStyle>
            <a:lvl1pPr>
              <a:defRPr sz="4500"/>
            </a:lvl1pPr>
          </a:lstStyle>
          <a:p>
            <a:pPr lvl="0"/>
            <a:r>
              <a:rPr lang="en-US"/>
              <a:t>Click to edit Master title style</a:t>
            </a:r>
          </a:p>
        </p:txBody>
      </p:sp>
      <p:sp>
        <p:nvSpPr>
          <p:cNvPr id="3" name="Text Placeholder 2">
            <a:extLst>
              <a:ext uri="{FF2B5EF4-FFF2-40B4-BE49-F238E27FC236}">
                <a16:creationId xmlns:a16="http://schemas.microsoft.com/office/drawing/2014/main" id="{B3020173-54E2-7913-0CBF-AC401FBADB13}"/>
              </a:ext>
            </a:extLst>
          </p:cNvPr>
          <p:cNvSpPr txBox="1">
            <a:spLocks noGrp="1"/>
          </p:cNvSpPr>
          <p:nvPr>
            <p:ph type="body" idx="1"/>
          </p:nvPr>
        </p:nvSpPr>
        <p:spPr>
          <a:xfrm>
            <a:off x="623885" y="3442099"/>
            <a:ext cx="7886700" cy="1125137"/>
          </a:xfrm>
        </p:spPr>
        <p:txBody>
          <a:bodyPr/>
          <a:lstStyle>
            <a:lvl1pPr marL="0" indent="0">
              <a:buNone/>
              <a:defRPr sz="1800">
                <a:solidFill>
                  <a:srgbClr val="898989"/>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FBA021A8-0D0B-90FC-016E-F9D3C3CED619}"/>
              </a:ext>
            </a:extLst>
          </p:cNvPr>
          <p:cNvSpPr txBox="1">
            <a:spLocks noGrp="1"/>
          </p:cNvSpPr>
          <p:nvPr>
            <p:ph type="dt" sz="half" idx="7"/>
          </p:nvPr>
        </p:nvSpPr>
        <p:spPr/>
        <p:txBody>
          <a:bodyPr/>
          <a:lstStyle>
            <a:lvl1pPr>
              <a:defRPr/>
            </a:lvl1pPr>
          </a:lstStyle>
          <a:p>
            <a:pPr lvl="0"/>
            <a:fld id="{683F07C3-E69B-4EB3-B7E1-5E3BEF7B09EA}" type="datetime1">
              <a:rPr lang="en-AT"/>
              <a:pPr lvl="0"/>
              <a:t>07/13/2023</a:t>
            </a:fld>
            <a:endParaRPr lang="en-AT"/>
          </a:p>
        </p:txBody>
      </p:sp>
      <p:sp>
        <p:nvSpPr>
          <p:cNvPr id="5" name="Footer Placeholder 4">
            <a:extLst>
              <a:ext uri="{FF2B5EF4-FFF2-40B4-BE49-F238E27FC236}">
                <a16:creationId xmlns:a16="http://schemas.microsoft.com/office/drawing/2014/main" id="{36156A15-46A9-0800-1504-9A772DDFA328}"/>
              </a:ext>
            </a:extLst>
          </p:cNvPr>
          <p:cNvSpPr txBox="1">
            <a:spLocks noGrp="1"/>
          </p:cNvSpPr>
          <p:nvPr>
            <p:ph type="ftr" sz="quarter" idx="9"/>
          </p:nvPr>
        </p:nvSpPr>
        <p:spPr/>
        <p:txBody>
          <a:bodyPr/>
          <a:lstStyle>
            <a:lvl1pPr>
              <a:defRPr/>
            </a:lvl1pPr>
          </a:lstStyle>
          <a:p>
            <a:pPr lvl="0"/>
            <a:endParaRPr lang="en-AT"/>
          </a:p>
        </p:txBody>
      </p:sp>
      <p:sp>
        <p:nvSpPr>
          <p:cNvPr id="6" name="Slide Number Placeholder 5">
            <a:extLst>
              <a:ext uri="{FF2B5EF4-FFF2-40B4-BE49-F238E27FC236}">
                <a16:creationId xmlns:a16="http://schemas.microsoft.com/office/drawing/2014/main" id="{75FF4B22-FA73-DD7F-990E-C8C3A7DDCCF8}"/>
              </a:ext>
            </a:extLst>
          </p:cNvPr>
          <p:cNvSpPr txBox="1">
            <a:spLocks noGrp="1"/>
          </p:cNvSpPr>
          <p:nvPr>
            <p:ph type="sldNum" sz="quarter" idx="8"/>
          </p:nvPr>
        </p:nvSpPr>
        <p:spPr/>
        <p:txBody>
          <a:bodyPr/>
          <a:lstStyle>
            <a:lvl1pPr>
              <a:defRPr/>
            </a:lvl1pPr>
          </a:lstStyle>
          <a:p>
            <a:pPr lvl="0"/>
            <a:fld id="{4BD9D44A-1CF5-4CCD-B7BF-5E19A68FEAA3}" type="slidenum">
              <a:t>‹#›</a:t>
            </a:fld>
            <a:endParaRPr lang="en-AT"/>
          </a:p>
        </p:txBody>
      </p:sp>
    </p:spTree>
    <p:extLst>
      <p:ext uri="{BB962C8B-B14F-4D97-AF65-F5344CB8AC3E}">
        <p14:creationId xmlns:p14="http://schemas.microsoft.com/office/powerpoint/2010/main" val="9897163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A6D8B-5514-CAFE-0218-62DE8D9652F2}"/>
              </a:ext>
            </a:extLst>
          </p:cNvPr>
          <p:cNvSpPr txBox="1">
            <a:spLocks noGrp="1"/>
          </p:cNvSpPr>
          <p:nvPr>
            <p:ph type="title"/>
          </p:nvPr>
        </p:nvSpPr>
        <p:spPr/>
        <p:txBody>
          <a:bodyPr/>
          <a:lstStyle>
            <a:lvl1pPr>
              <a:defRPr/>
            </a:lvl1pPr>
          </a:lstStyle>
          <a:p>
            <a:pPr lvl="0"/>
            <a:r>
              <a:rPr lang="en-US"/>
              <a:t>Click to edit Master title style</a:t>
            </a:r>
          </a:p>
        </p:txBody>
      </p:sp>
      <p:sp>
        <p:nvSpPr>
          <p:cNvPr id="3" name="Content Placeholder 2">
            <a:extLst>
              <a:ext uri="{FF2B5EF4-FFF2-40B4-BE49-F238E27FC236}">
                <a16:creationId xmlns:a16="http://schemas.microsoft.com/office/drawing/2014/main" id="{03352558-A3BD-C0FD-9ADE-A7D32342D029}"/>
              </a:ext>
            </a:extLst>
          </p:cNvPr>
          <p:cNvSpPr txBox="1">
            <a:spLocks noGrp="1"/>
          </p:cNvSpPr>
          <p:nvPr>
            <p:ph idx="1"/>
          </p:nvPr>
        </p:nvSpPr>
        <p:spPr>
          <a:xfrm>
            <a:off x="628653" y="1369220"/>
            <a:ext cx="3886202" cy="3263502"/>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09CDECC-DF77-5EEF-B156-AB799ADA52B5}"/>
              </a:ext>
            </a:extLst>
          </p:cNvPr>
          <p:cNvSpPr txBox="1">
            <a:spLocks noGrp="1"/>
          </p:cNvSpPr>
          <p:nvPr>
            <p:ph idx="2"/>
          </p:nvPr>
        </p:nvSpPr>
        <p:spPr>
          <a:xfrm>
            <a:off x="4629151" y="1369220"/>
            <a:ext cx="3886202" cy="3263502"/>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E499B9-2FE8-8803-37D0-D8EA3E4826D6}"/>
              </a:ext>
            </a:extLst>
          </p:cNvPr>
          <p:cNvSpPr txBox="1">
            <a:spLocks noGrp="1"/>
          </p:cNvSpPr>
          <p:nvPr>
            <p:ph type="dt" sz="half" idx="7"/>
          </p:nvPr>
        </p:nvSpPr>
        <p:spPr/>
        <p:txBody>
          <a:bodyPr/>
          <a:lstStyle>
            <a:lvl1pPr>
              <a:defRPr/>
            </a:lvl1pPr>
          </a:lstStyle>
          <a:p>
            <a:pPr lvl="0"/>
            <a:fld id="{775EF3C2-7F71-46DC-8A46-DA23C0FD3BE1}" type="datetime1">
              <a:rPr lang="en-AT"/>
              <a:pPr lvl="0"/>
              <a:t>07/13/2023</a:t>
            </a:fld>
            <a:endParaRPr lang="en-AT"/>
          </a:p>
        </p:txBody>
      </p:sp>
      <p:sp>
        <p:nvSpPr>
          <p:cNvPr id="6" name="Footer Placeholder 5">
            <a:extLst>
              <a:ext uri="{FF2B5EF4-FFF2-40B4-BE49-F238E27FC236}">
                <a16:creationId xmlns:a16="http://schemas.microsoft.com/office/drawing/2014/main" id="{0C47580F-0678-9DD5-E55D-D009DC36970B}"/>
              </a:ext>
            </a:extLst>
          </p:cNvPr>
          <p:cNvSpPr txBox="1">
            <a:spLocks noGrp="1"/>
          </p:cNvSpPr>
          <p:nvPr>
            <p:ph type="ftr" sz="quarter" idx="9"/>
          </p:nvPr>
        </p:nvSpPr>
        <p:spPr/>
        <p:txBody>
          <a:bodyPr/>
          <a:lstStyle>
            <a:lvl1pPr>
              <a:defRPr/>
            </a:lvl1pPr>
          </a:lstStyle>
          <a:p>
            <a:pPr lvl="0"/>
            <a:endParaRPr lang="en-AT"/>
          </a:p>
        </p:txBody>
      </p:sp>
      <p:sp>
        <p:nvSpPr>
          <p:cNvPr id="7" name="Slide Number Placeholder 6">
            <a:extLst>
              <a:ext uri="{FF2B5EF4-FFF2-40B4-BE49-F238E27FC236}">
                <a16:creationId xmlns:a16="http://schemas.microsoft.com/office/drawing/2014/main" id="{465FA2A4-1AD2-C1FD-4FDD-92C4B82C276D}"/>
              </a:ext>
            </a:extLst>
          </p:cNvPr>
          <p:cNvSpPr txBox="1">
            <a:spLocks noGrp="1"/>
          </p:cNvSpPr>
          <p:nvPr>
            <p:ph type="sldNum" sz="quarter" idx="8"/>
          </p:nvPr>
        </p:nvSpPr>
        <p:spPr/>
        <p:txBody>
          <a:bodyPr/>
          <a:lstStyle>
            <a:lvl1pPr>
              <a:defRPr/>
            </a:lvl1pPr>
          </a:lstStyle>
          <a:p>
            <a:pPr lvl="0"/>
            <a:fld id="{1A42244C-51BE-4ACB-9639-07468A66D106}" type="slidenum">
              <a:t>‹#›</a:t>
            </a:fld>
            <a:endParaRPr lang="en-AT"/>
          </a:p>
        </p:txBody>
      </p:sp>
    </p:spTree>
    <p:extLst>
      <p:ext uri="{BB962C8B-B14F-4D97-AF65-F5344CB8AC3E}">
        <p14:creationId xmlns:p14="http://schemas.microsoft.com/office/powerpoint/2010/main" val="3020652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A2A41-7E92-4893-E3B6-6B7F60BC16E2}"/>
              </a:ext>
            </a:extLst>
          </p:cNvPr>
          <p:cNvSpPr txBox="1">
            <a:spLocks noGrp="1"/>
          </p:cNvSpPr>
          <p:nvPr>
            <p:ph type="title"/>
          </p:nvPr>
        </p:nvSpPr>
        <p:spPr>
          <a:xfrm>
            <a:off x="629838" y="273847"/>
            <a:ext cx="7886700" cy="994169"/>
          </a:xfrm>
        </p:spPr>
        <p:txBody>
          <a:bodyPr/>
          <a:lstStyle>
            <a:lvl1pPr>
              <a:defRPr/>
            </a:lvl1pPr>
          </a:lstStyle>
          <a:p>
            <a:pPr lvl="0"/>
            <a:r>
              <a:rPr lang="en-US"/>
              <a:t>Click to edit Master title style</a:t>
            </a:r>
          </a:p>
        </p:txBody>
      </p:sp>
      <p:sp>
        <p:nvSpPr>
          <p:cNvPr id="3" name="Text Placeholder 2">
            <a:extLst>
              <a:ext uri="{FF2B5EF4-FFF2-40B4-BE49-F238E27FC236}">
                <a16:creationId xmlns:a16="http://schemas.microsoft.com/office/drawing/2014/main" id="{1E5F57B5-B3F4-CC94-837F-5B11D8D00822}"/>
              </a:ext>
            </a:extLst>
          </p:cNvPr>
          <p:cNvSpPr txBox="1">
            <a:spLocks noGrp="1"/>
          </p:cNvSpPr>
          <p:nvPr>
            <p:ph type="body" idx="1"/>
          </p:nvPr>
        </p:nvSpPr>
        <p:spPr>
          <a:xfrm>
            <a:off x="629838" y="1260870"/>
            <a:ext cx="3868337" cy="617933"/>
          </a:xfrm>
        </p:spPr>
        <p:txBody>
          <a:bodyPr anchor="b"/>
          <a:lstStyle>
            <a:lvl1pPr marL="0" indent="0">
              <a:buNone/>
              <a:defRPr sz="1800" b="1"/>
            </a:lvl1pPr>
          </a:lstStyle>
          <a:p>
            <a:pPr lvl="0"/>
            <a:r>
              <a:rPr lang="en-US"/>
              <a:t>Click to edit Master text styles</a:t>
            </a:r>
          </a:p>
        </p:txBody>
      </p:sp>
      <p:sp>
        <p:nvSpPr>
          <p:cNvPr id="4" name="Content Placeholder 3">
            <a:extLst>
              <a:ext uri="{FF2B5EF4-FFF2-40B4-BE49-F238E27FC236}">
                <a16:creationId xmlns:a16="http://schemas.microsoft.com/office/drawing/2014/main" id="{E3556E8E-4544-F847-91FA-02F6A417A845}"/>
              </a:ext>
            </a:extLst>
          </p:cNvPr>
          <p:cNvSpPr txBox="1">
            <a:spLocks noGrp="1"/>
          </p:cNvSpPr>
          <p:nvPr>
            <p:ph idx="2"/>
          </p:nvPr>
        </p:nvSpPr>
        <p:spPr>
          <a:xfrm>
            <a:off x="629838" y="1878804"/>
            <a:ext cx="3868337" cy="2763437"/>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DB7600-283D-C90B-BBBB-7FCCA764F19B}"/>
              </a:ext>
            </a:extLst>
          </p:cNvPr>
          <p:cNvSpPr txBox="1">
            <a:spLocks noGrp="1"/>
          </p:cNvSpPr>
          <p:nvPr>
            <p:ph type="body" idx="3"/>
          </p:nvPr>
        </p:nvSpPr>
        <p:spPr>
          <a:xfrm>
            <a:off x="4629150" y="1260870"/>
            <a:ext cx="3887388" cy="617933"/>
          </a:xfrm>
        </p:spPr>
        <p:txBody>
          <a:bodyPr anchor="b"/>
          <a:lstStyle>
            <a:lvl1pPr marL="0" indent="0">
              <a:buNone/>
              <a:defRPr sz="1800" b="1"/>
            </a:lvl1pPr>
          </a:lstStyle>
          <a:p>
            <a:pPr lvl="0"/>
            <a:r>
              <a:rPr lang="en-US"/>
              <a:t>Click to edit Master text styles</a:t>
            </a:r>
          </a:p>
        </p:txBody>
      </p:sp>
      <p:sp>
        <p:nvSpPr>
          <p:cNvPr id="6" name="Content Placeholder 5">
            <a:extLst>
              <a:ext uri="{FF2B5EF4-FFF2-40B4-BE49-F238E27FC236}">
                <a16:creationId xmlns:a16="http://schemas.microsoft.com/office/drawing/2014/main" id="{473CAAB5-E014-F741-F784-A3FD73682C11}"/>
              </a:ext>
            </a:extLst>
          </p:cNvPr>
          <p:cNvSpPr txBox="1">
            <a:spLocks noGrp="1"/>
          </p:cNvSpPr>
          <p:nvPr>
            <p:ph idx="4"/>
          </p:nvPr>
        </p:nvSpPr>
        <p:spPr>
          <a:xfrm>
            <a:off x="4629150" y="1878804"/>
            <a:ext cx="3887388" cy="2763437"/>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EDB7C12-E08C-0EA8-1DDB-C86D3FF138E3}"/>
              </a:ext>
            </a:extLst>
          </p:cNvPr>
          <p:cNvSpPr txBox="1">
            <a:spLocks noGrp="1"/>
          </p:cNvSpPr>
          <p:nvPr>
            <p:ph type="dt" sz="half" idx="7"/>
          </p:nvPr>
        </p:nvSpPr>
        <p:spPr/>
        <p:txBody>
          <a:bodyPr/>
          <a:lstStyle>
            <a:lvl1pPr>
              <a:defRPr/>
            </a:lvl1pPr>
          </a:lstStyle>
          <a:p>
            <a:pPr lvl="0"/>
            <a:fld id="{96AB487D-6481-42D1-86C4-7BBE0395B5F6}" type="datetime1">
              <a:rPr lang="en-AT"/>
              <a:pPr lvl="0"/>
              <a:t>07/13/2023</a:t>
            </a:fld>
            <a:endParaRPr lang="en-AT"/>
          </a:p>
        </p:txBody>
      </p:sp>
      <p:sp>
        <p:nvSpPr>
          <p:cNvPr id="8" name="Footer Placeholder 7">
            <a:extLst>
              <a:ext uri="{FF2B5EF4-FFF2-40B4-BE49-F238E27FC236}">
                <a16:creationId xmlns:a16="http://schemas.microsoft.com/office/drawing/2014/main" id="{0CF60E58-3EC3-2E62-C912-5E2725F05182}"/>
              </a:ext>
            </a:extLst>
          </p:cNvPr>
          <p:cNvSpPr txBox="1">
            <a:spLocks noGrp="1"/>
          </p:cNvSpPr>
          <p:nvPr>
            <p:ph type="ftr" sz="quarter" idx="9"/>
          </p:nvPr>
        </p:nvSpPr>
        <p:spPr/>
        <p:txBody>
          <a:bodyPr/>
          <a:lstStyle>
            <a:lvl1pPr>
              <a:defRPr/>
            </a:lvl1pPr>
          </a:lstStyle>
          <a:p>
            <a:pPr lvl="0"/>
            <a:endParaRPr lang="en-AT"/>
          </a:p>
        </p:txBody>
      </p:sp>
      <p:sp>
        <p:nvSpPr>
          <p:cNvPr id="9" name="Slide Number Placeholder 8">
            <a:extLst>
              <a:ext uri="{FF2B5EF4-FFF2-40B4-BE49-F238E27FC236}">
                <a16:creationId xmlns:a16="http://schemas.microsoft.com/office/drawing/2014/main" id="{A8B9405C-3E3D-3F09-DAAE-C24E63A545DB}"/>
              </a:ext>
            </a:extLst>
          </p:cNvPr>
          <p:cNvSpPr txBox="1">
            <a:spLocks noGrp="1"/>
          </p:cNvSpPr>
          <p:nvPr>
            <p:ph type="sldNum" sz="quarter" idx="8"/>
          </p:nvPr>
        </p:nvSpPr>
        <p:spPr/>
        <p:txBody>
          <a:bodyPr/>
          <a:lstStyle>
            <a:lvl1pPr>
              <a:defRPr/>
            </a:lvl1pPr>
          </a:lstStyle>
          <a:p>
            <a:pPr lvl="0"/>
            <a:fld id="{9F387B41-F699-410D-AC4B-21A5A4049062}" type="slidenum">
              <a:t>‹#›</a:t>
            </a:fld>
            <a:endParaRPr lang="en-AT"/>
          </a:p>
        </p:txBody>
      </p:sp>
    </p:spTree>
    <p:extLst>
      <p:ext uri="{BB962C8B-B14F-4D97-AF65-F5344CB8AC3E}">
        <p14:creationId xmlns:p14="http://schemas.microsoft.com/office/powerpoint/2010/main" val="16796577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06A8F-21F2-420D-256D-31ED95404638}"/>
              </a:ext>
            </a:extLst>
          </p:cNvPr>
          <p:cNvSpPr txBox="1">
            <a:spLocks noGrp="1"/>
          </p:cNvSpPr>
          <p:nvPr>
            <p:ph type="title"/>
          </p:nvPr>
        </p:nvSpPr>
        <p:spPr/>
        <p:txBody>
          <a:bodyPr/>
          <a:lstStyle>
            <a:lvl1pPr>
              <a:defRPr/>
            </a:lvl1pPr>
          </a:lstStyle>
          <a:p>
            <a:pPr lvl="0"/>
            <a:r>
              <a:rPr lang="en-US"/>
              <a:t>Click to edit Master title style</a:t>
            </a:r>
          </a:p>
        </p:txBody>
      </p:sp>
      <p:sp>
        <p:nvSpPr>
          <p:cNvPr id="3" name="Date Placeholder 2">
            <a:extLst>
              <a:ext uri="{FF2B5EF4-FFF2-40B4-BE49-F238E27FC236}">
                <a16:creationId xmlns:a16="http://schemas.microsoft.com/office/drawing/2014/main" id="{BA6AE228-A308-C63E-7DA7-89F4D9048421}"/>
              </a:ext>
            </a:extLst>
          </p:cNvPr>
          <p:cNvSpPr txBox="1">
            <a:spLocks noGrp="1"/>
          </p:cNvSpPr>
          <p:nvPr>
            <p:ph type="dt" sz="half" idx="7"/>
          </p:nvPr>
        </p:nvSpPr>
        <p:spPr/>
        <p:txBody>
          <a:bodyPr/>
          <a:lstStyle>
            <a:lvl1pPr>
              <a:defRPr/>
            </a:lvl1pPr>
          </a:lstStyle>
          <a:p>
            <a:pPr lvl="0"/>
            <a:fld id="{2679B786-B51C-4CD0-A882-AD1A984BB428}" type="datetime1">
              <a:rPr lang="en-AT"/>
              <a:pPr lvl="0"/>
              <a:t>07/13/2023</a:t>
            </a:fld>
            <a:endParaRPr lang="en-AT"/>
          </a:p>
        </p:txBody>
      </p:sp>
      <p:sp>
        <p:nvSpPr>
          <p:cNvPr id="4" name="Footer Placeholder 3">
            <a:extLst>
              <a:ext uri="{FF2B5EF4-FFF2-40B4-BE49-F238E27FC236}">
                <a16:creationId xmlns:a16="http://schemas.microsoft.com/office/drawing/2014/main" id="{FEBDA2A2-2249-DDDD-B42A-372BEF88BF68}"/>
              </a:ext>
            </a:extLst>
          </p:cNvPr>
          <p:cNvSpPr txBox="1">
            <a:spLocks noGrp="1"/>
          </p:cNvSpPr>
          <p:nvPr>
            <p:ph type="ftr" sz="quarter" idx="9"/>
          </p:nvPr>
        </p:nvSpPr>
        <p:spPr/>
        <p:txBody>
          <a:bodyPr/>
          <a:lstStyle>
            <a:lvl1pPr>
              <a:defRPr/>
            </a:lvl1pPr>
          </a:lstStyle>
          <a:p>
            <a:pPr lvl="0"/>
            <a:endParaRPr lang="en-AT"/>
          </a:p>
        </p:txBody>
      </p:sp>
      <p:sp>
        <p:nvSpPr>
          <p:cNvPr id="5" name="Slide Number Placeholder 4">
            <a:extLst>
              <a:ext uri="{FF2B5EF4-FFF2-40B4-BE49-F238E27FC236}">
                <a16:creationId xmlns:a16="http://schemas.microsoft.com/office/drawing/2014/main" id="{0FE6D631-65AF-A53A-29AD-0FFE3E127A72}"/>
              </a:ext>
            </a:extLst>
          </p:cNvPr>
          <p:cNvSpPr txBox="1">
            <a:spLocks noGrp="1"/>
          </p:cNvSpPr>
          <p:nvPr>
            <p:ph type="sldNum" sz="quarter" idx="8"/>
          </p:nvPr>
        </p:nvSpPr>
        <p:spPr/>
        <p:txBody>
          <a:bodyPr/>
          <a:lstStyle>
            <a:lvl1pPr>
              <a:defRPr/>
            </a:lvl1pPr>
          </a:lstStyle>
          <a:p>
            <a:pPr lvl="0"/>
            <a:fld id="{9744B1AE-738F-4AA9-AFD7-0ADCE64E131F}" type="slidenum">
              <a:t>‹#›</a:t>
            </a:fld>
            <a:endParaRPr lang="en-AT"/>
          </a:p>
        </p:txBody>
      </p:sp>
    </p:spTree>
    <p:extLst>
      <p:ext uri="{BB962C8B-B14F-4D97-AF65-F5344CB8AC3E}">
        <p14:creationId xmlns:p14="http://schemas.microsoft.com/office/powerpoint/2010/main" val="41436978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Date Placeholder 3">
            <a:extLst>
              <a:ext uri="{FF2B5EF4-FFF2-40B4-BE49-F238E27FC236}">
                <a16:creationId xmlns:a16="http://schemas.microsoft.com/office/drawing/2014/main" id="{4BDF68A2-1F24-C4A3-4C79-EED0157C0536}"/>
              </a:ext>
            </a:extLst>
          </p:cNvPr>
          <p:cNvSpPr txBox="1">
            <a:spLocks noGrp="1"/>
          </p:cNvSpPr>
          <p:nvPr>
            <p:ph type="dt" sz="half" idx="2"/>
          </p:nvPr>
        </p:nvSpPr>
        <p:spPr>
          <a:xfrm>
            <a:off x="1" y="5041110"/>
            <a:ext cx="506027" cy="102390"/>
          </a:xfrm>
          <a:prstGeom prst="rect">
            <a:avLst/>
          </a:prstGeom>
          <a:noFill/>
          <a:ln>
            <a:noFill/>
          </a:ln>
        </p:spPr>
        <p:txBody>
          <a:bodyPr vert="horz" wrap="square" lIns="91440" tIns="45720" rIns="91440" bIns="45720" anchor="ctr" anchorCtr="0" compatLnSpc="1">
            <a:noAutofit/>
          </a:bodyPr>
          <a:lstStyle>
            <a:lvl1pPr marL="0" marR="0" lvl="0" indent="0" algn="l" defTabSz="342900" rtl="0" fontAlgn="auto" hangingPunct="1">
              <a:lnSpc>
                <a:spcPct val="100000"/>
              </a:lnSpc>
              <a:spcBef>
                <a:spcPts val="0"/>
              </a:spcBef>
              <a:spcAft>
                <a:spcPts val="0"/>
              </a:spcAft>
              <a:buNone/>
              <a:tabLst/>
              <a:defRPr lang="en-AT" sz="600" b="0" i="0" u="none" strike="noStrike" kern="1200" cap="none" spc="0" baseline="0">
                <a:solidFill>
                  <a:srgbClr val="898989"/>
                </a:solidFill>
                <a:uFillTx/>
                <a:latin typeface="Calibri"/>
              </a:defRPr>
            </a:lvl1pPr>
          </a:lstStyle>
          <a:p>
            <a:fld id="{408368A2-68AD-4AB2-B658-201D5944BFBD}" type="datetime1">
              <a:rPr lang="en-AT" smtClean="0"/>
              <a:pPr/>
              <a:t>07/13/2023</a:t>
            </a:fld>
            <a:endParaRPr lang="en-AT"/>
          </a:p>
        </p:txBody>
      </p:sp>
      <p:sp>
        <p:nvSpPr>
          <p:cNvPr id="7" name="Footer Placeholder 4">
            <a:extLst>
              <a:ext uri="{FF2B5EF4-FFF2-40B4-BE49-F238E27FC236}">
                <a16:creationId xmlns:a16="http://schemas.microsoft.com/office/drawing/2014/main" id="{F2D5F513-4F8D-A065-85BB-C7CF4D915450}"/>
              </a:ext>
            </a:extLst>
          </p:cNvPr>
          <p:cNvSpPr txBox="1">
            <a:spLocks noGrp="1"/>
          </p:cNvSpPr>
          <p:nvPr>
            <p:ph type="ftr" sz="quarter" idx="3"/>
          </p:nvPr>
        </p:nvSpPr>
        <p:spPr>
          <a:xfrm>
            <a:off x="506028" y="5041110"/>
            <a:ext cx="1058662" cy="102390"/>
          </a:xfrm>
          <a:prstGeom prst="rect">
            <a:avLst/>
          </a:prstGeom>
          <a:noFill/>
          <a:ln>
            <a:noFill/>
          </a:ln>
        </p:spPr>
        <p:txBody>
          <a:bodyPr vert="horz" wrap="square" lIns="91440" tIns="45720" rIns="91440" bIns="45720" anchor="ctr" anchorCtr="1" compatLnSpc="1">
            <a:noAutofit/>
          </a:bodyPr>
          <a:lstStyle>
            <a:lvl1pPr marL="0" marR="0" lvl="0" indent="0" algn="ctr" defTabSz="342900" rtl="0" fontAlgn="auto" hangingPunct="1">
              <a:lnSpc>
                <a:spcPct val="100000"/>
              </a:lnSpc>
              <a:spcBef>
                <a:spcPts val="0"/>
              </a:spcBef>
              <a:spcAft>
                <a:spcPts val="0"/>
              </a:spcAft>
              <a:buNone/>
              <a:tabLst/>
              <a:defRPr lang="en-AT" sz="600" b="0" i="0" u="none" strike="noStrike" kern="1200" cap="none" spc="0" baseline="0">
                <a:solidFill>
                  <a:srgbClr val="898989"/>
                </a:solidFill>
                <a:uFillTx/>
                <a:latin typeface="Calibri"/>
              </a:defRPr>
            </a:lvl1pPr>
          </a:lstStyle>
          <a:p>
            <a:r>
              <a:rPr lang="en-GB" dirty="0"/>
              <a:t>Conceptual Framework SG </a:t>
            </a:r>
          </a:p>
        </p:txBody>
      </p:sp>
      <p:sp>
        <p:nvSpPr>
          <p:cNvPr id="8" name="Slide Number Placeholder 5">
            <a:extLst>
              <a:ext uri="{FF2B5EF4-FFF2-40B4-BE49-F238E27FC236}">
                <a16:creationId xmlns:a16="http://schemas.microsoft.com/office/drawing/2014/main" id="{6B5C24E1-A150-8AE1-1522-E723414724FB}"/>
              </a:ext>
            </a:extLst>
          </p:cNvPr>
          <p:cNvSpPr txBox="1">
            <a:spLocks noGrp="1"/>
          </p:cNvSpPr>
          <p:nvPr>
            <p:ph type="sldNum" sz="quarter" idx="4"/>
          </p:nvPr>
        </p:nvSpPr>
        <p:spPr>
          <a:xfrm>
            <a:off x="8722311" y="5041110"/>
            <a:ext cx="421689" cy="102390"/>
          </a:xfrm>
          <a:prstGeom prst="rect">
            <a:avLst/>
          </a:prstGeom>
          <a:noFill/>
          <a:ln>
            <a:noFill/>
          </a:ln>
        </p:spPr>
        <p:txBody>
          <a:bodyPr vert="horz" wrap="square" lIns="91440" tIns="45720" rIns="91440" bIns="45720" anchor="ctr" anchorCtr="0" compatLnSpc="1">
            <a:noAutofit/>
          </a:bodyPr>
          <a:lstStyle>
            <a:lvl1pPr marL="0" marR="0" lvl="0" indent="0" algn="r" defTabSz="342900" rtl="0" fontAlgn="auto" hangingPunct="1">
              <a:lnSpc>
                <a:spcPct val="100000"/>
              </a:lnSpc>
              <a:spcBef>
                <a:spcPts val="0"/>
              </a:spcBef>
              <a:spcAft>
                <a:spcPts val="0"/>
              </a:spcAft>
              <a:buNone/>
              <a:tabLst/>
              <a:defRPr lang="en-AT" sz="600" b="0" i="0" u="none" strike="noStrike" kern="1200" cap="none" spc="0" baseline="0">
                <a:solidFill>
                  <a:srgbClr val="898989"/>
                </a:solidFill>
                <a:uFillTx/>
                <a:latin typeface="Calibri"/>
              </a:defRPr>
            </a:lvl1pPr>
          </a:lstStyle>
          <a:p>
            <a:fld id="{E857D22A-A703-4C5C-B326-6A6A4554F5DA}" type="slidenum">
              <a:rPr lang="en-AT" smtClean="0"/>
              <a:pPr/>
              <a:t>‹#›</a:t>
            </a:fld>
            <a:endParaRPr lang="en-AT" dirty="0"/>
          </a:p>
        </p:txBody>
      </p:sp>
    </p:spTree>
    <p:extLst>
      <p:ext uri="{BB962C8B-B14F-4D97-AF65-F5344CB8AC3E}">
        <p14:creationId xmlns:p14="http://schemas.microsoft.com/office/powerpoint/2010/main" val="1430326467"/>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B2906-63F1-E618-6104-B8984E32277C}"/>
              </a:ext>
            </a:extLst>
          </p:cNvPr>
          <p:cNvSpPr txBox="1">
            <a:spLocks noGrp="1"/>
          </p:cNvSpPr>
          <p:nvPr>
            <p:ph type="title"/>
          </p:nvPr>
        </p:nvSpPr>
        <p:spPr>
          <a:xfrm>
            <a:off x="629838" y="342900"/>
            <a:ext cx="2949180" cy="1200150"/>
          </a:xfrm>
        </p:spPr>
        <p:txBody>
          <a:bodyPr anchor="b"/>
          <a:lstStyle>
            <a:lvl1pPr>
              <a:defRPr sz="2400"/>
            </a:lvl1pPr>
          </a:lstStyle>
          <a:p>
            <a:pPr lvl="0"/>
            <a:r>
              <a:rPr lang="en-US"/>
              <a:t>Click to edit Master title style</a:t>
            </a:r>
          </a:p>
        </p:txBody>
      </p:sp>
      <p:sp>
        <p:nvSpPr>
          <p:cNvPr id="3" name="Content Placeholder 2">
            <a:extLst>
              <a:ext uri="{FF2B5EF4-FFF2-40B4-BE49-F238E27FC236}">
                <a16:creationId xmlns:a16="http://schemas.microsoft.com/office/drawing/2014/main" id="{4AD8366E-42F3-AC5B-79ED-D82E5181523E}"/>
              </a:ext>
            </a:extLst>
          </p:cNvPr>
          <p:cNvSpPr txBox="1">
            <a:spLocks noGrp="1"/>
          </p:cNvSpPr>
          <p:nvPr>
            <p:ph idx="1"/>
          </p:nvPr>
        </p:nvSpPr>
        <p:spPr>
          <a:xfrm>
            <a:off x="3887388" y="740568"/>
            <a:ext cx="4629150" cy="3655217"/>
          </a:xfrm>
        </p:spPr>
        <p:txBody>
          <a:bodyPr/>
          <a:lstStyle>
            <a:lvl1pPr>
              <a:defRPr sz="2400"/>
            </a:lvl1pPr>
            <a:lvl2pPr>
              <a:defRPr sz="2100"/>
            </a:lvl2pPr>
            <a:lvl3pPr>
              <a:defRPr sz="18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E54CE2-F1F2-3050-84F4-2D872938EB2F}"/>
              </a:ext>
            </a:extLst>
          </p:cNvPr>
          <p:cNvSpPr txBox="1">
            <a:spLocks noGrp="1"/>
          </p:cNvSpPr>
          <p:nvPr>
            <p:ph type="body" idx="2"/>
          </p:nvPr>
        </p:nvSpPr>
        <p:spPr>
          <a:xfrm>
            <a:off x="629838" y="1543050"/>
            <a:ext cx="2949180" cy="2858688"/>
          </a:xfrm>
        </p:spPr>
        <p:txBody>
          <a:bodyPr/>
          <a:lstStyle>
            <a:lvl1pPr marL="0" indent="0">
              <a:buNone/>
              <a:defRPr sz="1200"/>
            </a:lvl1pPr>
          </a:lstStyle>
          <a:p>
            <a:pPr lvl="0"/>
            <a:r>
              <a:rPr lang="en-US"/>
              <a:t>Click to edit Master text styles</a:t>
            </a:r>
          </a:p>
        </p:txBody>
      </p:sp>
      <p:sp>
        <p:nvSpPr>
          <p:cNvPr id="5" name="Date Placeholder 4">
            <a:extLst>
              <a:ext uri="{FF2B5EF4-FFF2-40B4-BE49-F238E27FC236}">
                <a16:creationId xmlns:a16="http://schemas.microsoft.com/office/drawing/2014/main" id="{BA714E2A-E595-5674-408D-F50EB9B25BF2}"/>
              </a:ext>
            </a:extLst>
          </p:cNvPr>
          <p:cNvSpPr txBox="1">
            <a:spLocks noGrp="1"/>
          </p:cNvSpPr>
          <p:nvPr>
            <p:ph type="dt" sz="half" idx="7"/>
          </p:nvPr>
        </p:nvSpPr>
        <p:spPr/>
        <p:txBody>
          <a:bodyPr/>
          <a:lstStyle>
            <a:lvl1pPr>
              <a:defRPr/>
            </a:lvl1pPr>
          </a:lstStyle>
          <a:p>
            <a:pPr lvl="0"/>
            <a:fld id="{31329DCA-0FEA-492A-AD27-476D92C825BD}" type="datetime1">
              <a:rPr lang="en-AT"/>
              <a:pPr lvl="0"/>
              <a:t>07/13/2023</a:t>
            </a:fld>
            <a:endParaRPr lang="en-AT"/>
          </a:p>
        </p:txBody>
      </p:sp>
      <p:sp>
        <p:nvSpPr>
          <p:cNvPr id="6" name="Footer Placeholder 5">
            <a:extLst>
              <a:ext uri="{FF2B5EF4-FFF2-40B4-BE49-F238E27FC236}">
                <a16:creationId xmlns:a16="http://schemas.microsoft.com/office/drawing/2014/main" id="{9F546703-3A2E-9370-972A-C30F5871CDB8}"/>
              </a:ext>
            </a:extLst>
          </p:cNvPr>
          <p:cNvSpPr txBox="1">
            <a:spLocks noGrp="1"/>
          </p:cNvSpPr>
          <p:nvPr>
            <p:ph type="ftr" sz="quarter" idx="9"/>
          </p:nvPr>
        </p:nvSpPr>
        <p:spPr/>
        <p:txBody>
          <a:bodyPr/>
          <a:lstStyle>
            <a:lvl1pPr>
              <a:defRPr/>
            </a:lvl1pPr>
          </a:lstStyle>
          <a:p>
            <a:pPr lvl="0"/>
            <a:endParaRPr lang="en-AT"/>
          </a:p>
        </p:txBody>
      </p:sp>
      <p:sp>
        <p:nvSpPr>
          <p:cNvPr id="7" name="Slide Number Placeholder 6">
            <a:extLst>
              <a:ext uri="{FF2B5EF4-FFF2-40B4-BE49-F238E27FC236}">
                <a16:creationId xmlns:a16="http://schemas.microsoft.com/office/drawing/2014/main" id="{61253183-7DDB-C57D-FF14-0C3D5E437189}"/>
              </a:ext>
            </a:extLst>
          </p:cNvPr>
          <p:cNvSpPr txBox="1">
            <a:spLocks noGrp="1"/>
          </p:cNvSpPr>
          <p:nvPr>
            <p:ph type="sldNum" sz="quarter" idx="8"/>
          </p:nvPr>
        </p:nvSpPr>
        <p:spPr/>
        <p:txBody>
          <a:bodyPr/>
          <a:lstStyle>
            <a:lvl1pPr>
              <a:defRPr/>
            </a:lvl1pPr>
          </a:lstStyle>
          <a:p>
            <a:pPr lvl="0"/>
            <a:fld id="{859AA2FF-DC3A-4F3B-AC67-CEAC9EA1EF0B}" type="slidenum">
              <a:t>‹#›</a:t>
            </a:fld>
            <a:endParaRPr lang="en-AT"/>
          </a:p>
        </p:txBody>
      </p:sp>
    </p:spTree>
    <p:extLst>
      <p:ext uri="{BB962C8B-B14F-4D97-AF65-F5344CB8AC3E}">
        <p14:creationId xmlns:p14="http://schemas.microsoft.com/office/powerpoint/2010/main" val="26885710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55764-0596-4F2C-A5D1-F7283E4517E0}"/>
              </a:ext>
            </a:extLst>
          </p:cNvPr>
          <p:cNvSpPr>
            <a:spLocks noGrp="1"/>
          </p:cNvSpPr>
          <p:nvPr>
            <p:ph type="title"/>
          </p:nvPr>
        </p:nvSpPr>
        <p:spPr>
          <a:xfrm>
            <a:off x="623888" y="1282304"/>
            <a:ext cx="8221662"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723CD4F0-1ED8-4A81-AC35-9F3DD0383FCB}"/>
              </a:ext>
            </a:extLst>
          </p:cNvPr>
          <p:cNvSpPr>
            <a:spLocks noGrp="1"/>
          </p:cNvSpPr>
          <p:nvPr>
            <p:ph type="body" idx="1"/>
          </p:nvPr>
        </p:nvSpPr>
        <p:spPr>
          <a:xfrm>
            <a:off x="623888" y="3442098"/>
            <a:ext cx="8221662"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F401CF-FED1-42DA-AC04-27DAAE0D9249}"/>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088E46C-DC49-42DA-B87B-4774A269519F}"/>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B870777D-989B-4ABC-9AEC-AF48EC83039B}"/>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15588389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33F1B-DA9A-CEA4-6190-C801A82083BD}"/>
              </a:ext>
            </a:extLst>
          </p:cNvPr>
          <p:cNvSpPr txBox="1">
            <a:spLocks noGrp="1"/>
          </p:cNvSpPr>
          <p:nvPr>
            <p:ph type="title"/>
          </p:nvPr>
        </p:nvSpPr>
        <p:spPr>
          <a:xfrm>
            <a:off x="629838" y="342900"/>
            <a:ext cx="2949180" cy="1200150"/>
          </a:xfrm>
        </p:spPr>
        <p:txBody>
          <a:bodyPr anchor="b"/>
          <a:lstStyle>
            <a:lvl1pPr>
              <a:defRPr sz="2400"/>
            </a:lvl1pPr>
          </a:lstStyle>
          <a:p>
            <a:pPr lvl="0"/>
            <a:r>
              <a:rPr lang="en-US"/>
              <a:t>Click to edit Master title style</a:t>
            </a:r>
          </a:p>
        </p:txBody>
      </p:sp>
      <p:sp>
        <p:nvSpPr>
          <p:cNvPr id="3" name="Picture Placeholder 2">
            <a:extLst>
              <a:ext uri="{FF2B5EF4-FFF2-40B4-BE49-F238E27FC236}">
                <a16:creationId xmlns:a16="http://schemas.microsoft.com/office/drawing/2014/main" id="{610A437D-8A64-9112-4369-EA9C0806960E}"/>
              </a:ext>
            </a:extLst>
          </p:cNvPr>
          <p:cNvSpPr txBox="1">
            <a:spLocks noGrp="1"/>
          </p:cNvSpPr>
          <p:nvPr>
            <p:ph type="pic" idx="1"/>
          </p:nvPr>
        </p:nvSpPr>
        <p:spPr>
          <a:xfrm>
            <a:off x="3887388" y="740568"/>
            <a:ext cx="4629150" cy="3655217"/>
          </a:xfrm>
        </p:spPr>
        <p:txBody>
          <a:bodyPr/>
          <a:lstStyle>
            <a:lvl1pPr marL="0" indent="0">
              <a:buNone/>
              <a:defRPr sz="2400"/>
            </a:lvl1pPr>
          </a:lstStyle>
          <a:p>
            <a:pPr lvl="0"/>
            <a:r>
              <a:rPr lang="en-US"/>
              <a:t>Click icon to add picture</a:t>
            </a:r>
          </a:p>
        </p:txBody>
      </p:sp>
      <p:sp>
        <p:nvSpPr>
          <p:cNvPr id="4" name="Text Placeholder 3">
            <a:extLst>
              <a:ext uri="{FF2B5EF4-FFF2-40B4-BE49-F238E27FC236}">
                <a16:creationId xmlns:a16="http://schemas.microsoft.com/office/drawing/2014/main" id="{7EAE7F7E-F51B-4EA8-3274-DAE5B2812D71}"/>
              </a:ext>
            </a:extLst>
          </p:cNvPr>
          <p:cNvSpPr txBox="1">
            <a:spLocks noGrp="1"/>
          </p:cNvSpPr>
          <p:nvPr>
            <p:ph type="body" idx="2"/>
          </p:nvPr>
        </p:nvSpPr>
        <p:spPr>
          <a:xfrm>
            <a:off x="629838" y="1543050"/>
            <a:ext cx="2949180" cy="2858688"/>
          </a:xfrm>
        </p:spPr>
        <p:txBody>
          <a:bodyPr/>
          <a:lstStyle>
            <a:lvl1pPr marL="0" indent="0">
              <a:buNone/>
              <a:defRPr sz="1200"/>
            </a:lvl1pPr>
          </a:lstStyle>
          <a:p>
            <a:pPr lvl="0"/>
            <a:r>
              <a:rPr lang="en-US"/>
              <a:t>Click to edit Master text styles</a:t>
            </a:r>
          </a:p>
        </p:txBody>
      </p:sp>
      <p:sp>
        <p:nvSpPr>
          <p:cNvPr id="5" name="Date Placeholder 4">
            <a:extLst>
              <a:ext uri="{FF2B5EF4-FFF2-40B4-BE49-F238E27FC236}">
                <a16:creationId xmlns:a16="http://schemas.microsoft.com/office/drawing/2014/main" id="{399165D9-CC8E-3B79-00B1-AE68ECFA4AF0}"/>
              </a:ext>
            </a:extLst>
          </p:cNvPr>
          <p:cNvSpPr txBox="1">
            <a:spLocks noGrp="1"/>
          </p:cNvSpPr>
          <p:nvPr>
            <p:ph type="dt" sz="half" idx="7"/>
          </p:nvPr>
        </p:nvSpPr>
        <p:spPr/>
        <p:txBody>
          <a:bodyPr/>
          <a:lstStyle>
            <a:lvl1pPr>
              <a:defRPr/>
            </a:lvl1pPr>
          </a:lstStyle>
          <a:p>
            <a:pPr lvl="0"/>
            <a:fld id="{AA2CA4D2-9A21-4E0E-90EE-465D662ED219}" type="datetime1">
              <a:rPr lang="en-AT"/>
              <a:pPr lvl="0"/>
              <a:t>07/13/2023</a:t>
            </a:fld>
            <a:endParaRPr lang="en-AT"/>
          </a:p>
        </p:txBody>
      </p:sp>
      <p:sp>
        <p:nvSpPr>
          <p:cNvPr id="6" name="Footer Placeholder 5">
            <a:extLst>
              <a:ext uri="{FF2B5EF4-FFF2-40B4-BE49-F238E27FC236}">
                <a16:creationId xmlns:a16="http://schemas.microsoft.com/office/drawing/2014/main" id="{755EF941-7F5A-8426-11BE-327FE57B9277}"/>
              </a:ext>
            </a:extLst>
          </p:cNvPr>
          <p:cNvSpPr txBox="1">
            <a:spLocks noGrp="1"/>
          </p:cNvSpPr>
          <p:nvPr>
            <p:ph type="ftr" sz="quarter" idx="9"/>
          </p:nvPr>
        </p:nvSpPr>
        <p:spPr/>
        <p:txBody>
          <a:bodyPr/>
          <a:lstStyle>
            <a:lvl1pPr>
              <a:defRPr/>
            </a:lvl1pPr>
          </a:lstStyle>
          <a:p>
            <a:pPr lvl="0"/>
            <a:endParaRPr lang="en-AT"/>
          </a:p>
        </p:txBody>
      </p:sp>
      <p:sp>
        <p:nvSpPr>
          <p:cNvPr id="7" name="Slide Number Placeholder 6">
            <a:extLst>
              <a:ext uri="{FF2B5EF4-FFF2-40B4-BE49-F238E27FC236}">
                <a16:creationId xmlns:a16="http://schemas.microsoft.com/office/drawing/2014/main" id="{B30BC74A-04F3-53EB-01F3-DD737099F9EF}"/>
              </a:ext>
            </a:extLst>
          </p:cNvPr>
          <p:cNvSpPr txBox="1">
            <a:spLocks noGrp="1"/>
          </p:cNvSpPr>
          <p:nvPr>
            <p:ph type="sldNum" sz="quarter" idx="8"/>
          </p:nvPr>
        </p:nvSpPr>
        <p:spPr/>
        <p:txBody>
          <a:bodyPr/>
          <a:lstStyle>
            <a:lvl1pPr>
              <a:defRPr/>
            </a:lvl1pPr>
          </a:lstStyle>
          <a:p>
            <a:pPr lvl="0"/>
            <a:fld id="{5670D659-53BE-4F43-9445-4AF4D04B065E}" type="slidenum">
              <a:t>‹#›</a:t>
            </a:fld>
            <a:endParaRPr lang="en-AT"/>
          </a:p>
        </p:txBody>
      </p:sp>
    </p:spTree>
    <p:extLst>
      <p:ext uri="{BB962C8B-B14F-4D97-AF65-F5344CB8AC3E}">
        <p14:creationId xmlns:p14="http://schemas.microsoft.com/office/powerpoint/2010/main" val="15810394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BF67B-B0AA-9950-ABF1-C7D71B30EA57}"/>
              </a:ext>
            </a:extLst>
          </p:cNvPr>
          <p:cNvSpPr txBox="1">
            <a:spLocks noGrp="1"/>
          </p:cNvSpPr>
          <p:nvPr>
            <p:ph type="title"/>
          </p:nvPr>
        </p:nvSpPr>
        <p:spPr/>
        <p:txBody>
          <a:bodyPr/>
          <a:lstStyle>
            <a:lvl1pPr>
              <a:defRPr/>
            </a:lvl1pPr>
          </a:lstStyle>
          <a:p>
            <a:pPr lvl="0"/>
            <a:r>
              <a:rPr lang="en-US"/>
              <a:t>Click to edit Master title style</a:t>
            </a:r>
          </a:p>
        </p:txBody>
      </p:sp>
      <p:sp>
        <p:nvSpPr>
          <p:cNvPr id="3" name="Vertical Text Placeholder 2">
            <a:extLst>
              <a:ext uri="{FF2B5EF4-FFF2-40B4-BE49-F238E27FC236}">
                <a16:creationId xmlns:a16="http://schemas.microsoft.com/office/drawing/2014/main" id="{AE050DE5-78FF-1887-7C8E-5520159D1179}"/>
              </a:ext>
            </a:extLst>
          </p:cNvPr>
          <p:cNvSpPr txBox="1">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6F6623-5BD8-25C8-4309-E3CAE88A6C96}"/>
              </a:ext>
            </a:extLst>
          </p:cNvPr>
          <p:cNvSpPr txBox="1">
            <a:spLocks noGrp="1"/>
          </p:cNvSpPr>
          <p:nvPr>
            <p:ph type="dt" sz="half" idx="7"/>
          </p:nvPr>
        </p:nvSpPr>
        <p:spPr/>
        <p:txBody>
          <a:bodyPr/>
          <a:lstStyle>
            <a:lvl1pPr>
              <a:defRPr/>
            </a:lvl1pPr>
          </a:lstStyle>
          <a:p>
            <a:pPr lvl="0"/>
            <a:fld id="{1AA519FD-1C11-491D-8C52-D0188857CC1E}" type="datetime1">
              <a:rPr lang="en-AT"/>
              <a:pPr lvl="0"/>
              <a:t>07/13/2023</a:t>
            </a:fld>
            <a:endParaRPr lang="en-AT"/>
          </a:p>
        </p:txBody>
      </p:sp>
      <p:sp>
        <p:nvSpPr>
          <p:cNvPr id="5" name="Footer Placeholder 4">
            <a:extLst>
              <a:ext uri="{FF2B5EF4-FFF2-40B4-BE49-F238E27FC236}">
                <a16:creationId xmlns:a16="http://schemas.microsoft.com/office/drawing/2014/main" id="{0C31B27C-26EE-3ECC-2370-0F070475473D}"/>
              </a:ext>
            </a:extLst>
          </p:cNvPr>
          <p:cNvSpPr txBox="1">
            <a:spLocks noGrp="1"/>
          </p:cNvSpPr>
          <p:nvPr>
            <p:ph type="ftr" sz="quarter" idx="9"/>
          </p:nvPr>
        </p:nvSpPr>
        <p:spPr/>
        <p:txBody>
          <a:bodyPr/>
          <a:lstStyle>
            <a:lvl1pPr>
              <a:defRPr/>
            </a:lvl1pPr>
          </a:lstStyle>
          <a:p>
            <a:pPr lvl="0"/>
            <a:endParaRPr lang="en-AT"/>
          </a:p>
        </p:txBody>
      </p:sp>
      <p:sp>
        <p:nvSpPr>
          <p:cNvPr id="6" name="Slide Number Placeholder 5">
            <a:extLst>
              <a:ext uri="{FF2B5EF4-FFF2-40B4-BE49-F238E27FC236}">
                <a16:creationId xmlns:a16="http://schemas.microsoft.com/office/drawing/2014/main" id="{692A3055-C176-A809-1EDF-8B0E44E452B5}"/>
              </a:ext>
            </a:extLst>
          </p:cNvPr>
          <p:cNvSpPr txBox="1">
            <a:spLocks noGrp="1"/>
          </p:cNvSpPr>
          <p:nvPr>
            <p:ph type="sldNum" sz="quarter" idx="8"/>
          </p:nvPr>
        </p:nvSpPr>
        <p:spPr/>
        <p:txBody>
          <a:bodyPr/>
          <a:lstStyle>
            <a:lvl1pPr>
              <a:defRPr/>
            </a:lvl1pPr>
          </a:lstStyle>
          <a:p>
            <a:pPr lvl="0"/>
            <a:fld id="{E897F54A-CB2E-4CAA-9F04-D1538B945661}" type="slidenum">
              <a:t>‹#›</a:t>
            </a:fld>
            <a:endParaRPr lang="en-AT"/>
          </a:p>
        </p:txBody>
      </p:sp>
    </p:spTree>
    <p:extLst>
      <p:ext uri="{BB962C8B-B14F-4D97-AF65-F5344CB8AC3E}">
        <p14:creationId xmlns:p14="http://schemas.microsoft.com/office/powerpoint/2010/main" val="4484895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4C2470D-FB67-DF1D-BC81-BBFEF88AA0DC}"/>
              </a:ext>
            </a:extLst>
          </p:cNvPr>
          <p:cNvSpPr txBox="1">
            <a:spLocks noGrp="1"/>
          </p:cNvSpPr>
          <p:nvPr>
            <p:ph type="title" orient="vert"/>
          </p:nvPr>
        </p:nvSpPr>
        <p:spPr>
          <a:xfrm>
            <a:off x="6543678" y="273847"/>
            <a:ext cx="1971674" cy="4358876"/>
          </a:xfrm>
        </p:spPr>
        <p:txBody>
          <a:bodyPr vert="eaVert"/>
          <a:lstStyle>
            <a:lvl1pPr>
              <a:defRPr/>
            </a:lvl1pPr>
          </a:lstStyle>
          <a:p>
            <a:pPr lvl="0"/>
            <a:r>
              <a:rPr lang="en-US"/>
              <a:t>Click to edit Master title style</a:t>
            </a:r>
          </a:p>
        </p:txBody>
      </p:sp>
      <p:sp>
        <p:nvSpPr>
          <p:cNvPr id="3" name="Vertical Text Placeholder 2">
            <a:extLst>
              <a:ext uri="{FF2B5EF4-FFF2-40B4-BE49-F238E27FC236}">
                <a16:creationId xmlns:a16="http://schemas.microsoft.com/office/drawing/2014/main" id="{672481C8-B16E-4E9E-06A7-1978575E388D}"/>
              </a:ext>
            </a:extLst>
          </p:cNvPr>
          <p:cNvSpPr txBox="1">
            <a:spLocks noGrp="1"/>
          </p:cNvSpPr>
          <p:nvPr>
            <p:ph type="body" orient="vert" idx="1"/>
          </p:nvPr>
        </p:nvSpPr>
        <p:spPr>
          <a:xfrm>
            <a:off x="628652" y="273847"/>
            <a:ext cx="5800722" cy="4358876"/>
          </a:xfrm>
        </p:spPr>
        <p:txBody>
          <a:bodyPr vert="eaVert"/>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F3B1E6-751E-52D5-4D4F-8E955194EF3A}"/>
              </a:ext>
            </a:extLst>
          </p:cNvPr>
          <p:cNvSpPr txBox="1">
            <a:spLocks noGrp="1"/>
          </p:cNvSpPr>
          <p:nvPr>
            <p:ph type="dt" sz="half" idx="7"/>
          </p:nvPr>
        </p:nvSpPr>
        <p:spPr/>
        <p:txBody>
          <a:bodyPr/>
          <a:lstStyle>
            <a:lvl1pPr>
              <a:defRPr/>
            </a:lvl1pPr>
          </a:lstStyle>
          <a:p>
            <a:pPr lvl="0"/>
            <a:fld id="{72E319EB-C62E-4081-9FD2-88F04BBF029D}" type="datetime1">
              <a:rPr lang="en-AT"/>
              <a:pPr lvl="0"/>
              <a:t>07/13/2023</a:t>
            </a:fld>
            <a:endParaRPr lang="en-AT"/>
          </a:p>
        </p:txBody>
      </p:sp>
      <p:sp>
        <p:nvSpPr>
          <p:cNvPr id="5" name="Footer Placeholder 4">
            <a:extLst>
              <a:ext uri="{FF2B5EF4-FFF2-40B4-BE49-F238E27FC236}">
                <a16:creationId xmlns:a16="http://schemas.microsoft.com/office/drawing/2014/main" id="{DDB29CB6-7BFE-8CD7-617D-78A5781E9310}"/>
              </a:ext>
            </a:extLst>
          </p:cNvPr>
          <p:cNvSpPr txBox="1">
            <a:spLocks noGrp="1"/>
          </p:cNvSpPr>
          <p:nvPr>
            <p:ph type="ftr" sz="quarter" idx="9"/>
          </p:nvPr>
        </p:nvSpPr>
        <p:spPr/>
        <p:txBody>
          <a:bodyPr/>
          <a:lstStyle>
            <a:lvl1pPr>
              <a:defRPr/>
            </a:lvl1pPr>
          </a:lstStyle>
          <a:p>
            <a:pPr lvl="0"/>
            <a:endParaRPr lang="en-AT"/>
          </a:p>
        </p:txBody>
      </p:sp>
      <p:sp>
        <p:nvSpPr>
          <p:cNvPr id="6" name="Slide Number Placeholder 5">
            <a:extLst>
              <a:ext uri="{FF2B5EF4-FFF2-40B4-BE49-F238E27FC236}">
                <a16:creationId xmlns:a16="http://schemas.microsoft.com/office/drawing/2014/main" id="{11A30E85-365F-BD25-9F2A-5F91D677B26A}"/>
              </a:ext>
            </a:extLst>
          </p:cNvPr>
          <p:cNvSpPr txBox="1">
            <a:spLocks noGrp="1"/>
          </p:cNvSpPr>
          <p:nvPr>
            <p:ph type="sldNum" sz="quarter" idx="8"/>
          </p:nvPr>
        </p:nvSpPr>
        <p:spPr/>
        <p:txBody>
          <a:bodyPr/>
          <a:lstStyle>
            <a:lvl1pPr>
              <a:defRPr/>
            </a:lvl1pPr>
          </a:lstStyle>
          <a:p>
            <a:pPr lvl="0"/>
            <a:fld id="{716ABFB3-62E9-4872-8375-CDD4BA606597}" type="slidenum">
              <a:t>‹#›</a:t>
            </a:fld>
            <a:endParaRPr lang="en-AT"/>
          </a:p>
        </p:txBody>
      </p:sp>
    </p:spTree>
    <p:extLst>
      <p:ext uri="{BB962C8B-B14F-4D97-AF65-F5344CB8AC3E}">
        <p14:creationId xmlns:p14="http://schemas.microsoft.com/office/powerpoint/2010/main" val="24454018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Alternate Title Page_Custom">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03B9CE-105A-4126-8595-AC58129E9A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51963" y="4252643"/>
            <a:ext cx="1694045" cy="576923"/>
          </a:xfrm>
          <a:prstGeom prst="rect">
            <a:avLst/>
          </a:prstGeom>
        </p:spPr>
      </p:pic>
      <p:pic>
        <p:nvPicPr>
          <p:cNvPr id="7" name="Picture 6">
            <a:extLst>
              <a:ext uri="{FF2B5EF4-FFF2-40B4-BE49-F238E27FC236}">
                <a16:creationId xmlns:a16="http://schemas.microsoft.com/office/drawing/2014/main" id="{D4822091-CB70-4B85-9CC0-DA3250FEE27B}"/>
              </a:ext>
            </a:extLst>
          </p:cNvPr>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1" y="0"/>
            <a:ext cx="5121565" cy="51435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182842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6BFF0-A9FC-42A5-99ED-6093A2D63C93}"/>
              </a:ext>
            </a:extLst>
          </p:cNvPr>
          <p:cNvSpPr>
            <a:spLocks noGrp="1"/>
          </p:cNvSpPr>
          <p:nvPr>
            <p:ph type="ctrTitle"/>
          </p:nvPr>
        </p:nvSpPr>
        <p:spPr>
          <a:xfrm>
            <a:off x="590976" y="-81865"/>
            <a:ext cx="7341846" cy="916205"/>
          </a:xfrm>
          <a:prstGeom prst="rect">
            <a:avLst/>
          </a:prstGeom>
        </p:spPr>
        <p:txBody>
          <a:bodyPr anchor="b">
            <a:normAutofit/>
          </a:bodyPr>
          <a:lstStyle>
            <a:lvl1pPr algn="ctr">
              <a:defRPr sz="2800"/>
            </a:lvl1pPr>
          </a:lstStyle>
          <a:p>
            <a:r>
              <a:rPr lang="en-US"/>
              <a:t>Click to edit Master title style</a:t>
            </a:r>
          </a:p>
        </p:txBody>
      </p:sp>
      <p:sp>
        <p:nvSpPr>
          <p:cNvPr id="3" name="Subtitle 2">
            <a:extLst>
              <a:ext uri="{FF2B5EF4-FFF2-40B4-BE49-F238E27FC236}">
                <a16:creationId xmlns:a16="http://schemas.microsoft.com/office/drawing/2014/main" id="{2EA7D5E0-420F-4F5C-86C9-FBB431F572F1}"/>
              </a:ext>
            </a:extLst>
          </p:cNvPr>
          <p:cNvSpPr>
            <a:spLocks noGrp="1"/>
          </p:cNvSpPr>
          <p:nvPr>
            <p:ph type="subTitle" idx="1"/>
          </p:nvPr>
        </p:nvSpPr>
        <p:spPr>
          <a:xfrm>
            <a:off x="1143000" y="1950839"/>
            <a:ext cx="6789822"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179FD57-510E-4616-B432-794FE41A6808}"/>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8001641-8B87-428D-A38B-731246FC69F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25A2EA1-25BC-4F01-94E3-20200B4F4A73}"/>
              </a:ext>
            </a:extLst>
          </p:cNvPr>
          <p:cNvSpPr>
            <a:spLocks noGrp="1"/>
          </p:cNvSpPr>
          <p:nvPr>
            <p:ph type="sldNum" sz="quarter" idx="12"/>
          </p:nvPr>
        </p:nvSpPr>
        <p:spPr>
          <a:xfrm>
            <a:off x="690245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29973020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2589" y="1276690"/>
            <a:ext cx="8494776" cy="3263504"/>
          </a:xfrm>
        </p:spPr>
        <p:txBody>
          <a:bodyPr>
            <a:normAutofit/>
          </a:bodyPr>
          <a:lstStyle>
            <a:lvl1pPr marL="171450" indent="-171450">
              <a:buClr>
                <a:srgbClr val="002060"/>
              </a:buClr>
              <a:buFont typeface="Wingdings" panose="05000000000000000000" pitchFamily="2" charset="2"/>
              <a:buChar char="§"/>
              <a:defRPr sz="1800"/>
            </a:lvl1pPr>
            <a:lvl2pPr marL="514350" indent="-171450">
              <a:buClr>
                <a:srgbClr val="002060"/>
              </a:buClr>
              <a:buFont typeface="Wingdings" panose="05000000000000000000" pitchFamily="2" charset="2"/>
              <a:buChar char="§"/>
              <a:defRPr sz="1800"/>
            </a:lvl2pPr>
            <a:lvl3pPr marL="857250" indent="-171450">
              <a:buClr>
                <a:srgbClr val="002060"/>
              </a:buClr>
              <a:buFont typeface="Wingdings" panose="05000000000000000000" pitchFamily="2" charset="2"/>
              <a:buChar char="§"/>
              <a:defRPr sz="1400"/>
            </a:lvl3pPr>
            <a:lvl4pPr marL="1200150" indent="-171450">
              <a:buClr>
                <a:srgbClr val="002060"/>
              </a:buClr>
              <a:buFont typeface="Wingdings" panose="05000000000000000000" pitchFamily="2" charset="2"/>
              <a:buChar char="§"/>
              <a:defRPr sz="1200"/>
            </a:lvl4pPr>
            <a:lvl5pPr marL="1543050" indent="-171450">
              <a:buClr>
                <a:srgbClr val="002060"/>
              </a:buClr>
              <a:buFont typeface="Wingdings" panose="05000000000000000000" pitchFamily="2" charset="2"/>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1D30680-7834-4D00-B45B-BCD9BD377547}"/>
              </a:ext>
            </a:extLst>
          </p:cNvPr>
          <p:cNvSpPr>
            <a:spLocks noGrp="1"/>
          </p:cNvSpPr>
          <p:nvPr>
            <p:ph type="sldNum" sz="quarter" idx="12"/>
          </p:nvPr>
        </p:nvSpPr>
        <p:spPr>
          <a:xfrm>
            <a:off x="6789965" y="4767263"/>
            <a:ext cx="2057400" cy="273844"/>
          </a:xfrm>
          <a:prstGeom prst="rect">
            <a:avLst/>
          </a:prstGeom>
        </p:spPr>
        <p:txBody>
          <a:bodyPr/>
          <a:lstStyle/>
          <a:p>
            <a:fld id="{68B82C89-54EC-4D90-B7E5-A6254AC09059}" type="slidenum">
              <a:rPr lang="en-US" smtClean="0"/>
              <a:t>‹#›</a:t>
            </a:fld>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52589" y="351277"/>
            <a:ext cx="6600773" cy="497489"/>
          </a:xfrm>
          <a:prstGeom prst="rect">
            <a:avLst/>
          </a:prstGeom>
        </p:spPr>
        <p:txBody>
          <a:bodyPr/>
          <a:lstStyle>
            <a:lvl1pPr>
              <a:defRPr>
                <a:latin typeface="Century Gothic" panose="020B0502020202020204" pitchFamily="34" charset="0"/>
                <a:cs typeface="David" panose="020E0502060401010101" pitchFamily="34" charset="-79"/>
              </a:defRPr>
            </a:lvl1pPr>
          </a:lstStyle>
          <a:p>
            <a:r>
              <a:rPr lang="en-US"/>
              <a:t>Click to edit Master title style</a:t>
            </a:r>
          </a:p>
        </p:txBody>
      </p:sp>
    </p:spTree>
    <p:extLst>
      <p:ext uri="{BB962C8B-B14F-4D97-AF65-F5344CB8AC3E}">
        <p14:creationId xmlns:p14="http://schemas.microsoft.com/office/powerpoint/2010/main" val="23646154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1B9F1-2DC1-43BA-8048-85F619D77F1B}"/>
              </a:ext>
            </a:extLst>
          </p:cNvPr>
          <p:cNvSpPr>
            <a:spLocks noGrp="1"/>
          </p:cNvSpPr>
          <p:nvPr>
            <p:ph type="title"/>
          </p:nvPr>
        </p:nvSpPr>
        <p:spPr>
          <a:xfrm>
            <a:off x="319572" y="54569"/>
            <a:ext cx="7320240" cy="912416"/>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19572" y="1352891"/>
            <a:ext cx="7886700" cy="3263504"/>
          </a:xfrm>
        </p:spPr>
        <p:txBody>
          <a:bodyPr/>
          <a:lstStyle>
            <a:lvl1pPr marL="171450" indent="-171450">
              <a:buClr>
                <a:srgbClr val="002060"/>
              </a:buClr>
              <a:buFont typeface="Wingdings" panose="05000000000000000000" pitchFamily="2" charset="2"/>
              <a:buChar char="§"/>
              <a:defRPr/>
            </a:lvl1pPr>
            <a:lvl2pPr marL="514350" indent="-171450">
              <a:buClr>
                <a:srgbClr val="002060"/>
              </a:buClr>
              <a:buFont typeface="Wingdings" panose="05000000000000000000" pitchFamily="2" charset="2"/>
              <a:buChar char="§"/>
              <a:defRPr sz="2100"/>
            </a:lvl2pPr>
            <a:lvl3pPr marL="857250" indent="-171450">
              <a:buClr>
                <a:srgbClr val="002060"/>
              </a:buClr>
              <a:buFont typeface="Wingdings" panose="05000000000000000000" pitchFamily="2" charset="2"/>
              <a:buChar char="§"/>
              <a:defRPr sz="1800"/>
            </a:lvl3pPr>
            <a:lvl4pPr marL="1200150" indent="-171450">
              <a:buClr>
                <a:srgbClr val="002060"/>
              </a:buClr>
              <a:buFont typeface="Wingdings" panose="05000000000000000000" pitchFamily="2" charset="2"/>
              <a:buChar char="§"/>
              <a:defRPr sz="1500"/>
            </a:lvl4pPr>
            <a:lvl5pPr marL="1543050" indent="-171450">
              <a:buClr>
                <a:srgbClr val="002060"/>
              </a:buClr>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0786D175-1D27-455E-847B-7F4BE0D450BE}"/>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6298964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55764-0596-4F2C-A5D1-F7283E4517E0}"/>
              </a:ext>
            </a:extLst>
          </p:cNvPr>
          <p:cNvSpPr>
            <a:spLocks noGrp="1"/>
          </p:cNvSpPr>
          <p:nvPr>
            <p:ph type="title"/>
          </p:nvPr>
        </p:nvSpPr>
        <p:spPr>
          <a:xfrm>
            <a:off x="623888" y="1282304"/>
            <a:ext cx="8221662"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723CD4F0-1ED8-4A81-AC35-9F3DD0383FCB}"/>
              </a:ext>
            </a:extLst>
          </p:cNvPr>
          <p:cNvSpPr>
            <a:spLocks noGrp="1"/>
          </p:cNvSpPr>
          <p:nvPr>
            <p:ph type="body" idx="1"/>
          </p:nvPr>
        </p:nvSpPr>
        <p:spPr>
          <a:xfrm>
            <a:off x="623888" y="3442098"/>
            <a:ext cx="8221662"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F401CF-FED1-42DA-AC04-27DAAE0D9249}"/>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088E46C-DC49-42DA-B87B-4774A269519F}"/>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B870777D-989B-4ABC-9AEC-AF48EC83039B}"/>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4922913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43C7-F05B-40FF-887D-D98EE861AA1E}"/>
              </a:ext>
            </a:extLst>
          </p:cNvPr>
          <p:cNvSpPr>
            <a:spLocks noGrp="1"/>
          </p:cNvSpPr>
          <p:nvPr>
            <p:ph type="title"/>
          </p:nvPr>
        </p:nvSpPr>
        <p:spPr>
          <a:xfrm>
            <a:off x="378279" y="102393"/>
            <a:ext cx="7354062" cy="875507"/>
          </a:xfrm>
          <a:prstGeom prst="rect">
            <a:avLst/>
          </a:prstGeom>
        </p:spPr>
        <p:txBody>
          <a:bodyPr>
            <a:normAutofit/>
          </a:bodyPr>
          <a:lstStyle>
            <a:lvl1pPr>
              <a:defRPr sz="24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11A86B4-5FC5-4D52-B176-85D79D3A2AB1}"/>
              </a:ext>
            </a:extLst>
          </p:cNvPr>
          <p:cNvSpPr>
            <a:spLocks noGrp="1"/>
          </p:cNvSpPr>
          <p:nvPr>
            <p:ph sz="half" idx="1"/>
          </p:nvPr>
        </p:nvSpPr>
        <p:spPr>
          <a:xfrm>
            <a:off x="384629" y="1369219"/>
            <a:ext cx="3886200" cy="3263504"/>
          </a:xfrm>
        </p:spPr>
        <p:txBody>
          <a:bodyPr>
            <a:normAutofit/>
          </a:bodyPr>
          <a:lstStyle>
            <a:lvl1pPr>
              <a:defRPr sz="18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4DF9D3-E1D2-4793-B34D-AD35452CE1EA}"/>
              </a:ext>
            </a:extLst>
          </p:cNvPr>
          <p:cNvSpPr>
            <a:spLocks noGrp="1"/>
          </p:cNvSpPr>
          <p:nvPr>
            <p:ph sz="half" idx="2"/>
          </p:nvPr>
        </p:nvSpPr>
        <p:spPr>
          <a:xfrm>
            <a:off x="4629150" y="1369219"/>
            <a:ext cx="4305300" cy="3263504"/>
          </a:xfrm>
        </p:spPr>
        <p:txBody>
          <a:bodyPr>
            <a:normAutofit/>
          </a:bodyPr>
          <a:lstStyle>
            <a:lvl1pPr>
              <a:defRPr sz="18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C687B7F-7ADE-4354-8BDD-4F740FC9D508}"/>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B9E26D41-7F08-4D4E-A53E-F4A5109BBFF5}"/>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120B4AFE-F546-45EB-B69F-1E1C34F1D3CD}"/>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41602334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03209-76CF-4459-B69B-0A25C2C8BDBD}"/>
              </a:ext>
            </a:extLst>
          </p:cNvPr>
          <p:cNvSpPr>
            <a:spLocks noGrp="1"/>
          </p:cNvSpPr>
          <p:nvPr>
            <p:ph type="title"/>
          </p:nvPr>
        </p:nvSpPr>
        <p:spPr>
          <a:xfrm>
            <a:off x="341370" y="4167"/>
            <a:ext cx="7704080" cy="994172"/>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2291CB0F-4303-40C4-A714-8D514F7BEF7A}"/>
              </a:ext>
            </a:extLst>
          </p:cNvPr>
          <p:cNvSpPr>
            <a:spLocks noGrp="1"/>
          </p:cNvSpPr>
          <p:nvPr>
            <p:ph type="body" idx="1"/>
          </p:nvPr>
        </p:nvSpPr>
        <p:spPr>
          <a:xfrm>
            <a:off x="341370" y="1198364"/>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AAA9D2F-3A93-4302-8757-7D47440E8BF1}"/>
              </a:ext>
            </a:extLst>
          </p:cNvPr>
          <p:cNvSpPr>
            <a:spLocks noGrp="1"/>
          </p:cNvSpPr>
          <p:nvPr>
            <p:ph sz="half" idx="2"/>
          </p:nvPr>
        </p:nvSpPr>
        <p:spPr>
          <a:xfrm>
            <a:off x="341370" y="1878805"/>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842717-1393-4E34-9E66-F3E5DF4356AD}"/>
              </a:ext>
            </a:extLst>
          </p:cNvPr>
          <p:cNvSpPr>
            <a:spLocks noGrp="1"/>
          </p:cNvSpPr>
          <p:nvPr>
            <p:ph type="body" sz="quarter" idx="3"/>
          </p:nvPr>
        </p:nvSpPr>
        <p:spPr>
          <a:xfrm>
            <a:off x="4629150" y="1197215"/>
            <a:ext cx="417348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BB8BA4C-1EC8-49FB-BB86-E62639CB8B5B}"/>
              </a:ext>
            </a:extLst>
          </p:cNvPr>
          <p:cNvSpPr>
            <a:spLocks noGrp="1"/>
          </p:cNvSpPr>
          <p:nvPr>
            <p:ph sz="quarter" idx="4"/>
          </p:nvPr>
        </p:nvSpPr>
        <p:spPr>
          <a:xfrm>
            <a:off x="4629150" y="1878806"/>
            <a:ext cx="417348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E74484-9CF5-45C9-98AB-BE863D2CE06E}"/>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8" name="Footer Placeholder 7">
            <a:extLst>
              <a:ext uri="{FF2B5EF4-FFF2-40B4-BE49-F238E27FC236}">
                <a16:creationId xmlns:a16="http://schemas.microsoft.com/office/drawing/2014/main" id="{3AD32C6B-EE7D-40F5-9FA2-2885CD2E8500}"/>
              </a:ext>
            </a:extLst>
          </p:cNvPr>
          <p:cNvSpPr>
            <a:spLocks noGrp="1"/>
          </p:cNvSpPr>
          <p:nvPr>
            <p:ph type="ftr" sz="quarter" idx="11"/>
          </p:nvPr>
        </p:nvSpPr>
        <p:spPr/>
        <p:txBody>
          <a:bodyPr/>
          <a:lstStyle/>
          <a:p>
            <a:endParaRPr lang="en-US" dirty="0"/>
          </a:p>
        </p:txBody>
      </p:sp>
      <p:sp>
        <p:nvSpPr>
          <p:cNvPr id="10" name="Slide Number Placeholder 5">
            <a:extLst>
              <a:ext uri="{FF2B5EF4-FFF2-40B4-BE49-F238E27FC236}">
                <a16:creationId xmlns:a16="http://schemas.microsoft.com/office/drawing/2014/main" id="{0F37023D-EC39-4A8D-8A78-130488EB2FCE}"/>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5109339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D43C7-F05B-40FF-887D-D98EE861AA1E}"/>
              </a:ext>
            </a:extLst>
          </p:cNvPr>
          <p:cNvSpPr>
            <a:spLocks noGrp="1"/>
          </p:cNvSpPr>
          <p:nvPr>
            <p:ph type="title"/>
          </p:nvPr>
        </p:nvSpPr>
        <p:spPr>
          <a:xfrm>
            <a:off x="378279" y="102393"/>
            <a:ext cx="7354062" cy="875507"/>
          </a:xfrm>
          <a:prstGeom prst="rect">
            <a:avLst/>
          </a:prstGeom>
        </p:spPr>
        <p:txBody>
          <a:bodyPr>
            <a:normAutofit/>
          </a:bodyPr>
          <a:lstStyle>
            <a:lvl1pPr>
              <a:defRPr sz="24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11A86B4-5FC5-4D52-B176-85D79D3A2AB1}"/>
              </a:ext>
            </a:extLst>
          </p:cNvPr>
          <p:cNvSpPr>
            <a:spLocks noGrp="1"/>
          </p:cNvSpPr>
          <p:nvPr>
            <p:ph sz="half" idx="1"/>
          </p:nvPr>
        </p:nvSpPr>
        <p:spPr>
          <a:xfrm>
            <a:off x="384629" y="1369219"/>
            <a:ext cx="3886200" cy="3263504"/>
          </a:xfrm>
        </p:spPr>
        <p:txBody>
          <a:bodyPr>
            <a:normAutofit/>
          </a:bodyPr>
          <a:lstStyle>
            <a:lvl1pPr>
              <a:defRPr sz="18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4DF9D3-E1D2-4793-B34D-AD35452CE1EA}"/>
              </a:ext>
            </a:extLst>
          </p:cNvPr>
          <p:cNvSpPr>
            <a:spLocks noGrp="1"/>
          </p:cNvSpPr>
          <p:nvPr>
            <p:ph sz="half" idx="2"/>
          </p:nvPr>
        </p:nvSpPr>
        <p:spPr>
          <a:xfrm>
            <a:off x="4629150" y="1369219"/>
            <a:ext cx="4305300" cy="3263504"/>
          </a:xfrm>
        </p:spPr>
        <p:txBody>
          <a:bodyPr>
            <a:normAutofit/>
          </a:bodyPr>
          <a:lstStyle>
            <a:lvl1pPr>
              <a:defRPr sz="18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C687B7F-7ADE-4354-8BDD-4F740FC9D508}"/>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B9E26D41-7F08-4D4E-A53E-F4A5109BBFF5}"/>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120B4AFE-F546-45EB-B69F-1E1C34F1D3CD}"/>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20417674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A0050-7F0F-4370-AE0B-6230918A3675}"/>
              </a:ext>
            </a:extLst>
          </p:cNvPr>
          <p:cNvSpPr>
            <a:spLocks noGrp="1"/>
          </p:cNvSpPr>
          <p:nvPr>
            <p:ph type="title"/>
          </p:nvPr>
        </p:nvSpPr>
        <p:spPr>
          <a:xfrm>
            <a:off x="343761" y="0"/>
            <a:ext cx="7088459" cy="994172"/>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B2EE3464-3F6E-4575-820F-682CF87B0C1F}"/>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4" name="Footer Placeholder 3">
            <a:extLst>
              <a:ext uri="{FF2B5EF4-FFF2-40B4-BE49-F238E27FC236}">
                <a16:creationId xmlns:a16="http://schemas.microsoft.com/office/drawing/2014/main" id="{5BD65CCE-E076-481B-901C-15BE8B8EC0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77194A-9BDA-482C-A60A-C2A5AD1F4E91}"/>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0211980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1E34CE-CD68-4230-9722-BC05CD29FC8E}"/>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3" name="Footer Placeholder 2">
            <a:extLst>
              <a:ext uri="{FF2B5EF4-FFF2-40B4-BE49-F238E27FC236}">
                <a16:creationId xmlns:a16="http://schemas.microsoft.com/office/drawing/2014/main" id="{5C735421-AE90-4733-ADF9-EE8C15D8DE52}"/>
              </a:ext>
            </a:extLst>
          </p:cNvPr>
          <p:cNvSpPr>
            <a:spLocks noGrp="1"/>
          </p:cNvSpPr>
          <p:nvPr>
            <p:ph type="ftr" sz="quarter" idx="11"/>
          </p:nvPr>
        </p:nvSpPr>
        <p:spPr/>
        <p:txBody>
          <a:bodyPr/>
          <a:lstStyle/>
          <a:p>
            <a:endParaRPr lang="en-US" dirty="0"/>
          </a:p>
        </p:txBody>
      </p:sp>
      <p:sp>
        <p:nvSpPr>
          <p:cNvPr id="5" name="Slide Number Placeholder 5">
            <a:extLst>
              <a:ext uri="{FF2B5EF4-FFF2-40B4-BE49-F238E27FC236}">
                <a16:creationId xmlns:a16="http://schemas.microsoft.com/office/drawing/2014/main" id="{718B41C7-12FF-47C0-B354-DF3AA16CEC70}"/>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26591052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5DB7F-5672-4A85-A76D-BAC89A5C72AE}"/>
              </a:ext>
            </a:extLst>
          </p:cNvPr>
          <p:cNvSpPr>
            <a:spLocks noGrp="1"/>
          </p:cNvSpPr>
          <p:nvPr>
            <p:ph type="title"/>
          </p:nvPr>
        </p:nvSpPr>
        <p:spPr>
          <a:xfrm>
            <a:off x="351064" y="46602"/>
            <a:ext cx="6789080" cy="991226"/>
          </a:xfrm>
          <a:prstGeom prst="rect">
            <a:avLst/>
          </a:prstGeom>
        </p:spPr>
        <p:txBody>
          <a:bodyPr anchor="ctr"/>
          <a:lstStyle>
            <a:lvl1pPr>
              <a:defRPr sz="24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212D1B1-AB0D-4D35-94E0-B1DE82C2B87F}"/>
              </a:ext>
            </a:extLst>
          </p:cNvPr>
          <p:cNvSpPr>
            <a:spLocks noGrp="1"/>
          </p:cNvSpPr>
          <p:nvPr>
            <p:ph idx="1"/>
          </p:nvPr>
        </p:nvSpPr>
        <p:spPr>
          <a:xfrm>
            <a:off x="3885008" y="1144787"/>
            <a:ext cx="5055791"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EEEB1BD-0EA4-4BBA-BAAE-9AD4117B0342}"/>
              </a:ext>
            </a:extLst>
          </p:cNvPr>
          <p:cNvSpPr>
            <a:spLocks noGrp="1"/>
          </p:cNvSpPr>
          <p:nvPr>
            <p:ph type="body" sz="half" idx="2"/>
          </p:nvPr>
        </p:nvSpPr>
        <p:spPr>
          <a:xfrm>
            <a:off x="351063" y="1144787"/>
            <a:ext cx="3186793"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F377E42-0786-4698-9421-0BCE6111D1CA}"/>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C92E7250-2DDA-47BC-8017-D741900D3C3C}"/>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78CAD71F-19CE-41C4-A1A2-F10FDC8CEA30}"/>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5767063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1701E-DD13-434C-9F1C-F9D4DC9CF30D}"/>
              </a:ext>
            </a:extLst>
          </p:cNvPr>
          <p:cNvSpPr>
            <a:spLocks noGrp="1"/>
          </p:cNvSpPr>
          <p:nvPr>
            <p:ph type="title"/>
          </p:nvPr>
        </p:nvSpPr>
        <p:spPr>
          <a:xfrm>
            <a:off x="369663" y="0"/>
            <a:ext cx="6945537" cy="1035558"/>
          </a:xfrm>
          <a:prstGeom prst="rect">
            <a:avLst/>
          </a:prstGeom>
        </p:spPr>
        <p:txBody>
          <a:bodyPr anchor="ctr"/>
          <a:lstStyle>
            <a:lvl1pPr algn="l">
              <a:defRPr sz="2400">
                <a:latin typeface="Century Gothic" panose="020B0502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0C99BA28-3909-46B2-B797-9FF0D7C3C21F}"/>
              </a:ext>
            </a:extLst>
          </p:cNvPr>
          <p:cNvSpPr>
            <a:spLocks noGrp="1"/>
          </p:cNvSpPr>
          <p:nvPr>
            <p:ph type="pic" idx="1"/>
          </p:nvPr>
        </p:nvSpPr>
        <p:spPr>
          <a:xfrm>
            <a:off x="4413871" y="1193292"/>
            <a:ext cx="4360466" cy="3202496"/>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ACA8DDD7-C56D-419F-BE39-AB44DCE40977}"/>
              </a:ext>
            </a:extLst>
          </p:cNvPr>
          <p:cNvSpPr>
            <a:spLocks noGrp="1"/>
          </p:cNvSpPr>
          <p:nvPr>
            <p:ph type="body" sz="half" idx="2"/>
          </p:nvPr>
        </p:nvSpPr>
        <p:spPr>
          <a:xfrm>
            <a:off x="369663" y="1193292"/>
            <a:ext cx="3675539" cy="3202496"/>
          </a:xfrm>
        </p:spPr>
        <p:txBody>
          <a:bodyPr>
            <a:normAutofit/>
          </a:bodyPr>
          <a:lstStyle>
            <a:lvl1pPr marL="0" indent="0">
              <a:buNone/>
              <a:defRPr sz="15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06F150C4-B6BE-45F2-8B0D-90899B425F27}"/>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6" name="Footer Placeholder 5">
            <a:extLst>
              <a:ext uri="{FF2B5EF4-FFF2-40B4-BE49-F238E27FC236}">
                <a16:creationId xmlns:a16="http://schemas.microsoft.com/office/drawing/2014/main" id="{0C7F3711-C557-4659-8D4F-2CFF5939BA80}"/>
              </a:ext>
            </a:extLst>
          </p:cNvPr>
          <p:cNvSpPr>
            <a:spLocks noGrp="1"/>
          </p:cNvSpPr>
          <p:nvPr>
            <p:ph type="ftr" sz="quarter" idx="11"/>
          </p:nvPr>
        </p:nvSpPr>
        <p:spPr/>
        <p:txBody>
          <a:bodyPr/>
          <a:lstStyle/>
          <a:p>
            <a:endParaRPr lang="en-US" dirty="0"/>
          </a:p>
        </p:txBody>
      </p:sp>
      <p:sp>
        <p:nvSpPr>
          <p:cNvPr id="8" name="Slide Number Placeholder 5">
            <a:extLst>
              <a:ext uri="{FF2B5EF4-FFF2-40B4-BE49-F238E27FC236}">
                <a16:creationId xmlns:a16="http://schemas.microsoft.com/office/drawing/2014/main" id="{C6521A7F-45F2-4256-AE12-63C0E4B9D94B}"/>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7871648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6218C-C9E1-46F7-9F57-2D09E9A7FB52}"/>
              </a:ext>
            </a:extLst>
          </p:cNvPr>
          <p:cNvSpPr>
            <a:spLocks noGrp="1"/>
          </p:cNvSpPr>
          <p:nvPr>
            <p:ph type="title"/>
          </p:nvPr>
        </p:nvSpPr>
        <p:spPr>
          <a:xfrm>
            <a:off x="628650" y="102394"/>
            <a:ext cx="7292340" cy="994172"/>
          </a:xfrm>
          <a:prstGeom prst="rect">
            <a:avLst/>
          </a:prstGeom>
        </p:spPr>
        <p:txBody>
          <a:bodyPr/>
          <a:lstStyle>
            <a:lvl1pPr>
              <a:defRPr>
                <a:latin typeface="Century Gothic" panose="020B0502020202020204" pitchFamily="34" charset="0"/>
                <a:ea typeface="DotumChe" panose="020B0609000101010101" pitchFamily="49" charset="-127"/>
              </a:defRPr>
            </a:lvl1pPr>
          </a:lstStyle>
          <a:p>
            <a:r>
              <a:rPr lang="en-US"/>
              <a:t>Click to edit Master title style</a:t>
            </a:r>
          </a:p>
        </p:txBody>
      </p:sp>
      <p:sp>
        <p:nvSpPr>
          <p:cNvPr id="3" name="Vertical Text Placeholder 2">
            <a:extLst>
              <a:ext uri="{FF2B5EF4-FFF2-40B4-BE49-F238E27FC236}">
                <a16:creationId xmlns:a16="http://schemas.microsoft.com/office/drawing/2014/main" id="{D34C56AC-6DDD-4D65-A449-C1123DD8B72B}"/>
              </a:ext>
            </a:extLst>
          </p:cNvPr>
          <p:cNvSpPr>
            <a:spLocks noGrp="1"/>
          </p:cNvSpPr>
          <p:nvPr>
            <p:ph type="body" orient="vert" idx="1"/>
          </p:nvPr>
        </p:nvSpPr>
        <p:spPr/>
        <p:txBody>
          <a:bodyPr vert="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61B2BC-90DD-47ED-BD98-BF556BAFFB27}"/>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9EEF4846-D7B6-415E-9C66-785C0B23F1EF}"/>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FF30018F-E1C2-48FE-A115-1D9748E9631B}"/>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25630224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500268-2C46-4768-A016-4C2D21709B6E}"/>
              </a:ext>
            </a:extLst>
          </p:cNvPr>
          <p:cNvSpPr>
            <a:spLocks noGrp="1"/>
          </p:cNvSpPr>
          <p:nvPr>
            <p:ph type="title" orient="vert"/>
          </p:nvPr>
        </p:nvSpPr>
        <p:spPr>
          <a:xfrm>
            <a:off x="6543675" y="1323593"/>
            <a:ext cx="2314575" cy="3309129"/>
          </a:xfrm>
          <a:prstGeom prst="rect">
            <a:avLst/>
          </a:prstGeom>
        </p:spPr>
        <p:txBody>
          <a:bodyPr vert="eaVert"/>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4D2F098B-CE7D-43F0-8E82-412C396DA0E9}"/>
              </a:ext>
            </a:extLst>
          </p:cNvPr>
          <p:cNvSpPr>
            <a:spLocks noGrp="1"/>
          </p:cNvSpPr>
          <p:nvPr>
            <p:ph type="body" orient="vert" idx="1"/>
          </p:nvPr>
        </p:nvSpPr>
        <p:spPr>
          <a:xfrm>
            <a:off x="628650" y="1323594"/>
            <a:ext cx="5800725" cy="33091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D2EF35-ECB7-44C4-8981-74A563A32B14}"/>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F9EFD969-9C7F-42F7-B595-5A6BC3343F1B}"/>
              </a:ext>
            </a:extLst>
          </p:cNvPr>
          <p:cNvSpPr>
            <a:spLocks noGrp="1"/>
          </p:cNvSpPr>
          <p:nvPr>
            <p:ph type="ftr" sz="quarter" idx="11"/>
          </p:nvPr>
        </p:nvSpPr>
        <p:spPr/>
        <p:txBody>
          <a:bodyPr/>
          <a:lstStyle/>
          <a:p>
            <a:endParaRPr lang="en-US" dirty="0"/>
          </a:p>
        </p:txBody>
      </p:sp>
      <p:sp>
        <p:nvSpPr>
          <p:cNvPr id="7" name="Slide Number Placeholder 5">
            <a:extLst>
              <a:ext uri="{FF2B5EF4-FFF2-40B4-BE49-F238E27FC236}">
                <a16:creationId xmlns:a16="http://schemas.microsoft.com/office/drawing/2014/main" id="{C692975C-4E09-45A5-BE5F-785BD52BDFA7}"/>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21740376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ain Content Page (1 Column)">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199036" y="89486"/>
            <a:ext cx="7821014" cy="913814"/>
          </a:xfrm>
          <a:prstGeom prst="rect">
            <a:avLst/>
          </a:prstGeom>
        </p:spPr>
        <p:txBody>
          <a:bodyPr vert="horz" lIns="91440" tIns="45720" rIns="91440" bIns="45720" rtlCol="0" anchor="ctr">
            <a:normAutofit/>
          </a:bodyPr>
          <a:lstStyle/>
          <a:p>
            <a:r>
              <a:rPr lang="en-US"/>
              <a:t>Click to edit Master title style</a:t>
            </a:r>
          </a:p>
        </p:txBody>
      </p:sp>
      <p:sp>
        <p:nvSpPr>
          <p:cNvPr id="10" name="Content Placeholder 9"/>
          <p:cNvSpPr>
            <a:spLocks noGrp="1"/>
          </p:cNvSpPr>
          <p:nvPr>
            <p:ph sz="quarter" idx="10"/>
          </p:nvPr>
        </p:nvSpPr>
        <p:spPr>
          <a:xfrm>
            <a:off x="269080" y="1318022"/>
            <a:ext cx="8606033" cy="2886075"/>
          </a:xfrm>
          <a:prstGeom prst="rect">
            <a:avLst/>
          </a:prstGeom>
        </p:spPr>
        <p:txBody>
          <a:bodyPr/>
          <a:lstStyle>
            <a:lvl1pPr>
              <a:defRPr>
                <a:solidFill>
                  <a:srgbClr val="131C4E"/>
                </a:solidFill>
              </a:defRPr>
            </a:lvl1pPr>
            <a:lvl2pPr>
              <a:defRPr>
                <a:solidFill>
                  <a:srgbClr val="131C4E"/>
                </a:solidFill>
              </a:defRPr>
            </a:lvl2pPr>
            <a:lvl3pPr>
              <a:defRPr>
                <a:solidFill>
                  <a:srgbClr val="131C4E"/>
                </a:solidFill>
              </a:defRPr>
            </a:lvl3pPr>
            <a:lvl4pPr>
              <a:defRPr>
                <a:solidFill>
                  <a:srgbClr val="131C4E"/>
                </a:solidFill>
              </a:defRPr>
            </a:lvl4pPr>
            <a:lvl5pPr>
              <a:defRPr>
                <a:solidFill>
                  <a:srgbClr val="131C4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BC0E02D4-230A-4EE9-9C36-AAD1D604230E}"/>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7173506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96640" y="1310603"/>
            <a:ext cx="5140959" cy="3263504"/>
          </a:xfrm>
        </p:spPr>
        <p:txBody>
          <a:bodyPr/>
          <a:lstStyle>
            <a:lvl1pPr marL="171450" indent="-171450">
              <a:buClr>
                <a:srgbClr val="002060"/>
              </a:buClr>
              <a:buFont typeface="Wingdings" panose="05000000000000000000" pitchFamily="2" charset="2"/>
              <a:buChar char="§"/>
              <a:defRPr/>
            </a:lvl1pPr>
            <a:lvl2pPr marL="514350" indent="-171450">
              <a:buClr>
                <a:srgbClr val="002060"/>
              </a:buClr>
              <a:buFont typeface="Wingdings" panose="05000000000000000000" pitchFamily="2" charset="2"/>
              <a:buChar char="§"/>
              <a:defRPr sz="2100"/>
            </a:lvl2pPr>
            <a:lvl3pPr marL="857250" indent="-171450">
              <a:buClr>
                <a:srgbClr val="002060"/>
              </a:buClr>
              <a:buFont typeface="Wingdings" panose="05000000000000000000" pitchFamily="2" charset="2"/>
              <a:buChar char="§"/>
              <a:defRPr sz="1800"/>
            </a:lvl3pPr>
            <a:lvl4pPr marL="1200150" indent="-171450">
              <a:buClr>
                <a:srgbClr val="002060"/>
              </a:buClr>
              <a:buFont typeface="Wingdings" panose="05000000000000000000" pitchFamily="2" charset="2"/>
              <a:buChar char="§"/>
              <a:defRPr sz="1500"/>
            </a:lvl4pPr>
            <a:lvl5pPr marL="1543050" indent="-171450">
              <a:buClr>
                <a:srgbClr val="002060"/>
              </a:buClr>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75197" y="331179"/>
            <a:ext cx="6600773" cy="497489"/>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7" name="Slide Number Placeholder 5">
            <a:extLst>
              <a:ext uri="{FF2B5EF4-FFF2-40B4-BE49-F238E27FC236}">
                <a16:creationId xmlns:a16="http://schemas.microsoft.com/office/drawing/2014/main" id="{BC9ECE83-2C5D-4735-87DE-29D9A936A869}"/>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pic>
        <p:nvPicPr>
          <p:cNvPr id="6" name="Picture 5">
            <a:extLst>
              <a:ext uri="{FF2B5EF4-FFF2-40B4-BE49-F238E27FC236}">
                <a16:creationId xmlns:a16="http://schemas.microsoft.com/office/drawing/2014/main" id="{25F8275B-828C-4E91-BDC0-1B265CFBAE1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1076959"/>
            <a:ext cx="3031236" cy="4114800"/>
          </a:xfrm>
          <a:prstGeom prst="rect">
            <a:avLst/>
          </a:prstGeom>
        </p:spPr>
      </p:pic>
    </p:spTree>
    <p:extLst>
      <p:ext uri="{BB962C8B-B14F-4D97-AF65-F5344CB8AC3E}">
        <p14:creationId xmlns:p14="http://schemas.microsoft.com/office/powerpoint/2010/main" val="11077817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E29C82-FA43-4FB3-BB74-EE28C5C43FC2}"/>
              </a:ext>
            </a:extLst>
          </p:cNvPr>
          <p:cNvSpPr>
            <a:spLocks noGrp="1"/>
          </p:cNvSpPr>
          <p:nvPr>
            <p:ph idx="1"/>
          </p:nvPr>
        </p:nvSpPr>
        <p:spPr>
          <a:xfrm>
            <a:off x="3596640" y="1310603"/>
            <a:ext cx="5140959" cy="3263504"/>
          </a:xfrm>
        </p:spPr>
        <p:txBody>
          <a:bodyPr/>
          <a:lstStyle>
            <a:lvl1pPr marL="171450" indent="-171450">
              <a:buClr>
                <a:srgbClr val="002060"/>
              </a:buClr>
              <a:buFont typeface="Wingdings" panose="05000000000000000000" pitchFamily="2" charset="2"/>
              <a:buChar char="§"/>
              <a:defRPr/>
            </a:lvl1pPr>
            <a:lvl2pPr marL="514350" indent="-171450">
              <a:buClr>
                <a:srgbClr val="002060"/>
              </a:buClr>
              <a:buFont typeface="Wingdings" panose="05000000000000000000" pitchFamily="2" charset="2"/>
              <a:buChar char="§"/>
              <a:defRPr sz="2100"/>
            </a:lvl2pPr>
            <a:lvl3pPr marL="857250" indent="-171450">
              <a:buClr>
                <a:srgbClr val="002060"/>
              </a:buClr>
              <a:buFont typeface="Wingdings" panose="05000000000000000000" pitchFamily="2" charset="2"/>
              <a:buChar char="§"/>
              <a:defRPr sz="1800"/>
            </a:lvl3pPr>
            <a:lvl4pPr marL="1200150" indent="-171450">
              <a:buClr>
                <a:srgbClr val="002060"/>
              </a:buClr>
              <a:buFont typeface="Wingdings" panose="05000000000000000000" pitchFamily="2" charset="2"/>
              <a:buChar char="§"/>
              <a:defRPr sz="1500"/>
            </a:lvl4pPr>
            <a:lvl5pPr marL="1543050" indent="-171450">
              <a:buClr>
                <a:srgbClr val="002060"/>
              </a:buClr>
              <a:buFont typeface="Wingdings" panose="05000000000000000000" pitchFamily="2" charset="2"/>
              <a:buChar cha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6AB22-BF4B-4F5D-A47E-33B23B780142}"/>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5" name="Footer Placeholder 4">
            <a:extLst>
              <a:ext uri="{FF2B5EF4-FFF2-40B4-BE49-F238E27FC236}">
                <a16:creationId xmlns:a16="http://schemas.microsoft.com/office/drawing/2014/main" id="{CC13A7EA-07D2-4816-97F8-C1420A52B414}"/>
              </a:ext>
            </a:extLst>
          </p:cNvPr>
          <p:cNvSpPr>
            <a:spLocks noGrp="1"/>
          </p:cNvSpPr>
          <p:nvPr>
            <p:ph type="ftr" sz="quarter" idx="11"/>
          </p:nvPr>
        </p:nvSpPr>
        <p:spPr/>
        <p:txBody>
          <a:bodyPr/>
          <a:lstStyle/>
          <a:p>
            <a:endParaRPr lang="en-US" dirty="0"/>
          </a:p>
        </p:txBody>
      </p:sp>
      <p:sp>
        <p:nvSpPr>
          <p:cNvPr id="8" name="Title 1">
            <a:extLst>
              <a:ext uri="{FF2B5EF4-FFF2-40B4-BE49-F238E27FC236}">
                <a16:creationId xmlns:a16="http://schemas.microsoft.com/office/drawing/2014/main" id="{42AC51CA-A89F-4089-A1C1-E24B56F77B1C}"/>
              </a:ext>
            </a:extLst>
          </p:cNvPr>
          <p:cNvSpPr>
            <a:spLocks noGrp="1"/>
          </p:cNvSpPr>
          <p:nvPr>
            <p:ph type="title"/>
          </p:nvPr>
        </p:nvSpPr>
        <p:spPr>
          <a:xfrm>
            <a:off x="375197" y="331179"/>
            <a:ext cx="6600773" cy="497489"/>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7" name="Slide Number Placeholder 5">
            <a:extLst>
              <a:ext uri="{FF2B5EF4-FFF2-40B4-BE49-F238E27FC236}">
                <a16:creationId xmlns:a16="http://schemas.microsoft.com/office/drawing/2014/main" id="{BC9ECE83-2C5D-4735-87DE-29D9A936A869}"/>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pic>
        <p:nvPicPr>
          <p:cNvPr id="11" name="Picture 10">
            <a:extLst>
              <a:ext uri="{FF2B5EF4-FFF2-40B4-BE49-F238E27FC236}">
                <a16:creationId xmlns:a16="http://schemas.microsoft.com/office/drawing/2014/main" id="{47111D2F-7291-4564-A0FD-75CF479CA5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250"/>
          <a:stretch/>
        </p:blipFill>
        <p:spPr>
          <a:xfrm>
            <a:off x="0" y="1089660"/>
            <a:ext cx="3086100" cy="4114800"/>
          </a:xfrm>
          <a:prstGeom prst="rect">
            <a:avLst/>
          </a:prstGeom>
        </p:spPr>
      </p:pic>
    </p:spTree>
    <p:extLst>
      <p:ext uri="{BB962C8B-B14F-4D97-AF65-F5344CB8AC3E}">
        <p14:creationId xmlns:p14="http://schemas.microsoft.com/office/powerpoint/2010/main" val="17329914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Alternate Title Page with Image A">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121564" y="1451161"/>
            <a:ext cx="3772226" cy="1123139"/>
          </a:xfrm>
          <a:prstGeom prst="rect">
            <a:avLst/>
          </a:prstGeom>
        </p:spPr>
        <p:txBody>
          <a:bodyPr vert="horz" lIns="91440" tIns="45720" rIns="91440" bIns="45720" rtlCol="0" anchor="ctr">
            <a:normAutofit/>
          </a:bodyPr>
          <a:lstStyle>
            <a:lvl1pPr algn="r">
              <a:defRPr sz="2800" b="0" spc="0" baseline="0">
                <a:solidFill>
                  <a:schemeClr val="bg1"/>
                </a:solidFill>
                <a:latin typeface="Century Gothic" panose="020B0502020202020204" pitchFamily="34" charset="0"/>
              </a:defRPr>
            </a:lvl1pPr>
          </a:lstStyle>
          <a:p>
            <a:r>
              <a:rPr lang="en-US"/>
              <a:t>CLICK TO EDIT </a:t>
            </a:r>
            <a:br>
              <a:rPr lang="en-US"/>
            </a:br>
            <a:r>
              <a:rPr lang="en-US"/>
              <a:t>MASTER TITLE STYLE</a:t>
            </a:r>
          </a:p>
        </p:txBody>
      </p:sp>
      <p:sp>
        <p:nvSpPr>
          <p:cNvPr id="3" name="Picture Placeholder 2"/>
          <p:cNvSpPr>
            <a:spLocks noGrp="1"/>
          </p:cNvSpPr>
          <p:nvPr>
            <p:ph type="pic" sz="quarter" idx="10"/>
          </p:nvPr>
        </p:nvSpPr>
        <p:spPr>
          <a:xfrm>
            <a:off x="-361" y="0"/>
            <a:ext cx="6432118" cy="5152407"/>
          </a:xfrm>
          <a:custGeom>
            <a:avLst/>
            <a:gdLst>
              <a:gd name="connsiteX0" fmla="*/ 0 w 8575675"/>
              <a:gd name="connsiteY0" fmla="*/ 0 h 6858000"/>
              <a:gd name="connsiteX1" fmla="*/ 8575675 w 8575675"/>
              <a:gd name="connsiteY1" fmla="*/ 0 h 6858000"/>
              <a:gd name="connsiteX2" fmla="*/ 8575675 w 8575675"/>
              <a:gd name="connsiteY2" fmla="*/ 6858000 h 6858000"/>
              <a:gd name="connsiteX3" fmla="*/ 0 w 8575675"/>
              <a:gd name="connsiteY3" fmla="*/ 6858000 h 6858000"/>
              <a:gd name="connsiteX4" fmla="*/ 0 w 8575675"/>
              <a:gd name="connsiteY4" fmla="*/ 0 h 6858000"/>
              <a:gd name="connsiteX0" fmla="*/ 0 w 8575675"/>
              <a:gd name="connsiteY0" fmla="*/ 0 h 6858000"/>
              <a:gd name="connsiteX1" fmla="*/ 8575675 w 8575675"/>
              <a:gd name="connsiteY1" fmla="*/ 0 h 6858000"/>
              <a:gd name="connsiteX2" fmla="*/ 8568047 w 8575675"/>
              <a:gd name="connsiteY2" fmla="*/ 564078 h 6858000"/>
              <a:gd name="connsiteX3" fmla="*/ 8575675 w 8575675"/>
              <a:gd name="connsiteY3" fmla="*/ 6858000 h 6858000"/>
              <a:gd name="connsiteX4" fmla="*/ 0 w 8575675"/>
              <a:gd name="connsiteY4" fmla="*/ 6858000 h 6858000"/>
              <a:gd name="connsiteX5" fmla="*/ 0 w 8575675"/>
              <a:gd name="connsiteY5" fmla="*/ 0 h 6858000"/>
              <a:gd name="connsiteX0" fmla="*/ 0 w 8575675"/>
              <a:gd name="connsiteY0" fmla="*/ 0 h 6858000"/>
              <a:gd name="connsiteX1" fmla="*/ 8575675 w 8575675"/>
              <a:gd name="connsiteY1" fmla="*/ 0 h 6858000"/>
              <a:gd name="connsiteX2" fmla="*/ 4649190 w 8575675"/>
              <a:gd name="connsiteY2" fmla="*/ 4132613 h 6858000"/>
              <a:gd name="connsiteX3" fmla="*/ 8575675 w 8575675"/>
              <a:gd name="connsiteY3" fmla="*/ 6858000 h 6858000"/>
              <a:gd name="connsiteX4" fmla="*/ 0 w 8575675"/>
              <a:gd name="connsiteY4" fmla="*/ 6858000 h 6858000"/>
              <a:gd name="connsiteX5" fmla="*/ 0 w 8575675"/>
              <a:gd name="connsiteY5" fmla="*/ 0 h 6858000"/>
              <a:gd name="connsiteX0" fmla="*/ 0 w 8575675"/>
              <a:gd name="connsiteY0" fmla="*/ 0 h 6858000"/>
              <a:gd name="connsiteX1" fmla="*/ 8575675 w 8575675"/>
              <a:gd name="connsiteY1" fmla="*/ 0 h 6858000"/>
              <a:gd name="connsiteX2" fmla="*/ 4649190 w 8575675"/>
              <a:gd name="connsiteY2" fmla="*/ 4132613 h 6858000"/>
              <a:gd name="connsiteX3" fmla="*/ 8575675 w 8575675"/>
              <a:gd name="connsiteY3" fmla="*/ 6858000 h 6858000"/>
              <a:gd name="connsiteX4" fmla="*/ 0 w 8575675"/>
              <a:gd name="connsiteY4" fmla="*/ 6858000 h 6858000"/>
              <a:gd name="connsiteX5" fmla="*/ 0 w 8575675"/>
              <a:gd name="connsiteY5" fmla="*/ 0 h 6858000"/>
              <a:gd name="connsiteX0" fmla="*/ 0 w 8575675"/>
              <a:gd name="connsiteY0" fmla="*/ 0 h 6863938"/>
              <a:gd name="connsiteX1" fmla="*/ 8575675 w 8575675"/>
              <a:gd name="connsiteY1" fmla="*/ 0 h 6863938"/>
              <a:gd name="connsiteX2" fmla="*/ 4649190 w 8575675"/>
              <a:gd name="connsiteY2" fmla="*/ 4132613 h 6863938"/>
              <a:gd name="connsiteX3" fmla="*/ 1604860 w 8575675"/>
              <a:gd name="connsiteY3" fmla="*/ 6863938 h 6863938"/>
              <a:gd name="connsiteX4" fmla="*/ 0 w 8575675"/>
              <a:gd name="connsiteY4" fmla="*/ 6858000 h 6863938"/>
              <a:gd name="connsiteX5" fmla="*/ 0 w 8575675"/>
              <a:gd name="connsiteY5" fmla="*/ 0 h 6863938"/>
              <a:gd name="connsiteX0" fmla="*/ 0 w 8575675"/>
              <a:gd name="connsiteY0" fmla="*/ 0 h 6863938"/>
              <a:gd name="connsiteX1" fmla="*/ 8575675 w 8575675"/>
              <a:gd name="connsiteY1" fmla="*/ 0 h 6863938"/>
              <a:gd name="connsiteX2" fmla="*/ 4649190 w 8575675"/>
              <a:gd name="connsiteY2" fmla="*/ 4132613 h 6863938"/>
              <a:gd name="connsiteX3" fmla="*/ 1604860 w 8575675"/>
              <a:gd name="connsiteY3" fmla="*/ 6863938 h 6863938"/>
              <a:gd name="connsiteX4" fmla="*/ 0 w 8575675"/>
              <a:gd name="connsiteY4" fmla="*/ 6858000 h 6863938"/>
              <a:gd name="connsiteX5" fmla="*/ 0 w 8575675"/>
              <a:gd name="connsiteY5" fmla="*/ 0 h 6863938"/>
              <a:gd name="connsiteX0" fmla="*/ 0 w 8575675"/>
              <a:gd name="connsiteY0" fmla="*/ 0 h 6869876"/>
              <a:gd name="connsiteX1" fmla="*/ 8575675 w 8575675"/>
              <a:gd name="connsiteY1" fmla="*/ 0 h 6869876"/>
              <a:gd name="connsiteX2" fmla="*/ 4649190 w 8575675"/>
              <a:gd name="connsiteY2" fmla="*/ 4132613 h 6869876"/>
              <a:gd name="connsiteX3" fmla="*/ 1563296 w 8575675"/>
              <a:gd name="connsiteY3" fmla="*/ 6869876 h 6869876"/>
              <a:gd name="connsiteX4" fmla="*/ 0 w 8575675"/>
              <a:gd name="connsiteY4" fmla="*/ 6858000 h 6869876"/>
              <a:gd name="connsiteX5" fmla="*/ 0 w 8575675"/>
              <a:gd name="connsiteY5" fmla="*/ 0 h 6869876"/>
              <a:gd name="connsiteX0" fmla="*/ 0 w 8575675"/>
              <a:gd name="connsiteY0" fmla="*/ 0 h 6869876"/>
              <a:gd name="connsiteX1" fmla="*/ 8575675 w 8575675"/>
              <a:gd name="connsiteY1" fmla="*/ 0 h 6869876"/>
              <a:gd name="connsiteX2" fmla="*/ 4649190 w 8575675"/>
              <a:gd name="connsiteY2" fmla="*/ 4132613 h 6869876"/>
              <a:gd name="connsiteX3" fmla="*/ 1563296 w 8575675"/>
              <a:gd name="connsiteY3" fmla="*/ 6869876 h 6869876"/>
              <a:gd name="connsiteX4" fmla="*/ 0 w 8575675"/>
              <a:gd name="connsiteY4" fmla="*/ 6858000 h 6869876"/>
              <a:gd name="connsiteX5" fmla="*/ 0 w 8575675"/>
              <a:gd name="connsiteY5" fmla="*/ 0 h 6869876"/>
              <a:gd name="connsiteX0" fmla="*/ 0 w 8575675"/>
              <a:gd name="connsiteY0" fmla="*/ 0 h 6869876"/>
              <a:gd name="connsiteX1" fmla="*/ 8575675 w 8575675"/>
              <a:gd name="connsiteY1" fmla="*/ 0 h 6869876"/>
              <a:gd name="connsiteX2" fmla="*/ 4649190 w 8575675"/>
              <a:gd name="connsiteY2" fmla="*/ 4132613 h 6869876"/>
              <a:gd name="connsiteX3" fmla="*/ 1563296 w 8575675"/>
              <a:gd name="connsiteY3" fmla="*/ 6869876 h 6869876"/>
              <a:gd name="connsiteX4" fmla="*/ 0 w 8575675"/>
              <a:gd name="connsiteY4" fmla="*/ 6858000 h 6869876"/>
              <a:gd name="connsiteX5" fmla="*/ 0 w 8575675"/>
              <a:gd name="connsiteY5" fmla="*/ 0 h 6869876"/>
              <a:gd name="connsiteX0" fmla="*/ 5938 w 8581613"/>
              <a:gd name="connsiteY0" fmla="*/ 0 h 6869876"/>
              <a:gd name="connsiteX1" fmla="*/ 8581613 w 8581613"/>
              <a:gd name="connsiteY1" fmla="*/ 0 h 6869876"/>
              <a:gd name="connsiteX2" fmla="*/ 4655128 w 8581613"/>
              <a:gd name="connsiteY2" fmla="*/ 4132613 h 6869876"/>
              <a:gd name="connsiteX3" fmla="*/ 1569234 w 8581613"/>
              <a:gd name="connsiteY3" fmla="*/ 6869876 h 6869876"/>
              <a:gd name="connsiteX4" fmla="*/ 5938 w 8581613"/>
              <a:gd name="connsiteY4" fmla="*/ 6858000 h 6869876"/>
              <a:gd name="connsiteX5" fmla="*/ 0 w 8581613"/>
              <a:gd name="connsiteY5" fmla="*/ 771896 h 6869876"/>
              <a:gd name="connsiteX6" fmla="*/ 5938 w 8581613"/>
              <a:gd name="connsiteY6" fmla="*/ 0 h 6869876"/>
              <a:gd name="connsiteX0" fmla="*/ 5938 w 8581613"/>
              <a:gd name="connsiteY0" fmla="*/ 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5938 w 8581613"/>
              <a:gd name="connsiteY7" fmla="*/ 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454728 w 8581613"/>
              <a:gd name="connsiteY0" fmla="*/ 380010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454728 w 8581613"/>
              <a:gd name="connsiteY7" fmla="*/ 380010 h 6869876"/>
              <a:gd name="connsiteX0" fmla="*/ 1594118 w 8581613"/>
              <a:gd name="connsiteY0" fmla="*/ 352132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594118 w 8581613"/>
              <a:gd name="connsiteY7" fmla="*/ 352132 h 6869876"/>
              <a:gd name="connsiteX0" fmla="*/ 1594118 w 8581613"/>
              <a:gd name="connsiteY0" fmla="*/ 352132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594118 w 8581613"/>
              <a:gd name="connsiteY7" fmla="*/ 352132 h 6869876"/>
              <a:gd name="connsiteX0" fmla="*/ 1594118 w 8581613"/>
              <a:gd name="connsiteY0" fmla="*/ 352132 h 6869876"/>
              <a:gd name="connsiteX1" fmla="*/ 4292930 w 8581613"/>
              <a:gd name="connsiteY1" fmla="*/ 0 h 6869876"/>
              <a:gd name="connsiteX2" fmla="*/ 8581613 w 8581613"/>
              <a:gd name="connsiteY2" fmla="*/ 0 h 6869876"/>
              <a:gd name="connsiteX3" fmla="*/ 4655128 w 8581613"/>
              <a:gd name="connsiteY3" fmla="*/ 4132613 h 6869876"/>
              <a:gd name="connsiteX4" fmla="*/ 1569234 w 8581613"/>
              <a:gd name="connsiteY4" fmla="*/ 6869876 h 6869876"/>
              <a:gd name="connsiteX5" fmla="*/ 5938 w 8581613"/>
              <a:gd name="connsiteY5" fmla="*/ 6858000 h 6869876"/>
              <a:gd name="connsiteX6" fmla="*/ 0 w 8581613"/>
              <a:gd name="connsiteY6" fmla="*/ 771896 h 6869876"/>
              <a:gd name="connsiteX7" fmla="*/ 1594118 w 8581613"/>
              <a:gd name="connsiteY7" fmla="*/ 352132 h 6869876"/>
              <a:gd name="connsiteX0" fmla="*/ 1588662 w 8576157"/>
              <a:gd name="connsiteY0" fmla="*/ 352132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588662 w 8576157"/>
              <a:gd name="connsiteY7" fmla="*/ 352132 h 6869876"/>
              <a:gd name="connsiteX0" fmla="*/ 1733041 w 8576157"/>
              <a:gd name="connsiteY0" fmla="*/ 328069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733041 w 8576157"/>
              <a:gd name="connsiteY7" fmla="*/ 328069 h 6869876"/>
              <a:gd name="connsiteX0" fmla="*/ 1733041 w 8576157"/>
              <a:gd name="connsiteY0" fmla="*/ 328069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733041 w 8576157"/>
              <a:gd name="connsiteY7" fmla="*/ 328069 h 6869876"/>
              <a:gd name="connsiteX0" fmla="*/ 1733041 w 8576157"/>
              <a:gd name="connsiteY0" fmla="*/ 328069 h 6869876"/>
              <a:gd name="connsiteX1" fmla="*/ 4287474 w 8576157"/>
              <a:gd name="connsiteY1" fmla="*/ 0 h 6869876"/>
              <a:gd name="connsiteX2" fmla="*/ 8576157 w 8576157"/>
              <a:gd name="connsiteY2" fmla="*/ 0 h 6869876"/>
              <a:gd name="connsiteX3" fmla="*/ 4649672 w 8576157"/>
              <a:gd name="connsiteY3" fmla="*/ 4132613 h 6869876"/>
              <a:gd name="connsiteX4" fmla="*/ 1563778 w 8576157"/>
              <a:gd name="connsiteY4" fmla="*/ 6869876 h 6869876"/>
              <a:gd name="connsiteX5" fmla="*/ 482 w 8576157"/>
              <a:gd name="connsiteY5" fmla="*/ 6858000 h 6869876"/>
              <a:gd name="connsiteX6" fmla="*/ 1419 w 8576157"/>
              <a:gd name="connsiteY6" fmla="*/ 782209 h 6869876"/>
              <a:gd name="connsiteX7" fmla="*/ 1733041 w 8576157"/>
              <a:gd name="connsiteY7" fmla="*/ 328069 h 6869876"/>
              <a:gd name="connsiteX0" fmla="*/ 1733041 w 8576157"/>
              <a:gd name="connsiteY0" fmla="*/ 328069 h 6869876"/>
              <a:gd name="connsiteX1" fmla="*/ 2248668 w 8576157"/>
              <a:gd name="connsiteY1" fmla="*/ 237194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252105 w 8576157"/>
              <a:gd name="connsiteY1" fmla="*/ 312821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252105 w 8576157"/>
              <a:gd name="connsiteY1" fmla="*/ 312821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382734 w 8576157"/>
              <a:gd name="connsiteY1" fmla="*/ 216568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643991 w 8576157"/>
              <a:gd name="connsiteY1" fmla="*/ 17531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643991 w 8576157"/>
              <a:gd name="connsiteY1" fmla="*/ 17531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891641 w 8576157"/>
              <a:gd name="connsiteY1" fmla="*/ 30231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 name="connsiteX0" fmla="*/ 1733041 w 8576157"/>
              <a:gd name="connsiteY0" fmla="*/ 328069 h 6869876"/>
              <a:gd name="connsiteX1" fmla="*/ 2939266 w 8576157"/>
              <a:gd name="connsiteY1" fmla="*/ 130867 h 6869876"/>
              <a:gd name="connsiteX2" fmla="*/ 4287474 w 8576157"/>
              <a:gd name="connsiteY2" fmla="*/ 0 h 6869876"/>
              <a:gd name="connsiteX3" fmla="*/ 8576157 w 8576157"/>
              <a:gd name="connsiteY3" fmla="*/ 0 h 6869876"/>
              <a:gd name="connsiteX4" fmla="*/ 4649672 w 8576157"/>
              <a:gd name="connsiteY4" fmla="*/ 4132613 h 6869876"/>
              <a:gd name="connsiteX5" fmla="*/ 1563778 w 8576157"/>
              <a:gd name="connsiteY5" fmla="*/ 6869876 h 6869876"/>
              <a:gd name="connsiteX6" fmla="*/ 482 w 8576157"/>
              <a:gd name="connsiteY6" fmla="*/ 6858000 h 6869876"/>
              <a:gd name="connsiteX7" fmla="*/ 1419 w 8576157"/>
              <a:gd name="connsiteY7" fmla="*/ 782209 h 6869876"/>
              <a:gd name="connsiteX8" fmla="*/ 1733041 w 8576157"/>
              <a:gd name="connsiteY8" fmla="*/ 328069 h 68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6157" h="6869876">
                <a:moveTo>
                  <a:pt x="1733041" y="328069"/>
                </a:moveTo>
                <a:cubicBezTo>
                  <a:pt x="2180584" y="235108"/>
                  <a:pt x="2395168" y="206457"/>
                  <a:pt x="2939266" y="130867"/>
                </a:cubicBezTo>
                <a:cubicBezTo>
                  <a:pt x="3374459" y="74351"/>
                  <a:pt x="3580090" y="42970"/>
                  <a:pt x="4287474" y="0"/>
                </a:cubicBezTo>
                <a:lnTo>
                  <a:pt x="8576157" y="0"/>
                </a:lnTo>
                <a:cubicBezTo>
                  <a:pt x="7599838" y="1056905"/>
                  <a:pt x="6665081" y="2232561"/>
                  <a:pt x="4649672" y="4132613"/>
                </a:cubicBezTo>
                <a:lnTo>
                  <a:pt x="1563778" y="6869876"/>
                </a:lnTo>
                <a:lnTo>
                  <a:pt x="482" y="6858000"/>
                </a:lnTo>
                <a:cubicBezTo>
                  <a:pt x="-1497" y="4829299"/>
                  <a:pt x="3398" y="2810910"/>
                  <a:pt x="1419" y="782209"/>
                </a:cubicBezTo>
                <a:cubicBezTo>
                  <a:pt x="9336" y="786167"/>
                  <a:pt x="998694" y="473705"/>
                  <a:pt x="1733041" y="328069"/>
                </a:cubicBezTo>
                <a:close/>
              </a:path>
            </a:pathLst>
          </a:custGeom>
          <a:ln w="38100">
            <a:solidFill>
              <a:srgbClr val="03779B"/>
            </a:solidFill>
          </a:ln>
        </p:spPr>
        <p:txBody>
          <a:bodyPr/>
          <a:lstStyle>
            <a:lvl1pPr>
              <a:defRPr>
                <a:latin typeface="Century Gothic" panose="020B0502020202020204" pitchFamily="34" charset="0"/>
              </a:defRPr>
            </a:lvl1pPr>
          </a:lstStyle>
          <a:p>
            <a:endParaRPr lang="en-US" dirty="0"/>
          </a:p>
        </p:txBody>
      </p:sp>
      <p:sp>
        <p:nvSpPr>
          <p:cNvPr id="10" name="Text Placeholder 14"/>
          <p:cNvSpPr>
            <a:spLocks noGrp="1"/>
          </p:cNvSpPr>
          <p:nvPr>
            <p:ph type="body" sz="quarter" idx="11" hasCustomPrompt="1"/>
          </p:nvPr>
        </p:nvSpPr>
        <p:spPr>
          <a:xfrm>
            <a:off x="4050145" y="2866111"/>
            <a:ext cx="4843645" cy="352425"/>
          </a:xfrm>
          <a:prstGeom prst="rect">
            <a:avLst/>
          </a:prstGeom>
        </p:spPr>
        <p:txBody>
          <a:bodyPr/>
          <a:lstStyle>
            <a:lvl1pPr marL="0" indent="0" algn="r">
              <a:buNone/>
              <a:defRPr sz="1350" b="0" i="0" baseline="0">
                <a:solidFill>
                  <a:schemeClr val="bg1"/>
                </a:solidFill>
                <a:latin typeface="Century Gothic" panose="020B0502020202020204" pitchFamily="34" charset="0"/>
                <a:ea typeface="Century Gothic" panose="020B0502020202020204" pitchFamily="34" charset="0"/>
                <a:cs typeface="Arial" charset="0"/>
              </a:defRPr>
            </a:lvl1pPr>
          </a:lstStyle>
          <a:p>
            <a:pPr lvl="0"/>
            <a:r>
              <a:rPr lang="en-US"/>
              <a:t>Click to edit Name | Date</a:t>
            </a:r>
          </a:p>
        </p:txBody>
      </p:sp>
      <p:pic>
        <p:nvPicPr>
          <p:cNvPr id="5" name="Picture 4">
            <a:extLst>
              <a:ext uri="{FF2B5EF4-FFF2-40B4-BE49-F238E27FC236}">
                <a16:creationId xmlns:a16="http://schemas.microsoft.com/office/drawing/2014/main" id="{711E9FDF-EFB1-428D-BEB0-1CFF9C77525D}"/>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051963" y="4252643"/>
            <a:ext cx="1694045" cy="576923"/>
          </a:xfrm>
          <a:prstGeom prst="rect">
            <a:avLst/>
          </a:prstGeom>
        </p:spPr>
      </p:pic>
    </p:spTree>
    <p:extLst>
      <p:ext uri="{BB962C8B-B14F-4D97-AF65-F5344CB8AC3E}">
        <p14:creationId xmlns:p14="http://schemas.microsoft.com/office/powerpoint/2010/main" val="133308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03209-76CF-4459-B69B-0A25C2C8BDBD}"/>
              </a:ext>
            </a:extLst>
          </p:cNvPr>
          <p:cNvSpPr>
            <a:spLocks noGrp="1"/>
          </p:cNvSpPr>
          <p:nvPr>
            <p:ph type="title"/>
          </p:nvPr>
        </p:nvSpPr>
        <p:spPr>
          <a:xfrm>
            <a:off x="341370" y="4167"/>
            <a:ext cx="7704080" cy="994172"/>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2291CB0F-4303-40C4-A714-8D514F7BEF7A}"/>
              </a:ext>
            </a:extLst>
          </p:cNvPr>
          <p:cNvSpPr>
            <a:spLocks noGrp="1"/>
          </p:cNvSpPr>
          <p:nvPr>
            <p:ph type="body" idx="1"/>
          </p:nvPr>
        </p:nvSpPr>
        <p:spPr>
          <a:xfrm>
            <a:off x="341370" y="1198364"/>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AAA9D2F-3A93-4302-8757-7D47440E8BF1}"/>
              </a:ext>
            </a:extLst>
          </p:cNvPr>
          <p:cNvSpPr>
            <a:spLocks noGrp="1"/>
          </p:cNvSpPr>
          <p:nvPr>
            <p:ph sz="half" idx="2"/>
          </p:nvPr>
        </p:nvSpPr>
        <p:spPr>
          <a:xfrm>
            <a:off x="341370" y="1878805"/>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842717-1393-4E34-9E66-F3E5DF4356AD}"/>
              </a:ext>
            </a:extLst>
          </p:cNvPr>
          <p:cNvSpPr>
            <a:spLocks noGrp="1"/>
          </p:cNvSpPr>
          <p:nvPr>
            <p:ph type="body" sz="quarter" idx="3"/>
          </p:nvPr>
        </p:nvSpPr>
        <p:spPr>
          <a:xfrm>
            <a:off x="4629150" y="1197215"/>
            <a:ext cx="417348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ABB8BA4C-1EC8-49FB-BB86-E62639CB8B5B}"/>
              </a:ext>
            </a:extLst>
          </p:cNvPr>
          <p:cNvSpPr>
            <a:spLocks noGrp="1"/>
          </p:cNvSpPr>
          <p:nvPr>
            <p:ph sz="quarter" idx="4"/>
          </p:nvPr>
        </p:nvSpPr>
        <p:spPr>
          <a:xfrm>
            <a:off x="4629150" y="1878806"/>
            <a:ext cx="417348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EE74484-9CF5-45C9-98AB-BE863D2CE06E}"/>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8" name="Footer Placeholder 7">
            <a:extLst>
              <a:ext uri="{FF2B5EF4-FFF2-40B4-BE49-F238E27FC236}">
                <a16:creationId xmlns:a16="http://schemas.microsoft.com/office/drawing/2014/main" id="{3AD32C6B-EE7D-40F5-9FA2-2885CD2E8500}"/>
              </a:ext>
            </a:extLst>
          </p:cNvPr>
          <p:cNvSpPr>
            <a:spLocks noGrp="1"/>
          </p:cNvSpPr>
          <p:nvPr>
            <p:ph type="ftr" sz="quarter" idx="11"/>
          </p:nvPr>
        </p:nvSpPr>
        <p:spPr/>
        <p:txBody>
          <a:bodyPr/>
          <a:lstStyle/>
          <a:p>
            <a:endParaRPr lang="en-US" dirty="0"/>
          </a:p>
        </p:txBody>
      </p:sp>
      <p:sp>
        <p:nvSpPr>
          <p:cNvPr id="10" name="Slide Number Placeholder 5">
            <a:extLst>
              <a:ext uri="{FF2B5EF4-FFF2-40B4-BE49-F238E27FC236}">
                <a16:creationId xmlns:a16="http://schemas.microsoft.com/office/drawing/2014/main" id="{0F37023D-EC39-4A8D-8A78-130488EB2FCE}"/>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16126241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Alternate Title Page_Custom">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03B9CE-105A-4126-8595-AC58129E9A2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051963" y="4252643"/>
            <a:ext cx="1694045" cy="576923"/>
          </a:xfrm>
          <a:prstGeom prst="rect">
            <a:avLst/>
          </a:prstGeom>
        </p:spPr>
      </p:pic>
      <p:pic>
        <p:nvPicPr>
          <p:cNvPr id="7" name="Picture 6">
            <a:extLst>
              <a:ext uri="{FF2B5EF4-FFF2-40B4-BE49-F238E27FC236}">
                <a16:creationId xmlns:a16="http://schemas.microsoft.com/office/drawing/2014/main" id="{D4822091-CB70-4B85-9CC0-DA3250FEE27B}"/>
              </a:ext>
            </a:extLst>
          </p:cNvPr>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1" y="0"/>
            <a:ext cx="5121565" cy="51435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28127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A0050-7F0F-4370-AE0B-6230918A3675}"/>
              </a:ext>
            </a:extLst>
          </p:cNvPr>
          <p:cNvSpPr>
            <a:spLocks noGrp="1"/>
          </p:cNvSpPr>
          <p:nvPr>
            <p:ph type="title"/>
          </p:nvPr>
        </p:nvSpPr>
        <p:spPr>
          <a:xfrm>
            <a:off x="343761" y="0"/>
            <a:ext cx="7088459" cy="994172"/>
          </a:xfrm>
          <a:prstGeom prst="rect">
            <a:avLst/>
          </a:prstGeom>
        </p:spPr>
        <p:txBody>
          <a:bodyPr/>
          <a:lstStyle>
            <a:lvl1pPr>
              <a:defRPr>
                <a:latin typeface="Century Gothic" panose="020B0502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B2EE3464-3F6E-4575-820F-682CF87B0C1F}"/>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4" name="Footer Placeholder 3">
            <a:extLst>
              <a:ext uri="{FF2B5EF4-FFF2-40B4-BE49-F238E27FC236}">
                <a16:creationId xmlns:a16="http://schemas.microsoft.com/office/drawing/2014/main" id="{5BD65CCE-E076-481B-901C-15BE8B8EC0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77194A-9BDA-482C-A60A-C2A5AD1F4E91}"/>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651346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1E34CE-CD68-4230-9722-BC05CD29FC8E}"/>
              </a:ext>
            </a:extLst>
          </p:cNvPr>
          <p:cNvSpPr>
            <a:spLocks noGrp="1"/>
          </p:cNvSpPr>
          <p:nvPr>
            <p:ph type="dt" sz="half" idx="10"/>
          </p:nvPr>
        </p:nvSpPr>
        <p:spPr/>
        <p:txBody>
          <a:bodyPr/>
          <a:lstStyle/>
          <a:p>
            <a:fld id="{4797799D-48AF-41BA-8490-2117AF7BF97F}" type="datetimeFigureOut">
              <a:rPr lang="en-US" smtClean="0"/>
              <a:t>7/13/2023</a:t>
            </a:fld>
            <a:endParaRPr lang="en-US" dirty="0"/>
          </a:p>
        </p:txBody>
      </p:sp>
      <p:sp>
        <p:nvSpPr>
          <p:cNvPr id="3" name="Footer Placeholder 2">
            <a:extLst>
              <a:ext uri="{FF2B5EF4-FFF2-40B4-BE49-F238E27FC236}">
                <a16:creationId xmlns:a16="http://schemas.microsoft.com/office/drawing/2014/main" id="{5C735421-AE90-4733-ADF9-EE8C15D8DE52}"/>
              </a:ext>
            </a:extLst>
          </p:cNvPr>
          <p:cNvSpPr>
            <a:spLocks noGrp="1"/>
          </p:cNvSpPr>
          <p:nvPr>
            <p:ph type="ftr" sz="quarter" idx="11"/>
          </p:nvPr>
        </p:nvSpPr>
        <p:spPr/>
        <p:txBody>
          <a:bodyPr/>
          <a:lstStyle/>
          <a:p>
            <a:endParaRPr lang="en-US" dirty="0"/>
          </a:p>
        </p:txBody>
      </p:sp>
      <p:sp>
        <p:nvSpPr>
          <p:cNvPr id="5" name="Slide Number Placeholder 5">
            <a:extLst>
              <a:ext uri="{FF2B5EF4-FFF2-40B4-BE49-F238E27FC236}">
                <a16:creationId xmlns:a16="http://schemas.microsoft.com/office/drawing/2014/main" id="{718B41C7-12FF-47C0-B354-DF3AA16CEC70}"/>
              </a:ext>
            </a:extLst>
          </p:cNvPr>
          <p:cNvSpPr>
            <a:spLocks noGrp="1"/>
          </p:cNvSpPr>
          <p:nvPr>
            <p:ph type="sldNum" sz="quarter" idx="12"/>
          </p:nvPr>
        </p:nvSpPr>
        <p:spPr>
          <a:xfrm>
            <a:off x="6883400" y="4767263"/>
            <a:ext cx="2057400" cy="273844"/>
          </a:xfrm>
          <a:prstGeom prst="rect">
            <a:avLst/>
          </a:prstGeom>
        </p:spPr>
        <p:txBody>
          <a:bodyPr/>
          <a:lstStyle/>
          <a:p>
            <a:fld id="{68B82C89-54EC-4D90-B7E5-A6254AC09059}" type="slidenum">
              <a:rPr lang="en-US" smtClean="0"/>
              <a:t>‹#›</a:t>
            </a:fld>
            <a:endParaRPr lang="en-US" dirty="0"/>
          </a:p>
        </p:txBody>
      </p:sp>
    </p:spTree>
    <p:extLst>
      <p:ext uri="{BB962C8B-B14F-4D97-AF65-F5344CB8AC3E}">
        <p14:creationId xmlns:p14="http://schemas.microsoft.com/office/powerpoint/2010/main" val="3827384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3.jpeg"/><Relationship Id="rId3" Type="http://schemas.openxmlformats.org/officeDocument/2006/relationships/slideLayout" Target="../slideLayouts/slideLayout4.xml"/><Relationship Id="rId21" Type="http://schemas.openxmlformats.org/officeDocument/2006/relationships/image" Target="../media/image5.pn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19" Type="http://schemas.openxmlformats.org/officeDocument/2006/relationships/image" Target="../media/image1.jp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image" Target="../media/image1.jp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5.xml"/><Relationship Id="rId3" Type="http://schemas.openxmlformats.org/officeDocument/2006/relationships/slideLayout" Target="../slideLayouts/slideLayout27.xml"/><Relationship Id="rId21" Type="http://schemas.openxmlformats.org/officeDocument/2006/relationships/image" Target="../media/image4.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17.jpe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3.jpe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6.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2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7.xml"/><Relationship Id="rId3" Type="http://schemas.openxmlformats.org/officeDocument/2006/relationships/slideLayout" Target="../slideLayouts/slideLayout56.xml"/><Relationship Id="rId21" Type="http://schemas.openxmlformats.org/officeDocument/2006/relationships/image" Target="../media/image4.jpe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image" Target="../media/image22.jpe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3.jpe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rgbClr val="131C4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p>
        </p:txBody>
      </p:sp>
      <p:pic>
        <p:nvPicPr>
          <p:cNvPr id="4" name="Picture 3">
            <a:extLst>
              <a:ext uri="{FF2B5EF4-FFF2-40B4-BE49-F238E27FC236}">
                <a16:creationId xmlns:a16="http://schemas.microsoft.com/office/drawing/2014/main" id="{5D2AA9CB-E05A-4AE8-8EC2-0AEDFFE5A691}"/>
              </a:ext>
            </a:extLst>
          </p:cNvPr>
          <p:cNvPicPr>
            <a:picLocks noChangeAspect="1"/>
          </p:cNvPicPr>
          <p:nvPr userDrawn="1"/>
        </p:nvPicPr>
        <p:blipFill rotWithShape="1">
          <a:blip r:embed="rId3">
            <a:alphaModFix amt="20000"/>
            <a:extLst>
              <a:ext uri="{28A0092B-C50C-407E-A947-70E740481C1C}">
                <a14:useLocalDpi xmlns:a14="http://schemas.microsoft.com/office/drawing/2010/main" val="0"/>
              </a:ext>
            </a:extLst>
          </a:blip>
          <a:srcRect r="48305" b="15303"/>
          <a:stretch/>
        </p:blipFill>
        <p:spPr>
          <a:xfrm>
            <a:off x="1162" y="-15359"/>
            <a:ext cx="9142838" cy="5158859"/>
          </a:xfrm>
          <a:prstGeom prst="rect">
            <a:avLst/>
          </a:prstGeom>
        </p:spPr>
      </p:pic>
    </p:spTree>
    <p:extLst>
      <p:ext uri="{BB962C8B-B14F-4D97-AF65-F5344CB8AC3E}">
        <p14:creationId xmlns:p14="http://schemas.microsoft.com/office/powerpoint/2010/main" val="4179971296"/>
      </p:ext>
    </p:extLst>
  </p:cSld>
  <p:clrMap bg1="lt1" tx1="dk1" bg2="lt2" tx2="dk2" accent1="accent1" accent2="accent2" accent3="accent3" accent4="accent4" accent5="accent5" accent6="accent6" hlink="hlink" folHlink="folHlink"/>
  <p:sldLayoutIdLst>
    <p:sldLayoutId id="2147484206" r:id="rId1"/>
  </p:sldLayoutIdLst>
  <p:txStyles>
    <p:titleStyle>
      <a:lvl1pPr algn="l" rtl="0" fontAlgn="base">
        <a:lnSpc>
          <a:spcPct val="90000"/>
        </a:lnSpc>
        <a:spcBef>
          <a:spcPct val="0"/>
        </a:spcBef>
        <a:spcAft>
          <a:spcPct val="0"/>
        </a:spcAft>
        <a:defRPr sz="3450" b="1" kern="1200">
          <a:solidFill>
            <a:schemeClr val="bg1"/>
          </a:solidFill>
          <a:latin typeface="Arial" charset="0"/>
          <a:ea typeface="Arial" charset="0"/>
          <a:cs typeface="Arial" charset="0"/>
        </a:defRPr>
      </a:lvl1pPr>
      <a:lvl2pPr algn="l" rtl="0" fontAlgn="base">
        <a:lnSpc>
          <a:spcPct val="90000"/>
        </a:lnSpc>
        <a:spcBef>
          <a:spcPct val="0"/>
        </a:spcBef>
        <a:spcAft>
          <a:spcPct val="0"/>
        </a:spcAft>
        <a:defRPr sz="3450" b="1">
          <a:solidFill>
            <a:schemeClr val="bg1"/>
          </a:solidFill>
          <a:latin typeface="Arial" charset="0"/>
          <a:ea typeface="Arial" charset="0"/>
          <a:cs typeface="Arial" charset="0"/>
        </a:defRPr>
      </a:lvl2pPr>
      <a:lvl3pPr algn="l" rtl="0" fontAlgn="base">
        <a:lnSpc>
          <a:spcPct val="90000"/>
        </a:lnSpc>
        <a:spcBef>
          <a:spcPct val="0"/>
        </a:spcBef>
        <a:spcAft>
          <a:spcPct val="0"/>
        </a:spcAft>
        <a:defRPr sz="3450" b="1">
          <a:solidFill>
            <a:schemeClr val="bg1"/>
          </a:solidFill>
          <a:latin typeface="Arial" charset="0"/>
          <a:ea typeface="Arial" charset="0"/>
          <a:cs typeface="Arial" charset="0"/>
        </a:defRPr>
      </a:lvl3pPr>
      <a:lvl4pPr algn="l" rtl="0" fontAlgn="base">
        <a:lnSpc>
          <a:spcPct val="90000"/>
        </a:lnSpc>
        <a:spcBef>
          <a:spcPct val="0"/>
        </a:spcBef>
        <a:spcAft>
          <a:spcPct val="0"/>
        </a:spcAft>
        <a:defRPr sz="3450" b="1">
          <a:solidFill>
            <a:schemeClr val="bg1"/>
          </a:solidFill>
          <a:latin typeface="Arial" charset="0"/>
          <a:ea typeface="Arial" charset="0"/>
          <a:cs typeface="Arial" charset="0"/>
        </a:defRPr>
      </a:lvl4pPr>
      <a:lvl5pPr algn="l" rtl="0" fontAlgn="base">
        <a:lnSpc>
          <a:spcPct val="90000"/>
        </a:lnSpc>
        <a:spcBef>
          <a:spcPct val="0"/>
        </a:spcBef>
        <a:spcAft>
          <a:spcPct val="0"/>
        </a:spcAft>
        <a:defRPr sz="3450" b="1">
          <a:solidFill>
            <a:schemeClr val="bg1"/>
          </a:solidFill>
          <a:latin typeface="Arial" charset="0"/>
          <a:ea typeface="Arial" charset="0"/>
          <a:cs typeface="Arial" charset="0"/>
        </a:defRPr>
      </a:lvl5pPr>
      <a:lvl6pPr marL="342900" algn="l" rtl="0" fontAlgn="base">
        <a:lnSpc>
          <a:spcPct val="90000"/>
        </a:lnSpc>
        <a:spcBef>
          <a:spcPct val="0"/>
        </a:spcBef>
        <a:spcAft>
          <a:spcPct val="0"/>
        </a:spcAft>
        <a:defRPr sz="3450" b="1">
          <a:solidFill>
            <a:schemeClr val="bg1"/>
          </a:solidFill>
          <a:latin typeface="Arial" charset="0"/>
          <a:ea typeface="Arial" charset="0"/>
          <a:cs typeface="Arial" charset="0"/>
        </a:defRPr>
      </a:lvl6pPr>
      <a:lvl7pPr marL="685800" algn="l" rtl="0" fontAlgn="base">
        <a:lnSpc>
          <a:spcPct val="90000"/>
        </a:lnSpc>
        <a:spcBef>
          <a:spcPct val="0"/>
        </a:spcBef>
        <a:spcAft>
          <a:spcPct val="0"/>
        </a:spcAft>
        <a:defRPr sz="3450" b="1">
          <a:solidFill>
            <a:schemeClr val="bg1"/>
          </a:solidFill>
          <a:latin typeface="Arial" charset="0"/>
          <a:ea typeface="Arial" charset="0"/>
          <a:cs typeface="Arial" charset="0"/>
        </a:defRPr>
      </a:lvl7pPr>
      <a:lvl8pPr marL="1028700" algn="l" rtl="0" fontAlgn="base">
        <a:lnSpc>
          <a:spcPct val="90000"/>
        </a:lnSpc>
        <a:spcBef>
          <a:spcPct val="0"/>
        </a:spcBef>
        <a:spcAft>
          <a:spcPct val="0"/>
        </a:spcAft>
        <a:defRPr sz="3450" b="1">
          <a:solidFill>
            <a:schemeClr val="bg1"/>
          </a:solidFill>
          <a:latin typeface="Arial" charset="0"/>
          <a:ea typeface="Arial" charset="0"/>
          <a:cs typeface="Arial" charset="0"/>
        </a:defRPr>
      </a:lvl8pPr>
      <a:lvl9pPr marL="1371600" algn="l" rtl="0" fontAlgn="base">
        <a:lnSpc>
          <a:spcPct val="90000"/>
        </a:lnSpc>
        <a:spcBef>
          <a:spcPct val="0"/>
        </a:spcBef>
        <a:spcAft>
          <a:spcPct val="0"/>
        </a:spcAft>
        <a:defRPr sz="3450" b="1">
          <a:solidFill>
            <a:schemeClr val="bg1"/>
          </a:solidFill>
          <a:latin typeface="Arial" charset="0"/>
          <a:ea typeface="Arial" charset="0"/>
          <a:cs typeface="Arial" charset="0"/>
        </a:defRPr>
      </a:lvl9pPr>
    </p:titleStyle>
    <p:bodyStyle>
      <a:lvl1pPr marL="171450" indent="-171450" algn="l" rtl="0" fontAlgn="base">
        <a:lnSpc>
          <a:spcPct val="90000"/>
        </a:lnSpc>
        <a:spcBef>
          <a:spcPts val="750"/>
        </a:spcBef>
        <a:spcAft>
          <a:spcPct val="0"/>
        </a:spcAft>
        <a:buFont typeface="Arial" charset="0"/>
        <a:buChar char="•"/>
        <a:defRPr sz="2100" kern="1200">
          <a:solidFill>
            <a:schemeClr val="tx1"/>
          </a:solidFill>
          <a:latin typeface="+mn-lt"/>
          <a:ea typeface="+mn-ea"/>
          <a:cs typeface="+mn-cs"/>
        </a:defRPr>
      </a:lvl1pPr>
      <a:lvl2pPr marL="514350" indent="-171450" algn="l" rtl="0" fontAlgn="base">
        <a:lnSpc>
          <a:spcPct val="90000"/>
        </a:lnSpc>
        <a:spcBef>
          <a:spcPts val="375"/>
        </a:spcBef>
        <a:spcAft>
          <a:spcPct val="0"/>
        </a:spcAft>
        <a:buFont typeface="Arial" charset="0"/>
        <a:buChar char="•"/>
        <a:defRPr sz="1800" kern="1200">
          <a:solidFill>
            <a:schemeClr val="tx1"/>
          </a:solidFill>
          <a:latin typeface="+mn-lt"/>
          <a:ea typeface="+mn-ea"/>
          <a:cs typeface="+mn-cs"/>
        </a:defRPr>
      </a:lvl2pPr>
      <a:lvl3pPr marL="857250" indent="-171450" algn="l" rtl="0" fontAlgn="base">
        <a:lnSpc>
          <a:spcPct val="90000"/>
        </a:lnSpc>
        <a:spcBef>
          <a:spcPts val="375"/>
        </a:spcBef>
        <a:spcAft>
          <a:spcPct val="0"/>
        </a:spcAft>
        <a:buFont typeface="Arial" charset="0"/>
        <a:buChar char="•"/>
        <a:defRPr sz="1500" kern="1200">
          <a:solidFill>
            <a:schemeClr val="tx1"/>
          </a:solidFill>
          <a:latin typeface="+mn-lt"/>
          <a:ea typeface="+mn-ea"/>
          <a:cs typeface="+mn-cs"/>
        </a:defRPr>
      </a:lvl3pPr>
      <a:lvl4pPr marL="1200150" indent="-171450" algn="l" rtl="0" fontAlgn="base">
        <a:lnSpc>
          <a:spcPct val="90000"/>
        </a:lnSpc>
        <a:spcBef>
          <a:spcPts val="375"/>
        </a:spcBef>
        <a:spcAft>
          <a:spcPct val="0"/>
        </a:spcAft>
        <a:buFont typeface="Arial" charset="0"/>
        <a:buChar char="•"/>
        <a:defRPr kern="1200">
          <a:solidFill>
            <a:schemeClr val="tx1"/>
          </a:solidFill>
          <a:latin typeface="+mn-lt"/>
          <a:ea typeface="+mn-ea"/>
          <a:cs typeface="+mn-cs"/>
        </a:defRPr>
      </a:lvl4pPr>
      <a:lvl5pPr marL="1543050" indent="-171450" algn="l" rtl="0" fontAlgn="base">
        <a:lnSpc>
          <a:spcPct val="90000"/>
        </a:lnSpc>
        <a:spcBef>
          <a:spcPts val="375"/>
        </a:spcBef>
        <a:spcAft>
          <a:spcPct val="0"/>
        </a:spcAft>
        <a:buFont typeface="Arial"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E444D0-5062-44B3-BEAB-92390553105A}"/>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a:stretch/>
        </p:blipFill>
        <p:spPr>
          <a:xfrm>
            <a:off x="0" y="-9818"/>
            <a:ext cx="9155430" cy="1140237"/>
          </a:xfrm>
          <a:prstGeom prst="rect">
            <a:avLst/>
          </a:prstGeom>
        </p:spPr>
      </p:pic>
      <p:pic>
        <p:nvPicPr>
          <p:cNvPr id="12" name="Picture 11">
            <a:extLst>
              <a:ext uri="{FF2B5EF4-FFF2-40B4-BE49-F238E27FC236}">
                <a16:creationId xmlns:a16="http://schemas.microsoft.com/office/drawing/2014/main" id="{CC12FA55-CC32-5C40-BB34-020424F70FC1}"/>
              </a:ext>
            </a:extLst>
          </p:cNvPr>
          <p:cNvPicPr>
            <a:picLocks noChangeAspect="1"/>
          </p:cNvPicPr>
          <p:nvPr userDrawn="1"/>
        </p:nvPicPr>
        <p:blipFill rotWithShape="1">
          <a:blip r:embed="rId19">
            <a:alphaModFix amt="20000"/>
            <a:extLst>
              <a:ext uri="{28A0092B-C50C-407E-A947-70E740481C1C}">
                <a14:useLocalDpi xmlns:a14="http://schemas.microsoft.com/office/drawing/2010/main" val="0"/>
              </a:ext>
            </a:extLst>
          </a:blip>
          <a:srcRect t="15486" r="48305" b="67089"/>
          <a:stretch/>
        </p:blipFill>
        <p:spPr>
          <a:xfrm>
            <a:off x="1163" y="-9819"/>
            <a:ext cx="9142838" cy="1061379"/>
          </a:xfrm>
          <a:prstGeom prst="rect">
            <a:avLst/>
          </a:prstGeom>
        </p:spPr>
      </p:pic>
      <p:sp>
        <p:nvSpPr>
          <p:cNvPr id="3" name="Text Placeholder 2">
            <a:extLst>
              <a:ext uri="{FF2B5EF4-FFF2-40B4-BE49-F238E27FC236}">
                <a16:creationId xmlns:a16="http://schemas.microsoft.com/office/drawing/2014/main" id="{6A1E448E-2A2B-4B33-8FB4-F976F0EC2CC2}"/>
              </a:ext>
            </a:extLst>
          </p:cNvPr>
          <p:cNvSpPr>
            <a:spLocks noGrp="1"/>
          </p:cNvSpPr>
          <p:nvPr>
            <p:ph type="body" idx="1"/>
          </p:nvPr>
        </p:nvSpPr>
        <p:spPr>
          <a:xfrm>
            <a:off x="628650" y="1369219"/>
            <a:ext cx="8239438"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A1156D-D9CD-49A8-B984-63F5B0E73E08}"/>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latin typeface="Century Gothic" panose="020B0502020202020204" pitchFamily="34" charset="0"/>
              </a:defRPr>
            </a:lvl1pPr>
          </a:lstStyle>
          <a:p>
            <a:fld id="{4797799D-48AF-41BA-8490-2117AF7BF97F}" type="datetimeFigureOut">
              <a:rPr lang="en-US" smtClean="0"/>
              <a:pPr/>
              <a:t>7/13/2023</a:t>
            </a:fld>
            <a:endParaRPr lang="en-US" dirty="0"/>
          </a:p>
        </p:txBody>
      </p:sp>
      <p:sp>
        <p:nvSpPr>
          <p:cNvPr id="5" name="Footer Placeholder 4">
            <a:extLst>
              <a:ext uri="{FF2B5EF4-FFF2-40B4-BE49-F238E27FC236}">
                <a16:creationId xmlns:a16="http://schemas.microsoft.com/office/drawing/2014/main" id="{9DA1622E-521A-4418-8766-9C46AC50A4AA}"/>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latin typeface="Century Gothic" panose="020B0502020202020204" pitchFamily="34" charset="0"/>
              </a:defRPr>
            </a:lvl1pPr>
          </a:lstStyle>
          <a:p>
            <a:endParaRPr lang="en-US" dirty="0"/>
          </a:p>
        </p:txBody>
      </p:sp>
      <p:pic>
        <p:nvPicPr>
          <p:cNvPr id="8" name="Picture 7">
            <a:extLst>
              <a:ext uri="{FF2B5EF4-FFF2-40B4-BE49-F238E27FC236}">
                <a16:creationId xmlns:a16="http://schemas.microsoft.com/office/drawing/2014/main" id="{AEF9FD57-CD3B-49E5-9FE8-AABC79F3CB73}"/>
              </a:ext>
            </a:extLst>
          </p:cNvPr>
          <p:cNvPicPr>
            <a:picLocks noChangeAspect="1"/>
          </p:cNvPicPr>
          <p:nvPr userDrawn="1"/>
        </p:nvPicPr>
        <p:blipFill rotWithShape="1">
          <a:blip r:embed="rId20" cstate="email">
            <a:extLst>
              <a:ext uri="{28A0092B-C50C-407E-A947-70E740481C1C}">
                <a14:useLocalDpi xmlns:a14="http://schemas.microsoft.com/office/drawing/2010/main"/>
              </a:ext>
            </a:extLst>
          </a:blip>
          <a:srcRect/>
          <a:stretch/>
        </p:blipFill>
        <p:spPr>
          <a:xfrm>
            <a:off x="-1" y="937701"/>
            <a:ext cx="9155430" cy="209343"/>
          </a:xfrm>
          <a:prstGeom prst="rect">
            <a:avLst/>
          </a:prstGeom>
        </p:spPr>
      </p:pic>
      <p:sp>
        <p:nvSpPr>
          <p:cNvPr id="10" name="Title Placeholder 1">
            <a:extLst>
              <a:ext uri="{FF2B5EF4-FFF2-40B4-BE49-F238E27FC236}">
                <a16:creationId xmlns:a16="http://schemas.microsoft.com/office/drawing/2014/main" id="{6340FB66-F5CB-47F6-934E-E0929D096A92}"/>
              </a:ext>
            </a:extLst>
          </p:cNvPr>
          <p:cNvSpPr>
            <a:spLocks noGrp="1"/>
          </p:cNvSpPr>
          <p:nvPr>
            <p:ph type="title"/>
          </p:nvPr>
        </p:nvSpPr>
        <p:spPr>
          <a:xfrm>
            <a:off x="625879" y="1"/>
            <a:ext cx="4945363" cy="994172"/>
          </a:xfrm>
          <a:prstGeom prst="rect">
            <a:avLst/>
          </a:prstGeom>
        </p:spPr>
        <p:txBody>
          <a:bodyPr vert="horz" lIns="91440" tIns="45720" rIns="91440" bIns="45720" rtlCol="0" anchor="ctr">
            <a:normAutofit/>
          </a:bodyPr>
          <a:lstStyle/>
          <a:p>
            <a:r>
              <a:rPr lang="en-US" dirty="0"/>
              <a:t>Click to edit Master title style</a:t>
            </a:r>
          </a:p>
        </p:txBody>
      </p:sp>
      <p:pic>
        <p:nvPicPr>
          <p:cNvPr id="11" name="Picture 10">
            <a:extLst>
              <a:ext uri="{FF2B5EF4-FFF2-40B4-BE49-F238E27FC236}">
                <a16:creationId xmlns:a16="http://schemas.microsoft.com/office/drawing/2014/main" id="{31B4582A-45E2-4C2A-8240-926C7075ACDE}"/>
              </a:ext>
            </a:extLst>
          </p:cNvPr>
          <p:cNvPicPr>
            <a:picLocks noChangeAspect="1"/>
          </p:cNvPicPr>
          <p:nvPr userDrawn="1"/>
        </p:nvPicPr>
        <p:blipFill>
          <a:blip r:embed="rId21" cstate="email">
            <a:extLst>
              <a:ext uri="{28A0092B-C50C-407E-A947-70E740481C1C}">
                <a14:useLocalDpi xmlns:a14="http://schemas.microsoft.com/office/drawing/2010/main"/>
              </a:ext>
            </a:extLst>
          </a:blip>
          <a:srcRect/>
          <a:stretch>
            <a:fillRect/>
          </a:stretch>
        </p:blipFill>
        <p:spPr bwMode="auto">
          <a:xfrm>
            <a:off x="8076365" y="237258"/>
            <a:ext cx="791723" cy="463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a:extLst>
              <a:ext uri="{FF2B5EF4-FFF2-40B4-BE49-F238E27FC236}">
                <a16:creationId xmlns:a16="http://schemas.microsoft.com/office/drawing/2014/main" id="{421DE450-7DD7-42C3-96FA-55F9BF45F3CF}"/>
              </a:ext>
            </a:extLst>
          </p:cNvPr>
          <p:cNvSpPr>
            <a:spLocks noGrp="1"/>
          </p:cNvSpPr>
          <p:nvPr>
            <p:ph type="sldNum" sz="quarter" idx="4"/>
          </p:nvPr>
        </p:nvSpPr>
        <p:spPr>
          <a:xfrm>
            <a:off x="6810688" y="4767263"/>
            <a:ext cx="2057400" cy="273844"/>
          </a:xfrm>
          <a:prstGeom prst="rect">
            <a:avLst/>
          </a:prstGeom>
        </p:spPr>
        <p:txBody>
          <a:bodyPr vert="horz" lIns="91440" tIns="45720" rIns="91440" bIns="45720" rtlCol="0" anchor="ctr"/>
          <a:lstStyle>
            <a:lvl1pPr algn="r">
              <a:defRPr sz="900">
                <a:solidFill>
                  <a:schemeClr val="tx1">
                    <a:tint val="75000"/>
                  </a:schemeClr>
                </a:solidFill>
                <a:latin typeface="Century Gothic" panose="020B0502020202020204" pitchFamily="34" charset="0"/>
              </a:defRPr>
            </a:lvl1pPr>
          </a:lstStyle>
          <a:p>
            <a:fld id="{68B82C89-54EC-4D90-B7E5-A6254AC09059}" type="slidenum">
              <a:rPr lang="en-US" smtClean="0"/>
              <a:pPr/>
              <a:t>‹#›</a:t>
            </a:fld>
            <a:endParaRPr lang="en-US" dirty="0"/>
          </a:p>
        </p:txBody>
      </p:sp>
    </p:spTree>
    <p:extLst>
      <p:ext uri="{BB962C8B-B14F-4D97-AF65-F5344CB8AC3E}">
        <p14:creationId xmlns:p14="http://schemas.microsoft.com/office/powerpoint/2010/main" val="228295935"/>
      </p:ext>
    </p:extLst>
  </p:cSld>
  <p:clrMap bg1="lt1" tx1="dk1" bg2="lt2" tx2="dk2" accent1="accent1" accent2="accent2" accent3="accent3" accent4="accent4" accent5="accent5" accent6="accent6" hlink="hlink" folHlink="folHlink"/>
  <p:sldLayoutIdLst>
    <p:sldLayoutId id="2147484226" r:id="rId1"/>
    <p:sldLayoutId id="2147484228" r:id="rId2"/>
    <p:sldLayoutId id="2147484229"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7" r:id="rId14"/>
    <p:sldLayoutId id="2147484246" r:id="rId15"/>
    <p:sldLayoutId id="2147484286" r:id="rId16"/>
  </p:sldLayoutIdLst>
  <p:txStyles>
    <p:titleStyle>
      <a:lvl1pPr algn="l" defTabSz="685800" rtl="0" eaLnBrk="1" latinLnBrk="0" hangingPunct="1">
        <a:lnSpc>
          <a:spcPct val="90000"/>
        </a:lnSpc>
        <a:spcBef>
          <a:spcPct val="0"/>
        </a:spcBef>
        <a:buNone/>
        <a:defRPr sz="2400" kern="1200" cap="none" baseline="0">
          <a:solidFill>
            <a:schemeClr val="bg1"/>
          </a:solidFill>
          <a:latin typeface="Century Gothic" panose="020B0502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entury Gothic" panose="020B0502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pattFill prst="ltDnDiag">
          <a:fgClr>
            <a:schemeClr val="bg1">
              <a:lumMod val="85000"/>
            </a:schemeClr>
          </a:fgClr>
          <a:bgClr>
            <a:prstClr val="white"/>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6016731"/>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2" r:id="rId3"/>
    <p:sldLayoutId id="214748422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spcBef>
          <a:spcPct val="0"/>
        </a:spcBef>
        <a:buNone/>
        <a:defRPr sz="2500" b="1" kern="1200" cap="none" baseline="0">
          <a:solidFill>
            <a:srgbClr val="000000"/>
          </a:solidFill>
          <a:latin typeface="+mj-lt"/>
          <a:ea typeface="+mj-ea"/>
          <a:cs typeface="Arial" panose="020B0604020202020204" pitchFamily="34" charset="0"/>
        </a:defRPr>
      </a:lvl1pPr>
    </p:titleStyle>
    <p:bodyStyle>
      <a:lvl1pPr marL="257175" indent="-257175"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1pPr>
      <a:lvl2pPr marL="557213" indent="-214313"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pattFill prst="ltDnDiag">
          <a:fgClr>
            <a:schemeClr val="bg1">
              <a:lumMod val="85000"/>
            </a:schemeClr>
          </a:fgClr>
          <a:bgClr>
            <a:prstClr val="white"/>
          </a:bgClr>
        </a:patt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C369FF-BC32-4F0F-B2A9-F4E1CC8A27E7}"/>
              </a:ext>
            </a:extLst>
          </p:cNvPr>
          <p:cNvSpPr/>
          <p:nvPr userDrawn="1"/>
        </p:nvSpPr>
        <p:spPr>
          <a:xfrm>
            <a:off x="0" y="0"/>
            <a:ext cx="9198529" cy="5143500"/>
          </a:xfrm>
          <a:prstGeom prst="rect">
            <a:avLst/>
          </a:prstGeom>
          <a:solidFill>
            <a:srgbClr val="1827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i="0" dirty="0">
              <a:latin typeface="Lato" panose="020F0502020204030203" pitchFamily="34" charset="0"/>
            </a:endParaRPr>
          </a:p>
        </p:txBody>
      </p:sp>
      <p:pic>
        <p:nvPicPr>
          <p:cNvPr id="3" name="Picture 2">
            <a:extLst>
              <a:ext uri="{FF2B5EF4-FFF2-40B4-BE49-F238E27FC236}">
                <a16:creationId xmlns:a16="http://schemas.microsoft.com/office/drawing/2014/main" id="{033CE7D4-8134-4014-AB20-718D11F1069B}"/>
              </a:ext>
            </a:extLst>
          </p:cNvPr>
          <p:cNvPicPr>
            <a:picLocks noChangeAspect="1"/>
          </p:cNvPicPr>
          <p:nvPr userDrawn="1"/>
        </p:nvPicPr>
        <p:blipFill rotWithShape="1">
          <a:blip r:embed="rId5">
            <a:alphaModFix amt="20000"/>
            <a:extLst>
              <a:ext uri="{28A0092B-C50C-407E-A947-70E740481C1C}">
                <a14:useLocalDpi xmlns:a14="http://schemas.microsoft.com/office/drawing/2010/main" val="0"/>
              </a:ext>
            </a:extLst>
          </a:blip>
          <a:srcRect r="48305" b="15303"/>
          <a:stretch/>
        </p:blipFill>
        <p:spPr>
          <a:xfrm>
            <a:off x="0" y="0"/>
            <a:ext cx="9142838" cy="5158859"/>
          </a:xfrm>
          <a:prstGeom prst="rect">
            <a:avLst/>
          </a:prstGeom>
        </p:spPr>
      </p:pic>
    </p:spTree>
    <p:extLst>
      <p:ext uri="{BB962C8B-B14F-4D97-AF65-F5344CB8AC3E}">
        <p14:creationId xmlns:p14="http://schemas.microsoft.com/office/powerpoint/2010/main" val="3546136687"/>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spcBef>
          <a:spcPct val="0"/>
        </a:spcBef>
        <a:buNone/>
        <a:defRPr sz="2500" b="1" kern="1200" cap="none" baseline="0">
          <a:solidFill>
            <a:srgbClr val="000000"/>
          </a:solidFill>
          <a:latin typeface="+mj-lt"/>
          <a:ea typeface="+mj-ea"/>
          <a:cs typeface="Arial" panose="020B0604020202020204" pitchFamily="34" charset="0"/>
        </a:defRPr>
      </a:lvl1pPr>
    </p:titleStyle>
    <p:bodyStyle>
      <a:lvl1pPr marL="257175" indent="-257175"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1pPr>
      <a:lvl2pPr marL="557213" indent="-214313"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spcBef>
          <a:spcPts val="0"/>
        </a:spcBef>
        <a:spcAft>
          <a:spcPts val="600"/>
        </a:spcAft>
        <a:buClr>
          <a:srgbClr val="0397D6"/>
        </a:buClr>
        <a:buSzPct val="80000"/>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E444D0-5062-44B3-BEAB-92390553105A}"/>
              </a:ext>
            </a:extLst>
          </p:cNvPr>
          <p:cNvPicPr>
            <a:picLocks noChangeAspect="1"/>
          </p:cNvPicPr>
          <p:nvPr userDrawn="1"/>
        </p:nvPicPr>
        <p:blipFill rotWithShape="1">
          <a:blip r:embed="rId19" cstate="screen">
            <a:extLst>
              <a:ext uri="{28A0092B-C50C-407E-A947-70E740481C1C}">
                <a14:useLocalDpi xmlns:a14="http://schemas.microsoft.com/office/drawing/2010/main"/>
              </a:ext>
            </a:extLst>
          </a:blip>
          <a:srcRect/>
          <a:stretch/>
        </p:blipFill>
        <p:spPr>
          <a:xfrm>
            <a:off x="0" y="-9818"/>
            <a:ext cx="9155430" cy="1140237"/>
          </a:xfrm>
          <a:prstGeom prst="rect">
            <a:avLst/>
          </a:prstGeom>
        </p:spPr>
      </p:pic>
      <p:pic>
        <p:nvPicPr>
          <p:cNvPr id="12" name="Picture 11">
            <a:extLst>
              <a:ext uri="{FF2B5EF4-FFF2-40B4-BE49-F238E27FC236}">
                <a16:creationId xmlns:a16="http://schemas.microsoft.com/office/drawing/2014/main" id="{CC12FA55-CC32-5C40-BB34-020424F70FC1}"/>
              </a:ext>
            </a:extLst>
          </p:cNvPr>
          <p:cNvPicPr>
            <a:picLocks noChangeAspect="1"/>
          </p:cNvPicPr>
          <p:nvPr userDrawn="1"/>
        </p:nvPicPr>
        <p:blipFill rotWithShape="1">
          <a:blip r:embed="rId20" cstate="screen">
            <a:alphaModFix amt="20000"/>
            <a:extLst>
              <a:ext uri="{28A0092B-C50C-407E-A947-70E740481C1C}">
                <a14:useLocalDpi xmlns:a14="http://schemas.microsoft.com/office/drawing/2010/main"/>
              </a:ext>
            </a:extLst>
          </a:blip>
          <a:srcRect/>
          <a:stretch/>
        </p:blipFill>
        <p:spPr>
          <a:xfrm>
            <a:off x="1163" y="-9818"/>
            <a:ext cx="9142838" cy="1061379"/>
          </a:xfrm>
          <a:prstGeom prst="rect">
            <a:avLst/>
          </a:prstGeom>
        </p:spPr>
      </p:pic>
      <p:sp>
        <p:nvSpPr>
          <p:cNvPr id="3" name="Text Placeholder 2">
            <a:extLst>
              <a:ext uri="{FF2B5EF4-FFF2-40B4-BE49-F238E27FC236}">
                <a16:creationId xmlns:a16="http://schemas.microsoft.com/office/drawing/2014/main" id="{6A1E448E-2A2B-4B33-8FB4-F976F0EC2CC2}"/>
              </a:ext>
            </a:extLst>
          </p:cNvPr>
          <p:cNvSpPr>
            <a:spLocks noGrp="1"/>
          </p:cNvSpPr>
          <p:nvPr>
            <p:ph type="body" idx="1"/>
          </p:nvPr>
        </p:nvSpPr>
        <p:spPr>
          <a:xfrm>
            <a:off x="628650" y="1369219"/>
            <a:ext cx="8239438"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A1156D-D9CD-49A8-B984-63F5B0E73E08}"/>
              </a:ext>
            </a:extLst>
          </p:cNvPr>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latin typeface="Century Gothic" panose="020B0502020202020204" pitchFamily="34" charset="0"/>
              </a:defRPr>
            </a:lvl1pPr>
          </a:lstStyle>
          <a:p>
            <a:fld id="{4797799D-48AF-41BA-8490-2117AF7BF97F}" type="datetimeFigureOut">
              <a:rPr lang="en-US" smtClean="0"/>
              <a:pPr/>
              <a:t>7/13/2023</a:t>
            </a:fld>
            <a:endParaRPr lang="en-US" dirty="0"/>
          </a:p>
        </p:txBody>
      </p:sp>
      <p:sp>
        <p:nvSpPr>
          <p:cNvPr id="5" name="Footer Placeholder 4">
            <a:extLst>
              <a:ext uri="{FF2B5EF4-FFF2-40B4-BE49-F238E27FC236}">
                <a16:creationId xmlns:a16="http://schemas.microsoft.com/office/drawing/2014/main" id="{9DA1622E-521A-4418-8766-9C46AC50A4AA}"/>
              </a:ext>
            </a:extLst>
          </p:cNvPr>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latin typeface="Century Gothic" panose="020B0502020202020204" pitchFamily="34" charset="0"/>
              </a:defRPr>
            </a:lvl1pPr>
          </a:lstStyle>
          <a:p>
            <a:endParaRPr lang="en-US" dirty="0"/>
          </a:p>
        </p:txBody>
      </p:sp>
      <p:pic>
        <p:nvPicPr>
          <p:cNvPr id="8" name="Picture 7">
            <a:extLst>
              <a:ext uri="{FF2B5EF4-FFF2-40B4-BE49-F238E27FC236}">
                <a16:creationId xmlns:a16="http://schemas.microsoft.com/office/drawing/2014/main" id="{AEF9FD57-CD3B-49E5-9FE8-AABC79F3CB73}"/>
              </a:ext>
            </a:extLst>
          </p:cNvPr>
          <p:cNvPicPr>
            <a:picLocks noChangeAspect="1"/>
          </p:cNvPicPr>
          <p:nvPr userDrawn="1"/>
        </p:nvPicPr>
        <p:blipFill rotWithShape="1">
          <a:blip r:embed="rId21" cstate="email">
            <a:extLst>
              <a:ext uri="{28A0092B-C50C-407E-A947-70E740481C1C}">
                <a14:useLocalDpi xmlns:a14="http://schemas.microsoft.com/office/drawing/2010/main"/>
              </a:ext>
            </a:extLst>
          </a:blip>
          <a:srcRect/>
          <a:stretch/>
        </p:blipFill>
        <p:spPr>
          <a:xfrm>
            <a:off x="-1" y="937702"/>
            <a:ext cx="9155430" cy="209343"/>
          </a:xfrm>
          <a:prstGeom prst="rect">
            <a:avLst/>
          </a:prstGeom>
        </p:spPr>
      </p:pic>
      <p:sp>
        <p:nvSpPr>
          <p:cNvPr id="10" name="Title Placeholder 1">
            <a:extLst>
              <a:ext uri="{FF2B5EF4-FFF2-40B4-BE49-F238E27FC236}">
                <a16:creationId xmlns:a16="http://schemas.microsoft.com/office/drawing/2014/main" id="{6340FB66-F5CB-47F6-934E-E0929D096A92}"/>
              </a:ext>
            </a:extLst>
          </p:cNvPr>
          <p:cNvSpPr>
            <a:spLocks noGrp="1"/>
          </p:cNvSpPr>
          <p:nvPr>
            <p:ph type="title"/>
          </p:nvPr>
        </p:nvSpPr>
        <p:spPr>
          <a:xfrm>
            <a:off x="625880" y="1"/>
            <a:ext cx="4945363" cy="994172"/>
          </a:xfrm>
          <a:prstGeom prst="rect">
            <a:avLst/>
          </a:prstGeom>
        </p:spPr>
        <p:txBody>
          <a:bodyPr vert="horz" lIns="91440" tIns="45720" rIns="91440" bIns="45720" rtlCol="0" anchor="ctr">
            <a:normAutofit/>
          </a:bodyPr>
          <a:lstStyle/>
          <a:p>
            <a:r>
              <a:rPr lang="en-US"/>
              <a:t>Click to edit Master title style</a:t>
            </a:r>
          </a:p>
        </p:txBody>
      </p:sp>
      <p:pic>
        <p:nvPicPr>
          <p:cNvPr id="11" name="Picture 10">
            <a:extLst>
              <a:ext uri="{FF2B5EF4-FFF2-40B4-BE49-F238E27FC236}">
                <a16:creationId xmlns:a16="http://schemas.microsoft.com/office/drawing/2014/main" id="{31B4582A-45E2-4C2A-8240-926C7075ACDE}"/>
              </a:ext>
            </a:extLst>
          </p:cNvPr>
          <p:cNvPicPr>
            <a:picLocks noChangeAspect="1"/>
          </p:cNvPicPr>
          <p:nvPr userDrawn="1"/>
        </p:nvPicPr>
        <p:blipFill>
          <a:blip r:embed="rId22" cstate="email">
            <a:extLst>
              <a:ext uri="{28A0092B-C50C-407E-A947-70E740481C1C}">
                <a14:useLocalDpi xmlns:a14="http://schemas.microsoft.com/office/drawing/2010/main"/>
              </a:ext>
            </a:extLst>
          </a:blip>
          <a:srcRect/>
          <a:stretch>
            <a:fillRect/>
          </a:stretch>
        </p:blipFill>
        <p:spPr bwMode="auto">
          <a:xfrm>
            <a:off x="8076366" y="237259"/>
            <a:ext cx="791723" cy="463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a:extLst>
              <a:ext uri="{FF2B5EF4-FFF2-40B4-BE49-F238E27FC236}">
                <a16:creationId xmlns:a16="http://schemas.microsoft.com/office/drawing/2014/main" id="{421DE450-7DD7-42C3-96FA-55F9BF45F3CF}"/>
              </a:ext>
            </a:extLst>
          </p:cNvPr>
          <p:cNvSpPr>
            <a:spLocks noGrp="1"/>
          </p:cNvSpPr>
          <p:nvPr>
            <p:ph type="sldNum" sz="quarter" idx="4"/>
          </p:nvPr>
        </p:nvSpPr>
        <p:spPr>
          <a:xfrm>
            <a:off x="6810688" y="4767264"/>
            <a:ext cx="2057400" cy="273844"/>
          </a:xfrm>
          <a:prstGeom prst="rect">
            <a:avLst/>
          </a:prstGeom>
        </p:spPr>
        <p:txBody>
          <a:bodyPr vert="horz" lIns="91440" tIns="45720" rIns="91440" bIns="45720" rtlCol="0" anchor="ctr"/>
          <a:lstStyle>
            <a:lvl1pPr algn="r">
              <a:defRPr sz="900">
                <a:solidFill>
                  <a:schemeClr val="tx1">
                    <a:tint val="75000"/>
                  </a:schemeClr>
                </a:solidFill>
                <a:latin typeface="Century Gothic" panose="020B0502020202020204" pitchFamily="34" charset="0"/>
              </a:defRPr>
            </a:lvl1pPr>
          </a:lstStyle>
          <a:p>
            <a:fld id="{68B82C89-54EC-4D90-B7E5-A6254AC09059}" type="slidenum">
              <a:rPr lang="en-US" smtClean="0"/>
              <a:pPr/>
              <a:t>‹#›</a:t>
            </a:fld>
            <a:endParaRPr lang="en-US" dirty="0"/>
          </a:p>
        </p:txBody>
      </p:sp>
    </p:spTree>
    <p:extLst>
      <p:ext uri="{BB962C8B-B14F-4D97-AF65-F5344CB8AC3E}">
        <p14:creationId xmlns:p14="http://schemas.microsoft.com/office/powerpoint/2010/main" val="3072111365"/>
      </p:ext>
    </p:extLst>
  </p:cSld>
  <p:clrMap bg1="lt1" tx1="dk1" bg2="lt2" tx2="dk2" accent1="accent1" accent2="accent2" accent3="accent3" accent4="accent4" accent5="accent5" accent6="accent6" hlink="hlink" folHlink="folHlink"/>
  <p:sldLayoutIdLst>
    <p:sldLayoutId id="2147484257" r:id="rId1"/>
    <p:sldLayoutId id="2147484258" r:id="rId2"/>
    <p:sldLayoutId id="2147484259" r:id="rId3"/>
    <p:sldLayoutId id="2147484260" r:id="rId4"/>
    <p:sldLayoutId id="2147484261" r:id="rId5"/>
    <p:sldLayoutId id="2147484262" r:id="rId6"/>
    <p:sldLayoutId id="2147484263" r:id="rId7"/>
    <p:sldLayoutId id="2147484264" r:id="rId8"/>
    <p:sldLayoutId id="2147484265" r:id="rId9"/>
    <p:sldLayoutId id="2147484266" r:id="rId10"/>
    <p:sldLayoutId id="2147484267" r:id="rId11"/>
    <p:sldLayoutId id="2147484268" r:id="rId12"/>
    <p:sldLayoutId id="2147484269" r:id="rId13"/>
    <p:sldLayoutId id="2147484270" r:id="rId14"/>
    <p:sldLayoutId id="2147484271" r:id="rId15"/>
    <p:sldLayoutId id="2147484272" r:id="rId16"/>
    <p:sldLayoutId id="2147484273" r:id="rId17"/>
  </p:sldLayoutIdLst>
  <p:txStyles>
    <p:titleStyle>
      <a:lvl1pPr algn="l" defTabSz="685783" rtl="0" eaLnBrk="1" latinLnBrk="0" hangingPunct="1">
        <a:lnSpc>
          <a:spcPct val="100000"/>
        </a:lnSpc>
        <a:spcBef>
          <a:spcPct val="0"/>
        </a:spcBef>
        <a:buNone/>
        <a:defRPr sz="2400" kern="1200" cap="none" baseline="0">
          <a:solidFill>
            <a:schemeClr val="bg1"/>
          </a:solidFill>
          <a:latin typeface="Century Gothic" panose="020B0502020202020204" pitchFamily="34" charset="0"/>
          <a:ea typeface="+mj-ea"/>
          <a:cs typeface="+mj-cs"/>
        </a:defRPr>
      </a:lvl1pPr>
    </p:titleStyle>
    <p:bodyStyle>
      <a:lvl1pPr marL="171446" indent="-171446" algn="l" defTabSz="685783" rtl="0" eaLnBrk="1" latinLnBrk="0" hangingPunct="1">
        <a:lnSpc>
          <a:spcPct val="100000"/>
        </a:lnSpc>
        <a:spcBef>
          <a:spcPts val="750"/>
        </a:spcBef>
        <a:buFont typeface="Wingdings" panose="05000000000000000000" pitchFamily="2" charset="2"/>
        <a:buChar char="§"/>
        <a:defRPr sz="2100" kern="1200">
          <a:solidFill>
            <a:schemeClr val="tx1"/>
          </a:solidFill>
          <a:latin typeface="Century Gothic" panose="020B0502020202020204" pitchFamily="34" charset="0"/>
          <a:ea typeface="+mn-ea"/>
          <a:cs typeface="+mn-cs"/>
        </a:defRPr>
      </a:lvl1pPr>
      <a:lvl2pPr marL="514337" indent="-171446" algn="l" defTabSz="685783" rtl="0" eaLnBrk="1" latinLnBrk="0" hangingPunct="1">
        <a:lnSpc>
          <a:spcPct val="100000"/>
        </a:lnSpc>
        <a:spcBef>
          <a:spcPts val="375"/>
        </a:spcBef>
        <a:buFont typeface="Wingdings" panose="05000000000000000000" pitchFamily="2" charset="2"/>
        <a:buChar char="§"/>
        <a:defRPr sz="1800" kern="1200">
          <a:solidFill>
            <a:schemeClr val="tx1"/>
          </a:solidFill>
          <a:latin typeface="Century Gothic" panose="020B0502020202020204" pitchFamily="34" charset="0"/>
          <a:ea typeface="+mn-ea"/>
          <a:cs typeface="+mn-cs"/>
        </a:defRPr>
      </a:lvl2pPr>
      <a:lvl3pPr marL="857228" indent="-171446" algn="l" defTabSz="685783" rtl="0" eaLnBrk="1" latinLnBrk="0" hangingPunct="1">
        <a:lnSpc>
          <a:spcPct val="100000"/>
        </a:lnSpc>
        <a:spcBef>
          <a:spcPts val="375"/>
        </a:spcBef>
        <a:buFont typeface="Wingdings" panose="05000000000000000000" pitchFamily="2" charset="2"/>
        <a:buChar char="§"/>
        <a:defRPr sz="1500" kern="1200">
          <a:solidFill>
            <a:schemeClr val="tx1"/>
          </a:solidFill>
          <a:latin typeface="Century Gothic" panose="020B0502020202020204" pitchFamily="34" charset="0"/>
          <a:ea typeface="+mn-ea"/>
          <a:cs typeface="+mn-cs"/>
        </a:defRPr>
      </a:lvl3pPr>
      <a:lvl4pPr marL="1200120" indent="-171446" algn="l" defTabSz="685783" rtl="0" eaLnBrk="1" latinLnBrk="0" hangingPunct="1">
        <a:lnSpc>
          <a:spcPct val="100000"/>
        </a:lnSpc>
        <a:spcBef>
          <a:spcPts val="375"/>
        </a:spcBef>
        <a:buFont typeface="Wingdings" panose="05000000000000000000" pitchFamily="2" charset="2"/>
        <a:buChar char="§"/>
        <a:defRPr sz="1350" kern="1200">
          <a:solidFill>
            <a:schemeClr val="tx1"/>
          </a:solidFill>
          <a:latin typeface="Century Gothic" panose="020B0502020202020204" pitchFamily="34" charset="0"/>
          <a:ea typeface="+mn-ea"/>
          <a:cs typeface="+mn-cs"/>
        </a:defRPr>
      </a:lvl4pPr>
      <a:lvl5pPr marL="1543012" indent="-171446" algn="l" defTabSz="685783" rtl="0" eaLnBrk="1" latinLnBrk="0" hangingPunct="1">
        <a:lnSpc>
          <a:spcPct val="100000"/>
        </a:lnSpc>
        <a:spcBef>
          <a:spcPts val="375"/>
        </a:spcBef>
        <a:buFont typeface="Wingdings" panose="05000000000000000000" pitchFamily="2" charset="2"/>
        <a:buChar char="§"/>
        <a:defRPr sz="1350" kern="1200">
          <a:solidFill>
            <a:schemeClr val="tx1"/>
          </a:solidFill>
          <a:latin typeface="Century Gothic" panose="020B0502020202020204" pitchFamily="34" charset="0"/>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E714D2E-2D6D-2239-BC38-62C6675540D9}"/>
              </a:ext>
            </a:extLst>
          </p:cNvPr>
          <p:cNvSpPr txBox="1">
            <a:spLocks noGrp="1"/>
          </p:cNvSpPr>
          <p:nvPr>
            <p:ph type="title"/>
          </p:nvPr>
        </p:nvSpPr>
        <p:spPr>
          <a:xfrm>
            <a:off x="628652" y="273847"/>
            <a:ext cx="7886700" cy="994169"/>
          </a:xfrm>
          <a:prstGeom prst="rect">
            <a:avLst/>
          </a:prstGeom>
          <a:noFill/>
          <a:ln>
            <a:noFill/>
          </a:ln>
        </p:spPr>
        <p:txBody>
          <a:bodyPr vert="horz" wrap="square" lIns="91440" tIns="45720" rIns="91440" bIns="45720" anchor="ctr" anchorCtr="0" compatLnSpc="1">
            <a:normAutofit/>
          </a:bodyPr>
          <a:lstStyle/>
          <a:p>
            <a:pPr lvl="0"/>
            <a:r>
              <a:rPr lang="en-US"/>
              <a:t>Click to edit Master title style</a:t>
            </a:r>
          </a:p>
        </p:txBody>
      </p:sp>
      <p:sp>
        <p:nvSpPr>
          <p:cNvPr id="3" name="Text Placeholder 2">
            <a:extLst>
              <a:ext uri="{FF2B5EF4-FFF2-40B4-BE49-F238E27FC236}">
                <a16:creationId xmlns:a16="http://schemas.microsoft.com/office/drawing/2014/main" id="{2A4A323C-0EAF-353C-D53D-F53300652AAE}"/>
              </a:ext>
            </a:extLst>
          </p:cNvPr>
          <p:cNvSpPr txBox="1">
            <a:spLocks noGrp="1"/>
          </p:cNvSpPr>
          <p:nvPr>
            <p:ph type="body" idx="1"/>
          </p:nvPr>
        </p:nvSpPr>
        <p:spPr>
          <a:xfrm>
            <a:off x="628652" y="1369220"/>
            <a:ext cx="7886700" cy="3263502"/>
          </a:xfrm>
          <a:prstGeom prst="rect">
            <a:avLst/>
          </a:prstGeom>
          <a:noFill/>
          <a:ln>
            <a:noFill/>
          </a:ln>
        </p:spPr>
        <p:txBody>
          <a:bodyPr vert="horz" wrap="square" lIns="91440" tIns="45720" rIns="91440" bIns="45720" anchor="t" anchorCtr="0" compatLnSpc="1">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9BFD77-81C7-63D8-E4F2-366C68A7D812}"/>
              </a:ext>
            </a:extLst>
          </p:cNvPr>
          <p:cNvSpPr txBox="1">
            <a:spLocks noGrp="1"/>
          </p:cNvSpPr>
          <p:nvPr>
            <p:ph type="dt" sz="half" idx="2"/>
          </p:nvPr>
        </p:nvSpPr>
        <p:spPr>
          <a:xfrm>
            <a:off x="1" y="5041110"/>
            <a:ext cx="506027" cy="102390"/>
          </a:xfrm>
          <a:prstGeom prst="rect">
            <a:avLst/>
          </a:prstGeom>
          <a:noFill/>
          <a:ln>
            <a:noFill/>
          </a:ln>
        </p:spPr>
        <p:txBody>
          <a:bodyPr vert="horz" wrap="square" lIns="91440" tIns="45720" rIns="91440" bIns="45720" anchor="ctr" anchorCtr="0" compatLnSpc="1">
            <a:noAutofit/>
          </a:bodyPr>
          <a:lstStyle>
            <a:lvl1pPr marL="0" marR="0" lvl="0" indent="0" algn="l" defTabSz="342900" rtl="0" fontAlgn="auto" hangingPunct="1">
              <a:lnSpc>
                <a:spcPct val="100000"/>
              </a:lnSpc>
              <a:spcBef>
                <a:spcPts val="0"/>
              </a:spcBef>
              <a:spcAft>
                <a:spcPts val="0"/>
              </a:spcAft>
              <a:buNone/>
              <a:tabLst/>
              <a:defRPr lang="en-AT" sz="600" b="0" i="0" u="none" strike="noStrike" kern="1200" cap="none" spc="0" baseline="0">
                <a:solidFill>
                  <a:srgbClr val="898989"/>
                </a:solidFill>
                <a:uFillTx/>
                <a:latin typeface="Calibri"/>
              </a:defRPr>
            </a:lvl1pPr>
          </a:lstStyle>
          <a:p>
            <a:fld id="{408368A2-68AD-4AB2-B658-201D5944BFBD}" type="datetime1">
              <a:rPr lang="en-AT" smtClean="0"/>
              <a:pPr/>
              <a:t>07/13/2023</a:t>
            </a:fld>
            <a:endParaRPr lang="en-AT"/>
          </a:p>
        </p:txBody>
      </p:sp>
      <p:sp>
        <p:nvSpPr>
          <p:cNvPr id="5" name="Footer Placeholder 4">
            <a:extLst>
              <a:ext uri="{FF2B5EF4-FFF2-40B4-BE49-F238E27FC236}">
                <a16:creationId xmlns:a16="http://schemas.microsoft.com/office/drawing/2014/main" id="{22767567-7573-D3C4-3323-91D230396CE3}"/>
              </a:ext>
            </a:extLst>
          </p:cNvPr>
          <p:cNvSpPr txBox="1">
            <a:spLocks noGrp="1"/>
          </p:cNvSpPr>
          <p:nvPr>
            <p:ph type="ftr" sz="quarter" idx="3"/>
          </p:nvPr>
        </p:nvSpPr>
        <p:spPr>
          <a:xfrm>
            <a:off x="506028" y="5041110"/>
            <a:ext cx="1058662" cy="102390"/>
          </a:xfrm>
          <a:prstGeom prst="rect">
            <a:avLst/>
          </a:prstGeom>
          <a:noFill/>
          <a:ln>
            <a:noFill/>
          </a:ln>
        </p:spPr>
        <p:txBody>
          <a:bodyPr vert="horz" wrap="square" lIns="91440" tIns="45720" rIns="91440" bIns="45720" anchor="ctr" anchorCtr="1" compatLnSpc="1">
            <a:noAutofit/>
          </a:bodyPr>
          <a:lstStyle>
            <a:lvl1pPr marL="0" marR="0" lvl="0" indent="0" algn="ctr" defTabSz="342900" rtl="0" fontAlgn="auto" hangingPunct="1">
              <a:lnSpc>
                <a:spcPct val="100000"/>
              </a:lnSpc>
              <a:spcBef>
                <a:spcPts val="0"/>
              </a:spcBef>
              <a:spcAft>
                <a:spcPts val="0"/>
              </a:spcAft>
              <a:buNone/>
              <a:tabLst/>
              <a:defRPr lang="en-AT" sz="600" b="0" i="0" u="none" strike="noStrike" kern="1200" cap="none" spc="0" baseline="0">
                <a:solidFill>
                  <a:srgbClr val="898989"/>
                </a:solidFill>
                <a:uFillTx/>
                <a:latin typeface="Calibri"/>
              </a:defRPr>
            </a:lvl1pPr>
          </a:lstStyle>
          <a:p>
            <a:r>
              <a:rPr lang="en-GB" dirty="0"/>
              <a:t>Conceptual Framework SG </a:t>
            </a:r>
          </a:p>
        </p:txBody>
      </p:sp>
      <p:sp>
        <p:nvSpPr>
          <p:cNvPr id="6" name="Slide Number Placeholder 5">
            <a:extLst>
              <a:ext uri="{FF2B5EF4-FFF2-40B4-BE49-F238E27FC236}">
                <a16:creationId xmlns:a16="http://schemas.microsoft.com/office/drawing/2014/main" id="{24D3A0CB-00E9-315F-B125-FB73891F1702}"/>
              </a:ext>
            </a:extLst>
          </p:cNvPr>
          <p:cNvSpPr txBox="1">
            <a:spLocks noGrp="1"/>
          </p:cNvSpPr>
          <p:nvPr>
            <p:ph type="sldNum" sz="quarter" idx="4"/>
          </p:nvPr>
        </p:nvSpPr>
        <p:spPr>
          <a:xfrm>
            <a:off x="8722311" y="5041110"/>
            <a:ext cx="421689" cy="102390"/>
          </a:xfrm>
          <a:prstGeom prst="rect">
            <a:avLst/>
          </a:prstGeom>
          <a:noFill/>
          <a:ln>
            <a:noFill/>
          </a:ln>
        </p:spPr>
        <p:txBody>
          <a:bodyPr vert="horz" wrap="square" lIns="91440" tIns="45720" rIns="91440" bIns="45720" anchor="ctr" anchorCtr="0" compatLnSpc="1">
            <a:noAutofit/>
          </a:bodyPr>
          <a:lstStyle>
            <a:lvl1pPr marL="0" marR="0" lvl="0" indent="0" algn="r" defTabSz="342900" rtl="0" fontAlgn="auto" hangingPunct="1">
              <a:lnSpc>
                <a:spcPct val="100000"/>
              </a:lnSpc>
              <a:spcBef>
                <a:spcPts val="0"/>
              </a:spcBef>
              <a:spcAft>
                <a:spcPts val="0"/>
              </a:spcAft>
              <a:buNone/>
              <a:tabLst/>
              <a:defRPr lang="en-AT" sz="600" b="0" i="0" u="none" strike="noStrike" kern="1200" cap="none" spc="0" baseline="0">
                <a:solidFill>
                  <a:srgbClr val="898989"/>
                </a:solidFill>
                <a:uFillTx/>
                <a:latin typeface="Calibri"/>
              </a:defRPr>
            </a:lvl1pPr>
          </a:lstStyle>
          <a:p>
            <a:fld id="{E857D22A-A703-4C5C-B326-6A6A4554F5DA}" type="slidenum">
              <a:rPr lang="en-AT" smtClean="0"/>
              <a:pPr/>
              <a:t>‹#›</a:t>
            </a:fld>
            <a:endParaRPr lang="en-AT" dirty="0"/>
          </a:p>
        </p:txBody>
      </p:sp>
      <p:pic>
        <p:nvPicPr>
          <p:cNvPr id="7" name="Picture 6">
            <a:extLst>
              <a:ext uri="{FF2B5EF4-FFF2-40B4-BE49-F238E27FC236}">
                <a16:creationId xmlns:a16="http://schemas.microsoft.com/office/drawing/2014/main" id="{B23DFAE7-14C1-75A6-0B2B-6BE2E53D8839}"/>
              </a:ext>
            </a:extLst>
          </p:cNvPr>
          <p:cNvPicPr>
            <a:picLocks noChangeAspect="1"/>
          </p:cNvPicPr>
          <p:nvPr userDrawn="1"/>
        </p:nvPicPr>
        <p:blipFill>
          <a:blip r:embed="rId14"/>
          <a:stretch>
            <a:fillRect/>
          </a:stretch>
        </p:blipFill>
        <p:spPr>
          <a:xfrm>
            <a:off x="8515353" y="4762224"/>
            <a:ext cx="480101" cy="283489"/>
          </a:xfrm>
          <a:prstGeom prst="rect">
            <a:avLst/>
          </a:prstGeom>
        </p:spPr>
      </p:pic>
    </p:spTree>
    <p:extLst>
      <p:ext uri="{BB962C8B-B14F-4D97-AF65-F5344CB8AC3E}">
        <p14:creationId xmlns:p14="http://schemas.microsoft.com/office/powerpoint/2010/main" val="3073234616"/>
      </p:ext>
    </p:extLst>
  </p:cSld>
  <p:clrMap bg1="lt1" tx1="dk1" bg2="lt2" tx2="dk2" accent1="accent1" accent2="accent2" accent3="accent3" accent4="accent4" accent5="accent5" accent6="accent6" hlink="hlink" folHlink="folHlink"/>
  <p:sldLayoutIdLst>
    <p:sldLayoutId id="2147484275" r:id="rId1"/>
    <p:sldLayoutId id="2147484276" r:id="rId2"/>
    <p:sldLayoutId id="2147484277" r:id="rId3"/>
    <p:sldLayoutId id="2147484278" r:id="rId4"/>
    <p:sldLayoutId id="2147484279" r:id="rId5"/>
    <p:sldLayoutId id="2147484280" r:id="rId6"/>
    <p:sldLayoutId id="2147484281" r:id="rId7"/>
    <p:sldLayoutId id="2147484282" r:id="rId8"/>
    <p:sldLayoutId id="2147484283" r:id="rId9"/>
    <p:sldLayoutId id="2147484284" r:id="rId10"/>
    <p:sldLayoutId id="2147484285" r:id="rId11"/>
    <p:sldLayoutId id="2147484287" r:id="rId12"/>
  </p:sldLayoutIdLst>
  <p:txStyles>
    <p:titleStyle>
      <a:lvl1pPr marL="0" marR="0" lvl="0" indent="0" algn="l" defTabSz="685800" rtl="0" fontAlgn="auto" hangingPunct="1">
        <a:lnSpc>
          <a:spcPct val="90000"/>
        </a:lnSpc>
        <a:spcBef>
          <a:spcPts val="0"/>
        </a:spcBef>
        <a:spcAft>
          <a:spcPts val="0"/>
        </a:spcAft>
        <a:buNone/>
        <a:tabLst/>
        <a:defRPr lang="en-US" sz="3300" b="0" i="0" u="none" strike="noStrike" kern="1200" cap="none" spc="0" baseline="0">
          <a:solidFill>
            <a:srgbClr val="000000"/>
          </a:solidFill>
          <a:uFillTx/>
          <a:latin typeface="Calibri Light"/>
        </a:defRPr>
      </a:lvl1pPr>
    </p:titleStyle>
    <p:bodyStyle>
      <a:lvl1pPr marL="171450" marR="0" lvl="0" indent="-171450" algn="l" defTabSz="685800" rtl="0" fontAlgn="auto" hangingPunct="1">
        <a:lnSpc>
          <a:spcPct val="90000"/>
        </a:lnSpc>
        <a:spcBef>
          <a:spcPts val="750"/>
        </a:spcBef>
        <a:spcAft>
          <a:spcPts val="0"/>
        </a:spcAft>
        <a:buSzPct val="100000"/>
        <a:buFont typeface="Arial" pitchFamily="34"/>
        <a:buChar char="•"/>
        <a:tabLst/>
        <a:defRPr lang="en-US" sz="2100" b="0" i="0" u="none" strike="noStrike" kern="1200" cap="none" spc="0" baseline="0">
          <a:solidFill>
            <a:srgbClr val="000000"/>
          </a:solidFill>
          <a:uFillTx/>
          <a:latin typeface="Calibri"/>
        </a:defRPr>
      </a:lvl1pPr>
      <a:lvl2pPr marL="514350" marR="0" lvl="1" indent="-171450" algn="l" defTabSz="685800" rtl="0" fontAlgn="auto" hangingPunct="1">
        <a:lnSpc>
          <a:spcPct val="90000"/>
        </a:lnSpc>
        <a:spcBef>
          <a:spcPts val="375"/>
        </a:spcBef>
        <a:spcAft>
          <a:spcPts val="0"/>
        </a:spcAft>
        <a:buSzPct val="100000"/>
        <a:buFont typeface="Arial" pitchFamily="34"/>
        <a:buChar char="•"/>
        <a:tabLst/>
        <a:defRPr lang="en-US" sz="1800" b="0" i="0" u="none" strike="noStrike" kern="1200" cap="none" spc="0" baseline="0">
          <a:solidFill>
            <a:srgbClr val="000000"/>
          </a:solidFill>
          <a:uFillTx/>
          <a:latin typeface="Calibri"/>
        </a:defRPr>
      </a:lvl2pPr>
      <a:lvl3pPr marL="857250" marR="0" lvl="2" indent="-171450" algn="l" defTabSz="685800" rtl="0" fontAlgn="auto" hangingPunct="1">
        <a:lnSpc>
          <a:spcPct val="90000"/>
        </a:lnSpc>
        <a:spcBef>
          <a:spcPts val="375"/>
        </a:spcBef>
        <a:spcAft>
          <a:spcPts val="0"/>
        </a:spcAft>
        <a:buSzPct val="100000"/>
        <a:buFont typeface="Arial" pitchFamily="34"/>
        <a:buChar char="•"/>
        <a:tabLst/>
        <a:defRPr lang="en-US" sz="1500" b="0" i="0" u="none" strike="noStrike" kern="1200" cap="none" spc="0" baseline="0">
          <a:solidFill>
            <a:srgbClr val="000000"/>
          </a:solidFill>
          <a:uFillTx/>
          <a:latin typeface="Calibri"/>
        </a:defRPr>
      </a:lvl3pPr>
      <a:lvl4pPr marL="1200150" marR="0" lvl="3" indent="-171450" algn="l" defTabSz="685800" rtl="0" fontAlgn="auto" hangingPunct="1">
        <a:lnSpc>
          <a:spcPct val="90000"/>
        </a:lnSpc>
        <a:spcBef>
          <a:spcPts val="375"/>
        </a:spcBef>
        <a:spcAft>
          <a:spcPts val="0"/>
        </a:spcAft>
        <a:buSzPct val="100000"/>
        <a:buFont typeface="Arial" pitchFamily="34"/>
        <a:buChar char="•"/>
        <a:tabLst/>
        <a:defRPr lang="en-US" sz="1350" b="0" i="0" u="none" strike="noStrike" kern="1200" cap="none" spc="0" baseline="0">
          <a:solidFill>
            <a:srgbClr val="000000"/>
          </a:solidFill>
          <a:uFillTx/>
          <a:latin typeface="Calibri"/>
        </a:defRPr>
      </a:lvl4pPr>
      <a:lvl5pPr marL="1543050" marR="0" lvl="4" indent="-171450" algn="l" defTabSz="685800" rtl="0" fontAlgn="auto" hangingPunct="1">
        <a:lnSpc>
          <a:spcPct val="90000"/>
        </a:lnSpc>
        <a:spcBef>
          <a:spcPts val="375"/>
        </a:spcBef>
        <a:spcAft>
          <a:spcPts val="0"/>
        </a:spcAft>
        <a:buSzPct val="100000"/>
        <a:buFont typeface="Arial" pitchFamily="34"/>
        <a:buChar char="•"/>
        <a:tabLst/>
        <a:defRPr lang="en-US" sz="1350" b="0" i="0" u="none" strike="noStrike" kern="1200" cap="none" spc="0" baseline="0">
          <a:solidFill>
            <a:srgbClr val="000000"/>
          </a:solidFill>
          <a:uFillTx/>
          <a:latin typeface="Calibri"/>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A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E444D0-5062-44B3-BEAB-92390553105A}"/>
              </a:ext>
            </a:extLst>
          </p:cNvPr>
          <p:cNvPicPr>
            <a:picLocks noChangeAspect="1"/>
          </p:cNvPicPr>
          <p:nvPr userDrawn="1"/>
        </p:nvPicPr>
        <p:blipFill rotWithShape="1">
          <a:blip r:embed="rId19" cstate="screen">
            <a:extLst>
              <a:ext uri="{28A0092B-C50C-407E-A947-70E740481C1C}">
                <a14:useLocalDpi xmlns:a14="http://schemas.microsoft.com/office/drawing/2010/main" val="0"/>
              </a:ext>
            </a:extLst>
          </a:blip>
          <a:srcRect/>
          <a:stretch/>
        </p:blipFill>
        <p:spPr>
          <a:xfrm>
            <a:off x="0" y="-9818"/>
            <a:ext cx="9155430" cy="1140237"/>
          </a:xfrm>
          <a:prstGeom prst="rect">
            <a:avLst/>
          </a:prstGeom>
        </p:spPr>
      </p:pic>
      <p:pic>
        <p:nvPicPr>
          <p:cNvPr id="12" name="Picture 11">
            <a:extLst>
              <a:ext uri="{FF2B5EF4-FFF2-40B4-BE49-F238E27FC236}">
                <a16:creationId xmlns:a16="http://schemas.microsoft.com/office/drawing/2014/main" id="{CC12FA55-CC32-5C40-BB34-020424F70FC1}"/>
              </a:ext>
            </a:extLst>
          </p:cNvPr>
          <p:cNvPicPr>
            <a:picLocks noChangeAspect="1"/>
          </p:cNvPicPr>
          <p:nvPr userDrawn="1"/>
        </p:nvPicPr>
        <p:blipFill rotWithShape="1">
          <a:blip r:embed="rId20" cstate="print">
            <a:alphaModFix amt="20000"/>
            <a:extLst>
              <a:ext uri="{28A0092B-C50C-407E-A947-70E740481C1C}">
                <a14:useLocalDpi xmlns:a14="http://schemas.microsoft.com/office/drawing/2010/main" val="0"/>
              </a:ext>
            </a:extLst>
          </a:blip>
          <a:srcRect/>
          <a:stretch/>
        </p:blipFill>
        <p:spPr>
          <a:xfrm>
            <a:off x="1163" y="-9819"/>
            <a:ext cx="9142838" cy="1061379"/>
          </a:xfrm>
          <a:prstGeom prst="rect">
            <a:avLst/>
          </a:prstGeom>
        </p:spPr>
      </p:pic>
      <p:sp>
        <p:nvSpPr>
          <p:cNvPr id="3" name="Text Placeholder 2">
            <a:extLst>
              <a:ext uri="{FF2B5EF4-FFF2-40B4-BE49-F238E27FC236}">
                <a16:creationId xmlns:a16="http://schemas.microsoft.com/office/drawing/2014/main" id="{6A1E448E-2A2B-4B33-8FB4-F976F0EC2CC2}"/>
              </a:ext>
            </a:extLst>
          </p:cNvPr>
          <p:cNvSpPr>
            <a:spLocks noGrp="1"/>
          </p:cNvSpPr>
          <p:nvPr>
            <p:ph type="body" idx="1"/>
          </p:nvPr>
        </p:nvSpPr>
        <p:spPr>
          <a:xfrm>
            <a:off x="628650" y="1369219"/>
            <a:ext cx="8239438"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A1156D-D9CD-49A8-B984-63F5B0E73E08}"/>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latin typeface="Century Gothic" panose="020B0502020202020204" pitchFamily="34" charset="0"/>
              </a:defRPr>
            </a:lvl1pPr>
          </a:lstStyle>
          <a:p>
            <a:fld id="{4797799D-48AF-41BA-8490-2117AF7BF97F}" type="datetimeFigureOut">
              <a:rPr lang="en-US" smtClean="0"/>
              <a:pPr/>
              <a:t>7/13/2023</a:t>
            </a:fld>
            <a:endParaRPr lang="en-US" dirty="0"/>
          </a:p>
        </p:txBody>
      </p:sp>
      <p:sp>
        <p:nvSpPr>
          <p:cNvPr id="5" name="Footer Placeholder 4">
            <a:extLst>
              <a:ext uri="{FF2B5EF4-FFF2-40B4-BE49-F238E27FC236}">
                <a16:creationId xmlns:a16="http://schemas.microsoft.com/office/drawing/2014/main" id="{9DA1622E-521A-4418-8766-9C46AC50A4AA}"/>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latin typeface="Century Gothic" panose="020B0502020202020204" pitchFamily="34" charset="0"/>
              </a:defRPr>
            </a:lvl1pPr>
          </a:lstStyle>
          <a:p>
            <a:endParaRPr lang="en-US" dirty="0"/>
          </a:p>
        </p:txBody>
      </p:sp>
      <p:pic>
        <p:nvPicPr>
          <p:cNvPr id="8" name="Picture 7">
            <a:extLst>
              <a:ext uri="{FF2B5EF4-FFF2-40B4-BE49-F238E27FC236}">
                <a16:creationId xmlns:a16="http://schemas.microsoft.com/office/drawing/2014/main" id="{AEF9FD57-CD3B-49E5-9FE8-AABC79F3CB73}"/>
              </a:ext>
            </a:extLst>
          </p:cNvPr>
          <p:cNvPicPr>
            <a:picLocks noChangeAspect="1"/>
          </p:cNvPicPr>
          <p:nvPr userDrawn="1"/>
        </p:nvPicPr>
        <p:blipFill rotWithShape="1">
          <a:blip r:embed="rId21" cstate="email">
            <a:extLst>
              <a:ext uri="{28A0092B-C50C-407E-A947-70E740481C1C}">
                <a14:useLocalDpi xmlns:a14="http://schemas.microsoft.com/office/drawing/2010/main" val="0"/>
              </a:ext>
            </a:extLst>
          </a:blip>
          <a:srcRect/>
          <a:stretch/>
        </p:blipFill>
        <p:spPr>
          <a:xfrm>
            <a:off x="-1" y="937701"/>
            <a:ext cx="9155430" cy="209343"/>
          </a:xfrm>
          <a:prstGeom prst="rect">
            <a:avLst/>
          </a:prstGeom>
        </p:spPr>
      </p:pic>
      <p:sp>
        <p:nvSpPr>
          <p:cNvPr id="10" name="Title Placeholder 1">
            <a:extLst>
              <a:ext uri="{FF2B5EF4-FFF2-40B4-BE49-F238E27FC236}">
                <a16:creationId xmlns:a16="http://schemas.microsoft.com/office/drawing/2014/main" id="{6340FB66-F5CB-47F6-934E-E0929D096A92}"/>
              </a:ext>
            </a:extLst>
          </p:cNvPr>
          <p:cNvSpPr>
            <a:spLocks noGrp="1"/>
          </p:cNvSpPr>
          <p:nvPr>
            <p:ph type="title"/>
          </p:nvPr>
        </p:nvSpPr>
        <p:spPr>
          <a:xfrm>
            <a:off x="625879" y="1"/>
            <a:ext cx="4945363" cy="994172"/>
          </a:xfrm>
          <a:prstGeom prst="rect">
            <a:avLst/>
          </a:prstGeom>
        </p:spPr>
        <p:txBody>
          <a:bodyPr vert="horz" lIns="91440" tIns="45720" rIns="91440" bIns="45720" rtlCol="0" anchor="ctr">
            <a:normAutofit/>
          </a:bodyPr>
          <a:lstStyle/>
          <a:p>
            <a:r>
              <a:rPr lang="en-US"/>
              <a:t>Click to edit Master title style</a:t>
            </a:r>
          </a:p>
        </p:txBody>
      </p:sp>
      <p:pic>
        <p:nvPicPr>
          <p:cNvPr id="11" name="Picture 10">
            <a:extLst>
              <a:ext uri="{FF2B5EF4-FFF2-40B4-BE49-F238E27FC236}">
                <a16:creationId xmlns:a16="http://schemas.microsoft.com/office/drawing/2014/main" id="{31B4582A-45E2-4C2A-8240-926C7075ACDE}"/>
              </a:ext>
            </a:extLst>
          </p:cNvPr>
          <p:cNvPicPr>
            <a:picLocks noChangeAspect="1"/>
          </p:cNvPicPr>
          <p:nvPr userDrawn="1"/>
        </p:nvPicPr>
        <p:blipFill>
          <a:blip r:embed="rId22" cstate="email">
            <a:extLst>
              <a:ext uri="{28A0092B-C50C-407E-A947-70E740481C1C}">
                <a14:useLocalDpi xmlns:a14="http://schemas.microsoft.com/office/drawing/2010/main" val="0"/>
              </a:ext>
            </a:extLst>
          </a:blip>
          <a:srcRect/>
          <a:stretch>
            <a:fillRect/>
          </a:stretch>
        </p:blipFill>
        <p:spPr bwMode="auto">
          <a:xfrm>
            <a:off x="8076365" y="237258"/>
            <a:ext cx="791723" cy="463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a:extLst>
              <a:ext uri="{FF2B5EF4-FFF2-40B4-BE49-F238E27FC236}">
                <a16:creationId xmlns:a16="http://schemas.microsoft.com/office/drawing/2014/main" id="{421DE450-7DD7-42C3-96FA-55F9BF45F3CF}"/>
              </a:ext>
            </a:extLst>
          </p:cNvPr>
          <p:cNvSpPr>
            <a:spLocks noGrp="1"/>
          </p:cNvSpPr>
          <p:nvPr>
            <p:ph type="sldNum" sz="quarter" idx="4"/>
          </p:nvPr>
        </p:nvSpPr>
        <p:spPr>
          <a:xfrm>
            <a:off x="6810688" y="4767263"/>
            <a:ext cx="2057400" cy="273844"/>
          </a:xfrm>
          <a:prstGeom prst="rect">
            <a:avLst/>
          </a:prstGeom>
        </p:spPr>
        <p:txBody>
          <a:bodyPr vert="horz" lIns="91440" tIns="45720" rIns="91440" bIns="45720" rtlCol="0" anchor="ctr"/>
          <a:lstStyle>
            <a:lvl1pPr algn="r">
              <a:defRPr sz="900">
                <a:solidFill>
                  <a:schemeClr val="tx1">
                    <a:tint val="75000"/>
                  </a:schemeClr>
                </a:solidFill>
                <a:latin typeface="Century Gothic" panose="020B0502020202020204" pitchFamily="34" charset="0"/>
              </a:defRPr>
            </a:lvl1pPr>
          </a:lstStyle>
          <a:p>
            <a:fld id="{68B82C89-54EC-4D90-B7E5-A6254AC09059}" type="slidenum">
              <a:rPr lang="en-US" smtClean="0"/>
              <a:pPr/>
              <a:t>‹#›</a:t>
            </a:fld>
            <a:endParaRPr lang="en-US" dirty="0"/>
          </a:p>
        </p:txBody>
      </p:sp>
    </p:spTree>
    <p:extLst>
      <p:ext uri="{BB962C8B-B14F-4D97-AF65-F5344CB8AC3E}">
        <p14:creationId xmlns:p14="http://schemas.microsoft.com/office/powerpoint/2010/main" val="2200792810"/>
      </p:ext>
    </p:extLst>
  </p:cSld>
  <p:clrMap bg1="lt1" tx1="dk1" bg2="lt2" tx2="dk2" accent1="accent1" accent2="accent2" accent3="accent3" accent4="accent4" accent5="accent5" accent6="accent6" hlink="hlink" folHlink="folHlink"/>
  <p:sldLayoutIdLst>
    <p:sldLayoutId id="2147484289" r:id="rId1"/>
    <p:sldLayoutId id="2147484290" r:id="rId2"/>
    <p:sldLayoutId id="2147484291" r:id="rId3"/>
    <p:sldLayoutId id="2147484292" r:id="rId4"/>
    <p:sldLayoutId id="2147484293" r:id="rId5"/>
    <p:sldLayoutId id="2147484294" r:id="rId6"/>
    <p:sldLayoutId id="2147484295" r:id="rId7"/>
    <p:sldLayoutId id="2147484296" r:id="rId8"/>
    <p:sldLayoutId id="2147484297" r:id="rId9"/>
    <p:sldLayoutId id="2147484298" r:id="rId10"/>
    <p:sldLayoutId id="2147484299" r:id="rId11"/>
    <p:sldLayoutId id="2147484300" r:id="rId12"/>
    <p:sldLayoutId id="2147484301" r:id="rId13"/>
    <p:sldLayoutId id="2147484302" r:id="rId14"/>
    <p:sldLayoutId id="2147484303" r:id="rId15"/>
    <p:sldLayoutId id="2147484304" r:id="rId16"/>
    <p:sldLayoutId id="2147484305" r:id="rId17"/>
  </p:sldLayoutIdLst>
  <p:txStyles>
    <p:titleStyle>
      <a:lvl1pPr algn="l" defTabSz="685800" rtl="0" eaLnBrk="1" latinLnBrk="0" hangingPunct="1">
        <a:lnSpc>
          <a:spcPct val="90000"/>
        </a:lnSpc>
        <a:spcBef>
          <a:spcPct val="0"/>
        </a:spcBef>
        <a:buNone/>
        <a:defRPr sz="2400" kern="1200" cap="none" baseline="0">
          <a:solidFill>
            <a:schemeClr val="bg1"/>
          </a:solidFill>
          <a:latin typeface="Century Gothic" panose="020B0502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entury Gothic" panose="020B0502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31.jpeg"/></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10.xml"/><Relationship Id="rId5" Type="http://schemas.openxmlformats.org/officeDocument/2006/relationships/tags" Target="../tags/tag7.xml"/><Relationship Id="rId4" Type="http://schemas.openxmlformats.org/officeDocument/2006/relationships/tags" Target="../tags/tag6.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43.png"/><Relationship Id="rId18" Type="http://schemas.openxmlformats.org/officeDocument/2006/relationships/image" Target="../media/image48.jpeg"/><Relationship Id="rId3" Type="http://schemas.openxmlformats.org/officeDocument/2006/relationships/image" Target="../media/image33.png"/><Relationship Id="rId7" Type="http://schemas.openxmlformats.org/officeDocument/2006/relationships/image" Target="../media/image37.jpeg"/><Relationship Id="rId12" Type="http://schemas.openxmlformats.org/officeDocument/2006/relationships/image" Target="../media/image42.jpeg"/><Relationship Id="rId17" Type="http://schemas.openxmlformats.org/officeDocument/2006/relationships/image" Target="../media/image47.jpeg"/><Relationship Id="rId2" Type="http://schemas.openxmlformats.org/officeDocument/2006/relationships/notesSlide" Target="../notesSlides/notesSlide9.xml"/><Relationship Id="rId16" Type="http://schemas.openxmlformats.org/officeDocument/2006/relationships/image" Target="../media/image46.jpeg"/><Relationship Id="rId1" Type="http://schemas.openxmlformats.org/officeDocument/2006/relationships/slideLayout" Target="../slideLayouts/slideLayout56.xml"/><Relationship Id="rId6" Type="http://schemas.openxmlformats.org/officeDocument/2006/relationships/image" Target="../media/image36.jpeg"/><Relationship Id="rId11" Type="http://schemas.openxmlformats.org/officeDocument/2006/relationships/image" Target="../media/image41.jpeg"/><Relationship Id="rId5" Type="http://schemas.openxmlformats.org/officeDocument/2006/relationships/image" Target="../media/image35.jpeg"/><Relationship Id="rId15" Type="http://schemas.openxmlformats.org/officeDocument/2006/relationships/image" Target="../media/image45.jpeg"/><Relationship Id="rId10" Type="http://schemas.openxmlformats.org/officeDocument/2006/relationships/image" Target="../media/image40.jpeg"/><Relationship Id="rId4" Type="http://schemas.openxmlformats.org/officeDocument/2006/relationships/image" Target="../media/image34.jpeg"/><Relationship Id="rId9" Type="http://schemas.openxmlformats.org/officeDocument/2006/relationships/image" Target="../media/image39.jpeg"/><Relationship Id="rId14" Type="http://schemas.openxmlformats.org/officeDocument/2006/relationships/image" Target="../media/image44.jpeg"/></Relationships>
</file>

<file path=ppt/slides/_rels/slide1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48.xml"/><Relationship Id="rId7" Type="http://schemas.openxmlformats.org/officeDocument/2006/relationships/image" Target="../media/image5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hyperlink" Target="https://www.prnewswire.com/news-releases/royal-caribbean-group-celebrates-30-years-of-save-the-waves-the-companys-commitment-to-sustainability-301684202.html" TargetMode="External"/><Relationship Id="rId9"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53.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descr="A couple of cruise ships&#10;&#10;Description automatically generated with low confidence">
            <a:extLst>
              <a:ext uri="{FF2B5EF4-FFF2-40B4-BE49-F238E27FC236}">
                <a16:creationId xmlns:a16="http://schemas.microsoft.com/office/drawing/2014/main" id="{B33BA28D-78EB-CC7A-51BD-08C3FD0103D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426" r="2" b="1"/>
          <a:stretch/>
        </p:blipFill>
        <p:spPr>
          <a:xfrm>
            <a:off x="27112" y="961"/>
            <a:ext cx="9143980" cy="5142539"/>
          </a:xfrm>
          <a:prstGeom prst="rect">
            <a:avLst/>
          </a:prstGeom>
        </p:spPr>
      </p:pic>
    </p:spTree>
    <p:extLst>
      <p:ext uri="{BB962C8B-B14F-4D97-AF65-F5344CB8AC3E}">
        <p14:creationId xmlns:p14="http://schemas.microsoft.com/office/powerpoint/2010/main" val="38529009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91241E4-7EF8-BE3A-AAAD-067860DCE602}"/>
              </a:ext>
            </a:extLst>
          </p:cNvPr>
          <p:cNvSpPr>
            <a:spLocks noGrp="1"/>
          </p:cNvSpPr>
          <p:nvPr>
            <p:ph type="sldNum" sz="quarter" idx="12"/>
          </p:nvPr>
        </p:nvSpPr>
        <p:spPr/>
        <p:txBody>
          <a:bodyPr/>
          <a:lstStyle/>
          <a:p>
            <a:pPr defTabSz="685800"/>
            <a:fld id="{68B82C89-54EC-4D90-B7E5-A6254AC09059}" type="slidenum">
              <a:rPr lang="en-US">
                <a:solidFill>
                  <a:prstClr val="black">
                    <a:tint val="75000"/>
                  </a:prstClr>
                </a:solidFill>
              </a:rPr>
              <a:pPr defTabSz="685800"/>
              <a:t>10</a:t>
            </a:fld>
            <a:endParaRPr lang="en-US" dirty="0">
              <a:solidFill>
                <a:prstClr val="black">
                  <a:tint val="75000"/>
                </a:prstClr>
              </a:solidFill>
            </a:endParaRPr>
          </a:p>
        </p:txBody>
      </p:sp>
      <p:sp>
        <p:nvSpPr>
          <p:cNvPr id="6" name="TextBox 5">
            <a:extLst>
              <a:ext uri="{FF2B5EF4-FFF2-40B4-BE49-F238E27FC236}">
                <a16:creationId xmlns:a16="http://schemas.microsoft.com/office/drawing/2014/main" id="{25A5FE8F-3B77-B06A-D9F6-26AE30FF6F82}"/>
              </a:ext>
            </a:extLst>
          </p:cNvPr>
          <p:cNvSpPr txBox="1"/>
          <p:nvPr/>
        </p:nvSpPr>
        <p:spPr>
          <a:xfrm>
            <a:off x="199037" y="4662727"/>
            <a:ext cx="6054447" cy="429285"/>
          </a:xfrm>
          <a:prstGeom prst="rect">
            <a:avLst/>
          </a:prstGeom>
          <a:noFill/>
        </p:spPr>
        <p:txBody>
          <a:bodyPr wrap="square">
            <a:spAutoFit/>
          </a:bodyPr>
          <a:lstStyle/>
          <a:p>
            <a:pPr defTabSz="685800">
              <a:lnSpc>
                <a:spcPct val="107000"/>
              </a:lnSpc>
            </a:pPr>
            <a:r>
              <a:rPr lang="en-US" sz="700" dirty="0">
                <a:solidFill>
                  <a:prstClr val="black"/>
                </a:solidFill>
                <a:latin typeface="Century Gothic" panose="020B0502020202020204" pitchFamily="34" charset="0"/>
                <a:ea typeface="Calibri" panose="020F0502020204030204" pitchFamily="34" charset="0"/>
                <a:cs typeface="Times New Roman" panose="02020603050405020304" pitchFamily="18" charset="0"/>
              </a:rPr>
              <a:t>Source:  CLIA Environmental Technologies and Practices Report, October 2022</a:t>
            </a:r>
          </a:p>
          <a:p>
            <a:pPr defTabSz="685800">
              <a:lnSpc>
                <a:spcPct val="107000"/>
              </a:lnSpc>
            </a:pPr>
            <a:r>
              <a:rPr lang="en-US" sz="700" dirty="0">
                <a:solidFill>
                  <a:prstClr val="black"/>
                </a:solidFill>
                <a:latin typeface="Century Gothic" panose="020B0502020202020204" pitchFamily="34" charset="0"/>
                <a:ea typeface="Calibri" panose="020F0502020204030204" pitchFamily="34" charset="0"/>
                <a:cs typeface="Times New Roman" panose="02020603050405020304" pitchFamily="18" charset="0"/>
              </a:rPr>
              <a:t>Note:  Projections do not account for retirement of vessels between now and 2028; vessels more likely to be retired first are those without these technologies and/or unable to be retrofitted with these technologies, are .</a:t>
            </a:r>
          </a:p>
        </p:txBody>
      </p:sp>
      <p:cxnSp>
        <p:nvCxnSpPr>
          <p:cNvPr id="7" name="Straight Connector 6">
            <a:extLst>
              <a:ext uri="{FF2B5EF4-FFF2-40B4-BE49-F238E27FC236}">
                <a16:creationId xmlns:a16="http://schemas.microsoft.com/office/drawing/2014/main" id="{3EB03AB9-7AB8-911C-AD17-068AADB82E8A}"/>
              </a:ext>
            </a:extLst>
          </p:cNvPr>
          <p:cNvCxnSpPr/>
          <p:nvPr/>
        </p:nvCxnSpPr>
        <p:spPr>
          <a:xfrm>
            <a:off x="1247956" y="1736947"/>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725710A-D90D-E961-B40E-E41FF6EF4D5E}"/>
              </a:ext>
            </a:extLst>
          </p:cNvPr>
          <p:cNvSpPr txBox="1"/>
          <p:nvPr/>
        </p:nvSpPr>
        <p:spPr>
          <a:xfrm rot="16200000">
            <a:off x="-762594" y="2665933"/>
            <a:ext cx="2982097" cy="646331"/>
          </a:xfrm>
          <a:prstGeom prst="rect">
            <a:avLst/>
          </a:prstGeom>
          <a:noFill/>
        </p:spPr>
        <p:txBody>
          <a:bodyPr wrap="square" rtlCol="0">
            <a:spAutoFit/>
          </a:bodyPr>
          <a:lstStyle/>
          <a:p>
            <a:pPr algn="ctr"/>
            <a:r>
              <a:rPr lang="en-GB" sz="3600" b="1" dirty="0">
                <a:solidFill>
                  <a:schemeClr val="accent6">
                    <a:lumMod val="50000"/>
                  </a:schemeClr>
                </a:solidFill>
              </a:rPr>
              <a:t>by 2028</a:t>
            </a:r>
          </a:p>
        </p:txBody>
      </p:sp>
      <p:pic>
        <p:nvPicPr>
          <p:cNvPr id="10" name="Picture 9">
            <a:extLst>
              <a:ext uri="{FF2B5EF4-FFF2-40B4-BE49-F238E27FC236}">
                <a16:creationId xmlns:a16="http://schemas.microsoft.com/office/drawing/2014/main" id="{404547E5-C530-FE37-3BC4-0E2BBFE5E1E7}"/>
              </a:ext>
            </a:extLst>
          </p:cNvPr>
          <p:cNvPicPr>
            <a:picLocks noChangeAspect="1"/>
          </p:cNvPicPr>
          <p:nvPr/>
        </p:nvPicPr>
        <p:blipFill>
          <a:blip r:embed="rId3"/>
          <a:stretch>
            <a:fillRect/>
          </a:stretch>
        </p:blipFill>
        <p:spPr>
          <a:xfrm>
            <a:off x="1458390" y="1681424"/>
            <a:ext cx="6382487" cy="2615348"/>
          </a:xfrm>
          <a:prstGeom prst="rect">
            <a:avLst/>
          </a:prstGeom>
        </p:spPr>
      </p:pic>
      <p:sp>
        <p:nvSpPr>
          <p:cNvPr id="13" name="Title 2">
            <a:extLst>
              <a:ext uri="{FF2B5EF4-FFF2-40B4-BE49-F238E27FC236}">
                <a16:creationId xmlns:a16="http://schemas.microsoft.com/office/drawing/2014/main" id="{E381ACD5-3AC2-EB2B-9F69-4678AC2ED717}"/>
              </a:ext>
            </a:extLst>
          </p:cNvPr>
          <p:cNvSpPr>
            <a:spLocks noGrp="1"/>
          </p:cNvSpPr>
          <p:nvPr>
            <p:ph type="title"/>
          </p:nvPr>
        </p:nvSpPr>
        <p:spPr>
          <a:xfrm>
            <a:off x="198438" y="88900"/>
            <a:ext cx="7821612" cy="914400"/>
          </a:xfrm>
        </p:spPr>
        <p:txBody>
          <a:bodyPr/>
          <a:lstStyle/>
          <a:p>
            <a:r>
              <a:rPr lang="en-GB" dirty="0"/>
              <a:t>The most technologically advanced fleet</a:t>
            </a:r>
            <a:r>
              <a:rPr lang="en-GB" sz="900" dirty="0"/>
              <a:t> </a:t>
            </a:r>
            <a:br>
              <a:rPr lang="en-GB" sz="900" dirty="0"/>
            </a:br>
            <a:r>
              <a:rPr lang="en-GB" sz="900" dirty="0"/>
              <a:t>(future impact)</a:t>
            </a:r>
            <a:endParaRPr lang="en-AT" sz="900" dirty="0"/>
          </a:p>
        </p:txBody>
      </p:sp>
    </p:spTree>
    <p:extLst>
      <p:ext uri="{BB962C8B-B14F-4D97-AF65-F5344CB8AC3E}">
        <p14:creationId xmlns:p14="http://schemas.microsoft.com/office/powerpoint/2010/main" val="35386477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FB5169-18BF-479C-B616-E43AC8B33C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073"/>
          <a:stretch/>
        </p:blipFill>
        <p:spPr>
          <a:xfrm>
            <a:off x="-8021" y="0"/>
            <a:ext cx="9152021" cy="5143500"/>
          </a:xfrm>
          <a:prstGeom prst="rect">
            <a:avLst/>
          </a:prstGeom>
        </p:spPr>
      </p:pic>
      <p:sp>
        <p:nvSpPr>
          <p:cNvPr id="6" name="TextBox 5">
            <a:extLst>
              <a:ext uri="{FF2B5EF4-FFF2-40B4-BE49-F238E27FC236}">
                <a16:creationId xmlns:a16="http://schemas.microsoft.com/office/drawing/2014/main" id="{579DBFC3-E659-4379-ABD5-D818A25AC0E0}"/>
              </a:ext>
            </a:extLst>
          </p:cNvPr>
          <p:cNvSpPr txBox="1"/>
          <p:nvPr/>
        </p:nvSpPr>
        <p:spPr>
          <a:xfrm>
            <a:off x="4827494" y="2571750"/>
            <a:ext cx="4191472" cy="2308324"/>
          </a:xfrm>
          <a:prstGeom prst="rect">
            <a:avLst/>
          </a:prstGeom>
          <a:noFill/>
        </p:spPr>
        <p:txBody>
          <a:bodyPr wrap="square" rtlCol="0">
            <a:spAutoFit/>
          </a:bodyPr>
          <a:lstStyle/>
          <a:p>
            <a:pPr marL="0" marR="0" lvl="0" indent="0" algn="r" defTabSz="685800" rtl="0" eaLnBrk="0" fontAlgn="base" latinLnBrk="0" hangingPunct="0">
              <a:lnSpc>
                <a:spcPct val="100000"/>
              </a:lnSpc>
              <a:spcBef>
                <a:spcPct val="0"/>
              </a:spcBef>
              <a:spcAft>
                <a:spcPct val="0"/>
              </a:spcAft>
              <a:buClrTx/>
              <a:buSzTx/>
              <a:buFontTx/>
              <a:buNone/>
              <a:tabLst/>
              <a:defRPr/>
            </a:pPr>
            <a:r>
              <a:rPr lang="en-US" sz="3600" dirty="0">
                <a:solidFill>
                  <a:prstClr val="white"/>
                </a:solidFill>
                <a:latin typeface="Century Gothic" panose="020B0502020202020204" pitchFamily="34" charset="0"/>
              </a:rPr>
              <a:t>Immediate solutions: </a:t>
            </a:r>
          </a:p>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hore Side Electricity</a:t>
            </a:r>
          </a:p>
        </p:txBody>
      </p:sp>
      <p:pic>
        <p:nvPicPr>
          <p:cNvPr id="11" name="Picture 4">
            <a:extLst>
              <a:ext uri="{FF2B5EF4-FFF2-40B4-BE49-F238E27FC236}">
                <a16:creationId xmlns:a16="http://schemas.microsoft.com/office/drawing/2014/main" id="{78EC0760-44C3-43C4-A1BF-15ECF0EBF28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21845" y="339757"/>
            <a:ext cx="2493689" cy="8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2434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9A997508-3B50-CA03-0100-615CE327071B}"/>
              </a:ext>
            </a:extLst>
          </p:cNvPr>
          <p:cNvCxnSpPr>
            <a:cxnSpLocks/>
          </p:cNvCxnSpPr>
          <p:nvPr/>
        </p:nvCxnSpPr>
        <p:spPr>
          <a:xfrm>
            <a:off x="4693024" y="2333526"/>
            <a:ext cx="0" cy="1585829"/>
          </a:xfrm>
          <a:prstGeom prst="line">
            <a:avLst/>
          </a:prstGeom>
          <a:ln w="762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1203571-03DD-4518-B556-AABC598CB337}"/>
              </a:ext>
            </a:extLst>
          </p:cNvPr>
          <p:cNvSpPr>
            <a:spLocks noGrp="1"/>
          </p:cNvSpPr>
          <p:nvPr>
            <p:ph type="title"/>
          </p:nvPr>
        </p:nvSpPr>
        <p:spPr/>
        <p:txBody>
          <a:bodyPr>
            <a:normAutofit/>
          </a:bodyPr>
          <a:lstStyle/>
          <a:p>
            <a:r>
              <a:rPr lang="en-GB" sz="2200" dirty="0"/>
              <a:t>EU goal is to have full SSE coverage or  ‘zero-emission’ solutions by 2035</a:t>
            </a:r>
          </a:p>
        </p:txBody>
      </p:sp>
      <p:pic>
        <p:nvPicPr>
          <p:cNvPr id="3074" name="Picture 2">
            <a:extLst>
              <a:ext uri="{FF2B5EF4-FFF2-40B4-BE49-F238E27FC236}">
                <a16:creationId xmlns:a16="http://schemas.microsoft.com/office/drawing/2014/main" id="{6CB5E2E5-DD60-4774-B4D7-430F9A20BC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77838"/>
            <a:ext cx="3585502" cy="272523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Placeholder 6">
            <a:extLst>
              <a:ext uri="{FF2B5EF4-FFF2-40B4-BE49-F238E27FC236}">
                <a16:creationId xmlns:a16="http://schemas.microsoft.com/office/drawing/2014/main" id="{CC1873DA-1CBA-931A-4AD2-72B8139AEB09}"/>
              </a:ext>
            </a:extLst>
          </p:cNvPr>
          <p:cNvPicPr>
            <a:picLocks noChangeAspect="1"/>
          </p:cNvPicPr>
          <p:nvPr/>
        </p:nvPicPr>
        <p:blipFill rotWithShape="1">
          <a:blip r:embed="rId4" cstate="screen">
            <a:alphaModFix amt="35000"/>
            <a:extLst>
              <a:ext uri="{28A0092B-C50C-407E-A947-70E740481C1C}">
                <a14:useLocalDpi xmlns:a14="http://schemas.microsoft.com/office/drawing/2010/main"/>
              </a:ext>
            </a:extLst>
          </a:blip>
          <a:srcRect b="-173"/>
          <a:stretch/>
        </p:blipFill>
        <p:spPr>
          <a:xfrm>
            <a:off x="5736932" y="1973860"/>
            <a:ext cx="3407068" cy="2729210"/>
          </a:xfrm>
          <a:prstGeom prst="rect">
            <a:avLst/>
          </a:prstGeom>
        </p:spPr>
      </p:pic>
      <p:cxnSp>
        <p:nvCxnSpPr>
          <p:cNvPr id="7" name="Straight Connector 6">
            <a:extLst>
              <a:ext uri="{FF2B5EF4-FFF2-40B4-BE49-F238E27FC236}">
                <a16:creationId xmlns:a16="http://schemas.microsoft.com/office/drawing/2014/main" id="{470860E4-B435-A666-E9C8-EAA4F460705A}"/>
              </a:ext>
            </a:extLst>
          </p:cNvPr>
          <p:cNvCxnSpPr>
            <a:cxnSpLocks/>
          </p:cNvCxnSpPr>
          <p:nvPr/>
        </p:nvCxnSpPr>
        <p:spPr>
          <a:xfrm>
            <a:off x="4693024" y="1351429"/>
            <a:ext cx="0" cy="1036348"/>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DAA8C61-0620-0999-FCA0-9F07E7C4342C}"/>
              </a:ext>
            </a:extLst>
          </p:cNvPr>
          <p:cNvSpPr txBox="1"/>
          <p:nvPr/>
        </p:nvSpPr>
        <p:spPr>
          <a:xfrm>
            <a:off x="0" y="1182468"/>
            <a:ext cx="27969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SE will be a viable solution when at Dock</a:t>
            </a:r>
            <a:endParaRPr kumimoji="0" lang="en-AT"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91FC06B-91A1-4C07-18E0-DB0A262EEC62}"/>
              </a:ext>
            </a:extLst>
          </p:cNvPr>
          <p:cNvSpPr txBox="1"/>
          <p:nvPr/>
        </p:nvSpPr>
        <p:spPr>
          <a:xfrm>
            <a:off x="6118411" y="1182468"/>
            <a:ext cx="3025589"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lumMod val="85000"/>
                  </a:prstClr>
                </a:solidFill>
                <a:effectLst/>
                <a:uLnTx/>
                <a:uFillTx/>
                <a:latin typeface="Calibri" panose="020F0502020204030204"/>
                <a:ea typeface="+mn-ea"/>
                <a:cs typeface="+mn-cs"/>
              </a:rPr>
              <a:t>Alternative fuel options will focus on Sailing</a:t>
            </a:r>
            <a:endParaRPr kumimoji="0" lang="en-AT" sz="1800" b="0" i="0" u="none" strike="noStrike" kern="1200" cap="none" spc="0" normalizeH="0" baseline="0" noProof="0" dirty="0">
              <a:ln>
                <a:noFill/>
              </a:ln>
              <a:solidFill>
                <a:prstClr val="white">
                  <a:lumMod val="85000"/>
                </a:prstClr>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A4BAC5E-5DA2-CACC-DEC7-62E9901EB52A}"/>
              </a:ext>
            </a:extLst>
          </p:cNvPr>
          <p:cNvSpPr txBox="1"/>
          <p:nvPr/>
        </p:nvSpPr>
        <p:spPr>
          <a:xfrm>
            <a:off x="3823258" y="2447823"/>
            <a:ext cx="1739531"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prstClr val="black"/>
                </a:solidFill>
                <a:effectLst/>
                <a:uLnTx/>
                <a:uFillTx/>
                <a:latin typeface="Calibri" panose="020F0502020204030204"/>
                <a:ea typeface="+mn-ea"/>
                <a:cs typeface="+mn-cs"/>
              </a:rPr>
              <a:t>“The time a vessel is on SSE is crucial to stockpile other low emission fuels for sailing times” </a:t>
            </a:r>
            <a:endParaRPr kumimoji="0" lang="en-AT" sz="1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84B49863-5767-12BF-C7B6-7E0F0C046BF8}"/>
              </a:ext>
            </a:extLst>
          </p:cNvPr>
          <p:cNvCxnSpPr>
            <a:cxnSpLocks/>
          </p:cNvCxnSpPr>
          <p:nvPr/>
        </p:nvCxnSpPr>
        <p:spPr>
          <a:xfrm>
            <a:off x="4693024" y="3865105"/>
            <a:ext cx="0" cy="1036348"/>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17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35D86D-6687-CAF9-DF1E-2EB853F3D80C}"/>
              </a:ext>
            </a:extLst>
          </p:cNvPr>
          <p:cNvSpPr/>
          <p:nvPr/>
        </p:nvSpPr>
        <p:spPr>
          <a:xfrm>
            <a:off x="0" y="0"/>
            <a:ext cx="9211235"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T"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8ACB19AA-840D-4AE6-0D3A-EE8063ACF28A}"/>
              </a:ext>
            </a:extLst>
          </p:cNvPr>
          <p:cNvSpPr txBox="1"/>
          <p:nvPr/>
        </p:nvSpPr>
        <p:spPr>
          <a:xfrm rot="16200000">
            <a:off x="-2090344" y="2090345"/>
            <a:ext cx="4950130" cy="769441"/>
          </a:xfrm>
          <a:prstGeom prst="rect">
            <a:avLst/>
          </a:prstGeom>
          <a:noFill/>
        </p:spPr>
        <p:txBody>
          <a:bodyPr wrap="square" rtlCol="0">
            <a:spAutoFit/>
          </a:body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172356"/>
                </a:solidFill>
                <a:effectLst/>
                <a:uLnTx/>
                <a:uFillTx/>
                <a:latin typeface="Century Gothic" panose="020B0502020202020204" pitchFamily="34" charset="0"/>
                <a:ea typeface="+mn-ea"/>
                <a:cs typeface="+mn-cs"/>
              </a:rPr>
              <a:t>European SSE </a:t>
            </a:r>
          </a:p>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172356"/>
                </a:solidFill>
                <a:effectLst/>
                <a:uLnTx/>
                <a:uFillTx/>
                <a:latin typeface="Century Gothic" panose="020B0502020202020204" pitchFamily="34" charset="0"/>
                <a:ea typeface="+mn-ea"/>
                <a:cs typeface="+mn-cs"/>
              </a:rPr>
              <a:t>Feb 2023</a:t>
            </a:r>
          </a:p>
        </p:txBody>
      </p:sp>
      <p:sp>
        <p:nvSpPr>
          <p:cNvPr id="2" name="TextBox 1">
            <a:extLst>
              <a:ext uri="{FF2B5EF4-FFF2-40B4-BE49-F238E27FC236}">
                <a16:creationId xmlns:a16="http://schemas.microsoft.com/office/drawing/2014/main" id="{A32F80C5-9AED-DFAF-4597-B96D73CB0697}"/>
              </a:ext>
            </a:extLst>
          </p:cNvPr>
          <p:cNvSpPr txBox="1"/>
          <p:nvPr/>
        </p:nvSpPr>
        <p:spPr>
          <a:xfrm>
            <a:off x="208610" y="2968711"/>
            <a:ext cx="4183046"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262626"/>
                </a:solidFill>
                <a:effectLst/>
                <a:uLnTx/>
                <a:uFillTx/>
                <a:latin typeface="Arial"/>
                <a:ea typeface="+mn-ea"/>
                <a:cs typeface="+mn-cs"/>
              </a:rPr>
              <a:t>“40% of the fleet operated by CLIA members can connect to SSE today. By 2028, this number will be 75% global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262626"/>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262626"/>
                </a:solidFill>
                <a:effectLst/>
                <a:uLnTx/>
                <a:uFillTx/>
                <a:latin typeface="Arial"/>
                <a:ea typeface="+mn-ea"/>
                <a:cs typeface="+mn-cs"/>
              </a:rPr>
              <a:t>“Our members have invested and are ready; what we lack is the shoreside infrastructure at scale” </a:t>
            </a:r>
            <a:endParaRPr kumimoji="0" lang="en-AT" sz="1600" b="0" i="1" u="none" strike="noStrike" kern="1200" cap="none" spc="0" normalizeH="0" baseline="0" noProof="0" dirty="0">
              <a:ln>
                <a:noFill/>
              </a:ln>
              <a:solidFill>
                <a:srgbClr val="262626"/>
              </a:solidFill>
              <a:effectLst/>
              <a:uLnTx/>
              <a:uFillTx/>
              <a:latin typeface="Arial"/>
              <a:ea typeface="+mn-ea"/>
              <a:cs typeface="+mn-cs"/>
            </a:endParaRPr>
          </a:p>
        </p:txBody>
      </p:sp>
      <p:pic>
        <p:nvPicPr>
          <p:cNvPr id="7" name="Picture 6">
            <a:extLst>
              <a:ext uri="{FF2B5EF4-FFF2-40B4-BE49-F238E27FC236}">
                <a16:creationId xmlns:a16="http://schemas.microsoft.com/office/drawing/2014/main" id="{5059926A-22E4-92D3-3963-E5A13DC5E8D4}"/>
              </a:ext>
            </a:extLst>
          </p:cNvPr>
          <p:cNvPicPr>
            <a:picLocks noChangeAspect="1"/>
          </p:cNvPicPr>
          <p:nvPr/>
        </p:nvPicPr>
        <p:blipFill>
          <a:blip r:embed="rId2"/>
          <a:stretch>
            <a:fillRect/>
          </a:stretch>
        </p:blipFill>
        <p:spPr>
          <a:xfrm>
            <a:off x="4600266" y="0"/>
            <a:ext cx="4599820" cy="5143500"/>
          </a:xfrm>
          <a:prstGeom prst="rect">
            <a:avLst/>
          </a:prstGeom>
        </p:spPr>
      </p:pic>
    </p:spTree>
    <p:extLst>
      <p:ext uri="{BB962C8B-B14F-4D97-AF65-F5344CB8AC3E}">
        <p14:creationId xmlns:p14="http://schemas.microsoft.com/office/powerpoint/2010/main" val="26152114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FB5169-18BF-479C-B616-E43AC8B33C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073"/>
          <a:stretch/>
        </p:blipFill>
        <p:spPr>
          <a:xfrm>
            <a:off x="-8021" y="0"/>
            <a:ext cx="9152021" cy="5143500"/>
          </a:xfrm>
          <a:prstGeom prst="rect">
            <a:avLst/>
          </a:prstGeom>
        </p:spPr>
      </p:pic>
      <p:sp>
        <p:nvSpPr>
          <p:cNvPr id="6" name="TextBox 5">
            <a:extLst>
              <a:ext uri="{FF2B5EF4-FFF2-40B4-BE49-F238E27FC236}">
                <a16:creationId xmlns:a16="http://schemas.microsoft.com/office/drawing/2014/main" id="{579DBFC3-E659-4379-ABD5-D818A25AC0E0}"/>
              </a:ext>
            </a:extLst>
          </p:cNvPr>
          <p:cNvSpPr txBox="1"/>
          <p:nvPr/>
        </p:nvSpPr>
        <p:spPr>
          <a:xfrm>
            <a:off x="4827494" y="2571750"/>
            <a:ext cx="4191472" cy="646331"/>
          </a:xfrm>
          <a:prstGeom prst="rect">
            <a:avLst/>
          </a:prstGeom>
          <a:noFill/>
        </p:spPr>
        <p:txBody>
          <a:bodyPr wrap="square" rtlCol="0">
            <a:spAutoFit/>
          </a:body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hore</a:t>
            </a:r>
          </a:p>
        </p:txBody>
      </p:sp>
      <p:pic>
        <p:nvPicPr>
          <p:cNvPr id="11" name="Picture 4">
            <a:extLst>
              <a:ext uri="{FF2B5EF4-FFF2-40B4-BE49-F238E27FC236}">
                <a16:creationId xmlns:a16="http://schemas.microsoft.com/office/drawing/2014/main" id="{78EC0760-44C3-43C4-A1BF-15ECF0EBF28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21845" y="339757"/>
            <a:ext cx="2493689" cy="8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50360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08376-61F0-C8BC-9F3E-DA8C9E97EA2F}"/>
              </a:ext>
            </a:extLst>
          </p:cNvPr>
          <p:cNvSpPr>
            <a:spLocks noGrp="1"/>
          </p:cNvSpPr>
          <p:nvPr>
            <p:ph type="title"/>
          </p:nvPr>
        </p:nvSpPr>
        <p:spPr/>
        <p:txBody>
          <a:bodyPr/>
          <a:lstStyle/>
          <a:p>
            <a:r>
              <a:rPr lang="en-GB" dirty="0"/>
              <a:t>Sailing to a Better Future </a:t>
            </a:r>
            <a:r>
              <a:rPr lang="en-GB" sz="900" dirty="0"/>
              <a:t>(Two Core Strategies)</a:t>
            </a:r>
            <a:endParaRPr lang="en-AT" sz="900" dirty="0"/>
          </a:p>
        </p:txBody>
      </p:sp>
      <p:sp>
        <p:nvSpPr>
          <p:cNvPr id="5" name="TextBox 4">
            <a:extLst>
              <a:ext uri="{FF2B5EF4-FFF2-40B4-BE49-F238E27FC236}">
                <a16:creationId xmlns:a16="http://schemas.microsoft.com/office/drawing/2014/main" id="{074BC59C-219A-078C-F07B-114767EF31E5}"/>
              </a:ext>
            </a:extLst>
          </p:cNvPr>
          <p:cNvSpPr txBox="1"/>
          <p:nvPr/>
        </p:nvSpPr>
        <p:spPr>
          <a:xfrm>
            <a:off x="763507" y="1530642"/>
            <a:ext cx="2982097" cy="230832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chemeClr val="bg1">
                    <a:lumMod val="85000"/>
                  </a:schemeClr>
                </a:solidFill>
                <a:effectLst/>
                <a:uLnTx/>
                <a:uFillTx/>
                <a:latin typeface="Calibri" panose="020F0502020204030204"/>
                <a:ea typeface="+mn-ea"/>
                <a:cs typeface="+mn-cs"/>
              </a:rPr>
              <a:t>PURSUING </a:t>
            </a:r>
            <a:r>
              <a:rPr kumimoji="0" lang="en-GB" sz="3600" b="1" i="0" u="none" strike="noStrike" kern="1200" cap="none" spc="0" normalizeH="0" baseline="0" noProof="0" dirty="0">
                <a:ln>
                  <a:noFill/>
                </a:ln>
                <a:solidFill>
                  <a:schemeClr val="bg1">
                    <a:lumMod val="85000"/>
                  </a:schemeClr>
                </a:solidFill>
                <a:effectLst/>
                <a:uLnTx/>
                <a:uFillTx/>
                <a:latin typeface="Calibri" panose="020F0502020204030204"/>
                <a:ea typeface="+mn-ea"/>
                <a:cs typeface="+mn-cs"/>
              </a:rPr>
              <a:t>NET–ZERO CARBON CRUISING </a:t>
            </a:r>
          </a:p>
        </p:txBody>
      </p:sp>
      <p:cxnSp>
        <p:nvCxnSpPr>
          <p:cNvPr id="7" name="Straight Connector 6">
            <a:extLst>
              <a:ext uri="{FF2B5EF4-FFF2-40B4-BE49-F238E27FC236}">
                <a16:creationId xmlns:a16="http://schemas.microsoft.com/office/drawing/2014/main" id="{0E2585B9-9FC8-A1E9-1E87-A5C7515584D8}"/>
              </a:ext>
            </a:extLst>
          </p:cNvPr>
          <p:cNvCxnSpPr/>
          <p:nvPr/>
        </p:nvCxnSpPr>
        <p:spPr>
          <a:xfrm>
            <a:off x="4256672" y="1590203"/>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19FCBD8-4A21-B821-F925-53CBF0F4AD09}"/>
              </a:ext>
            </a:extLst>
          </p:cNvPr>
          <p:cNvSpPr txBox="1"/>
          <p:nvPr/>
        </p:nvSpPr>
        <p:spPr>
          <a:xfrm>
            <a:off x="4743715" y="1530642"/>
            <a:ext cx="2982097"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black"/>
                </a:solidFill>
                <a:effectLst/>
                <a:uLnTx/>
                <a:uFillTx/>
                <a:latin typeface="Calibri" panose="020F0502020204030204"/>
                <a:ea typeface="+mn-ea"/>
                <a:cs typeface="+mn-cs"/>
              </a:rPr>
              <a:t>RESPONSIBLE </a:t>
            </a:r>
            <a:r>
              <a:rPr kumimoji="0" lang="en-GB" sz="3600" b="1" i="0" u="none" strike="noStrike" kern="1200" cap="none" spc="0" normalizeH="0" baseline="0" noProof="0" dirty="0">
                <a:ln>
                  <a:noFill/>
                </a:ln>
                <a:solidFill>
                  <a:srgbClr val="70AD47">
                    <a:lumMod val="50000"/>
                  </a:srgbClr>
                </a:solidFill>
                <a:effectLst/>
                <a:uLnTx/>
                <a:uFillTx/>
                <a:latin typeface="Calibri" panose="020F0502020204030204"/>
                <a:ea typeface="+mn-ea"/>
                <a:cs typeface="+mn-cs"/>
              </a:rPr>
              <a:t>SUSTAINABLECRUISE TOURISM </a:t>
            </a:r>
          </a:p>
        </p:txBody>
      </p:sp>
    </p:spTree>
    <p:extLst>
      <p:ext uri="{BB962C8B-B14F-4D97-AF65-F5344CB8AC3E}">
        <p14:creationId xmlns:p14="http://schemas.microsoft.com/office/powerpoint/2010/main" val="3355040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08376-61F0-C8BC-9F3E-DA8C9E97EA2F}"/>
              </a:ext>
            </a:extLst>
          </p:cNvPr>
          <p:cNvSpPr>
            <a:spLocks noGrp="1"/>
          </p:cNvSpPr>
          <p:nvPr>
            <p:ph type="title"/>
          </p:nvPr>
        </p:nvSpPr>
        <p:spPr/>
        <p:txBody>
          <a:bodyPr/>
          <a:lstStyle/>
          <a:p>
            <a:r>
              <a:rPr lang="en-GB" dirty="0"/>
              <a:t>Cruise Tourism is Managed Tourism </a:t>
            </a:r>
            <a:endParaRPr lang="en-AT" sz="900" dirty="0"/>
          </a:p>
        </p:txBody>
      </p:sp>
      <p:cxnSp>
        <p:nvCxnSpPr>
          <p:cNvPr id="7" name="Straight Connector 6">
            <a:extLst>
              <a:ext uri="{FF2B5EF4-FFF2-40B4-BE49-F238E27FC236}">
                <a16:creationId xmlns:a16="http://schemas.microsoft.com/office/drawing/2014/main" id="{0E2585B9-9FC8-A1E9-1E87-A5C7515584D8}"/>
              </a:ext>
            </a:extLst>
          </p:cNvPr>
          <p:cNvCxnSpPr/>
          <p:nvPr/>
        </p:nvCxnSpPr>
        <p:spPr>
          <a:xfrm>
            <a:off x="5909365" y="1590203"/>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19FCBD8-4A21-B821-F925-53CBF0F4AD09}"/>
              </a:ext>
            </a:extLst>
          </p:cNvPr>
          <p:cNvSpPr txBox="1"/>
          <p:nvPr/>
        </p:nvSpPr>
        <p:spPr>
          <a:xfrm>
            <a:off x="6161903" y="1530642"/>
            <a:ext cx="2982097" cy="2308324"/>
          </a:xfrm>
          <a:prstGeom prst="rect">
            <a:avLst/>
          </a:prstGeom>
          <a:noFill/>
        </p:spPr>
        <p:txBody>
          <a:bodyPr wrap="square" rtlCol="0">
            <a:spAutoFit/>
          </a:bodyPr>
          <a:lstStyle/>
          <a:p>
            <a:r>
              <a:rPr lang="en-GB" sz="3600" dirty="0"/>
              <a:t>RESPONSIBLE </a:t>
            </a:r>
            <a:r>
              <a:rPr lang="en-GB" sz="3600" b="1" dirty="0">
                <a:solidFill>
                  <a:schemeClr val="accent6">
                    <a:lumMod val="50000"/>
                  </a:schemeClr>
                </a:solidFill>
              </a:rPr>
              <a:t>SUSTAINABLECRUISE TOURISM </a:t>
            </a:r>
          </a:p>
        </p:txBody>
      </p:sp>
      <p:sp>
        <p:nvSpPr>
          <p:cNvPr id="2" name="Content Placeholder 1">
            <a:extLst>
              <a:ext uri="{FF2B5EF4-FFF2-40B4-BE49-F238E27FC236}">
                <a16:creationId xmlns:a16="http://schemas.microsoft.com/office/drawing/2014/main" id="{EDF6C9C4-491C-8599-D2CB-1682DAF8E189}"/>
              </a:ext>
            </a:extLst>
          </p:cNvPr>
          <p:cNvSpPr>
            <a:spLocks noGrp="1"/>
          </p:cNvSpPr>
          <p:nvPr>
            <p:ph idx="1"/>
          </p:nvPr>
        </p:nvSpPr>
        <p:spPr>
          <a:xfrm>
            <a:off x="45610" y="1255736"/>
            <a:ext cx="4835121" cy="2862322"/>
          </a:xfrm>
        </p:spPr>
        <p:txBody>
          <a:bodyPr>
            <a:noAutofit/>
          </a:bodyPr>
          <a:lstStyle/>
          <a:p>
            <a:pPr marL="0" indent="0" algn="r">
              <a:buNone/>
            </a:pPr>
            <a:r>
              <a:rPr lang="en-GB" sz="1200" dirty="0">
                <a:solidFill>
                  <a:schemeClr val="tx1">
                    <a:lumMod val="65000"/>
                    <a:lumOff val="35000"/>
                  </a:schemeClr>
                </a:solidFill>
              </a:rPr>
              <a:t>Cruise tourism is </a:t>
            </a:r>
            <a:r>
              <a:rPr lang="en-GB" sz="1200" b="1" i="1" dirty="0"/>
              <a:t>managed tourism</a:t>
            </a:r>
            <a:r>
              <a:rPr lang="en-GB" sz="1200" dirty="0">
                <a:solidFill>
                  <a:schemeClr val="tx1">
                    <a:lumMod val="65000"/>
                    <a:lumOff val="35000"/>
                  </a:schemeClr>
                </a:solidFill>
              </a:rPr>
              <a:t>; by collaborating with ports and destinations.</a:t>
            </a:r>
          </a:p>
          <a:p>
            <a:pPr marL="0" indent="0" algn="r">
              <a:buNone/>
            </a:pPr>
            <a:endParaRPr lang="en-GB" sz="1200" dirty="0">
              <a:solidFill>
                <a:schemeClr val="tx1">
                  <a:lumMod val="65000"/>
                  <a:lumOff val="35000"/>
                </a:schemeClr>
              </a:solidFill>
            </a:endParaRPr>
          </a:p>
          <a:p>
            <a:pPr marL="0" indent="0" algn="r">
              <a:buNone/>
            </a:pPr>
            <a:r>
              <a:rPr lang="en-GB" sz="1200" dirty="0">
                <a:solidFill>
                  <a:schemeClr val="tx1">
                    <a:lumMod val="65000"/>
                    <a:lumOff val="35000"/>
                  </a:schemeClr>
                </a:solidFill>
              </a:rPr>
              <a:t>Ocean and </a:t>
            </a:r>
            <a:r>
              <a:rPr lang="en-GB" sz="1200" b="1" i="1" dirty="0"/>
              <a:t>marine life protection</a:t>
            </a:r>
            <a:r>
              <a:rPr lang="en-GB" sz="1200" dirty="0">
                <a:solidFill>
                  <a:schemeClr val="tx1">
                    <a:lumMod val="65000"/>
                    <a:lumOff val="35000"/>
                  </a:schemeClr>
                </a:solidFill>
              </a:rPr>
              <a:t>, and coral reef restoration;  with advanced wastewater treatment, noise reduction, and self-produced water. </a:t>
            </a:r>
          </a:p>
          <a:p>
            <a:pPr marL="0" indent="0" algn="r">
              <a:buNone/>
            </a:pPr>
            <a:endParaRPr lang="en-GB" sz="1200" dirty="0">
              <a:solidFill>
                <a:schemeClr val="tx1">
                  <a:lumMod val="65000"/>
                  <a:lumOff val="35000"/>
                </a:schemeClr>
              </a:solidFill>
            </a:endParaRPr>
          </a:p>
          <a:p>
            <a:pPr marL="0" indent="0" algn="r">
              <a:buNone/>
            </a:pPr>
            <a:r>
              <a:rPr lang="en-GB" sz="1200" dirty="0">
                <a:solidFill>
                  <a:schemeClr val="tx1">
                    <a:lumMod val="65000"/>
                    <a:lumOff val="35000"/>
                  </a:schemeClr>
                </a:solidFill>
              </a:rPr>
              <a:t>Waste reduction through </a:t>
            </a:r>
            <a:r>
              <a:rPr lang="en-GB" sz="1200" b="1" i="1" dirty="0"/>
              <a:t>repurposing and recycling</a:t>
            </a:r>
            <a:r>
              <a:rPr lang="en-GB" sz="1200" dirty="0">
                <a:solidFill>
                  <a:schemeClr val="tx1">
                    <a:lumMod val="65000"/>
                    <a:lumOff val="35000"/>
                  </a:schemeClr>
                </a:solidFill>
              </a:rPr>
              <a:t>; by eliminating single-use plastic; repurposing waste generated onboard.</a:t>
            </a:r>
          </a:p>
          <a:p>
            <a:pPr marL="0" indent="0" algn="r">
              <a:buNone/>
            </a:pPr>
            <a:endParaRPr lang="en-GB" sz="1200" dirty="0">
              <a:solidFill>
                <a:schemeClr val="tx1">
                  <a:lumMod val="65000"/>
                  <a:lumOff val="35000"/>
                </a:schemeClr>
              </a:solidFill>
            </a:endParaRPr>
          </a:p>
          <a:p>
            <a:pPr marL="0" indent="0" algn="r">
              <a:buNone/>
            </a:pPr>
            <a:r>
              <a:rPr lang="en-GB" sz="1200" dirty="0">
                <a:solidFill>
                  <a:schemeClr val="tx1">
                    <a:lumMod val="65000"/>
                    <a:lumOff val="35000"/>
                  </a:schemeClr>
                </a:solidFill>
              </a:rPr>
              <a:t>Responsible </a:t>
            </a:r>
            <a:r>
              <a:rPr lang="en-GB" sz="1200" b="1" i="1" dirty="0"/>
              <a:t>sourcing for food </a:t>
            </a:r>
            <a:r>
              <a:rPr lang="en-GB" sz="1200" dirty="0">
                <a:solidFill>
                  <a:schemeClr val="tx1">
                    <a:lumMod val="65000"/>
                    <a:lumOff val="35000"/>
                  </a:schemeClr>
                </a:solidFill>
              </a:rPr>
              <a:t>and supplies.</a:t>
            </a:r>
          </a:p>
          <a:p>
            <a:pPr marL="0" indent="0" algn="r">
              <a:buNone/>
            </a:pPr>
            <a:endParaRPr lang="en-GB" sz="1200" dirty="0">
              <a:solidFill>
                <a:schemeClr val="tx1">
                  <a:lumMod val="65000"/>
                  <a:lumOff val="35000"/>
                </a:schemeClr>
              </a:solidFill>
            </a:endParaRPr>
          </a:p>
          <a:p>
            <a:pPr marL="0" indent="0" algn="r">
              <a:buNone/>
            </a:pPr>
            <a:r>
              <a:rPr lang="en-GB" sz="1200" dirty="0">
                <a:solidFill>
                  <a:schemeClr val="tx1">
                    <a:lumMod val="65000"/>
                    <a:lumOff val="35000"/>
                  </a:schemeClr>
                </a:solidFill>
              </a:rPr>
              <a:t>Sustainable </a:t>
            </a:r>
            <a:r>
              <a:rPr lang="en-GB" sz="1200" b="1" i="1" dirty="0"/>
              <a:t>tour excursions</a:t>
            </a:r>
            <a:r>
              <a:rPr lang="en-GB" sz="1200" dirty="0">
                <a:solidFill>
                  <a:schemeClr val="tx1">
                    <a:lumMod val="65000"/>
                    <a:lumOff val="35000"/>
                  </a:schemeClr>
                </a:solidFill>
              </a:rPr>
              <a:t>; with a rigorous certification program.</a:t>
            </a:r>
            <a:endParaRPr lang="en-GB" sz="1200" dirty="0"/>
          </a:p>
          <a:p>
            <a:pPr marL="0" indent="0" algn="r">
              <a:buNone/>
            </a:pPr>
            <a:endParaRPr lang="en-GB" sz="1200" dirty="0">
              <a:solidFill>
                <a:schemeClr val="tx1">
                  <a:lumMod val="65000"/>
                  <a:lumOff val="35000"/>
                </a:schemeClr>
              </a:solidFill>
            </a:endParaRPr>
          </a:p>
          <a:p>
            <a:pPr marL="0" indent="0" algn="r">
              <a:buNone/>
            </a:pPr>
            <a:endParaRPr lang="en-GB" sz="1200" dirty="0">
              <a:solidFill>
                <a:schemeClr val="tx1">
                  <a:lumMod val="65000"/>
                  <a:lumOff val="35000"/>
                </a:schemeClr>
              </a:solidFill>
            </a:endParaRPr>
          </a:p>
        </p:txBody>
      </p:sp>
      <p:sp>
        <p:nvSpPr>
          <p:cNvPr id="4" name="12" descr="{&quot;Key&quot;:&quot;POWER_USER_SHAPE_ICON&quot;,&quot;Value&quot;:&quot;POWER_USER_SHAPE_ICON_STYLE_1&quot;}">
            <a:extLst>
              <a:ext uri="{FF2B5EF4-FFF2-40B4-BE49-F238E27FC236}">
                <a16:creationId xmlns:a16="http://schemas.microsoft.com/office/drawing/2014/main" id="{1E2DE219-99F7-3689-AF48-C0509CF4F56D}"/>
              </a:ext>
            </a:extLst>
          </p:cNvPr>
          <p:cNvSpPr>
            <a:spLocks noChangeAspect="1" noChangeArrowheads="1"/>
          </p:cNvSpPr>
          <p:nvPr>
            <p:custDataLst>
              <p:tags r:id="rId1"/>
            </p:custDataLst>
          </p:nvPr>
        </p:nvSpPr>
        <p:spPr bwMode="auto">
          <a:xfrm>
            <a:off x="5083988" y="1255736"/>
            <a:ext cx="429540" cy="427793"/>
          </a:xfrm>
          <a:prstGeom prst="ellipse">
            <a:avLst/>
          </a:prstGeom>
          <a:noFill/>
          <a:ln w="38100">
            <a:solidFill>
              <a:schemeClr val="accent6">
                <a:lumMod val="50000"/>
              </a:schemeClr>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b="1" dirty="0">
                <a:solidFill>
                  <a:srgbClr val="595959"/>
                </a:solidFill>
                <a:latin typeface="Calibri" panose="020F0502020204030204"/>
              </a:rPr>
              <a:t>1</a:t>
            </a:r>
            <a:endParaRPr kumimoji="0" lang="fr-FR" sz="1800" b="1"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
        <p:nvSpPr>
          <p:cNvPr id="6" name="12 - 1" descr="{&quot;Key&quot;:&quot;POWER_USER_SHAPE_ICON&quot;,&quot;Value&quot;:&quot;POWER_USER_SHAPE_ICON_STYLE_1&quot;}">
            <a:extLst>
              <a:ext uri="{FF2B5EF4-FFF2-40B4-BE49-F238E27FC236}">
                <a16:creationId xmlns:a16="http://schemas.microsoft.com/office/drawing/2014/main" id="{8A5EF5AC-D47A-8DF4-60E8-60E3064DC448}"/>
              </a:ext>
            </a:extLst>
          </p:cNvPr>
          <p:cNvSpPr>
            <a:spLocks noChangeAspect="1" noChangeArrowheads="1"/>
          </p:cNvSpPr>
          <p:nvPr>
            <p:custDataLst>
              <p:tags r:id="rId2"/>
            </p:custDataLst>
          </p:nvPr>
        </p:nvSpPr>
        <p:spPr bwMode="auto">
          <a:xfrm>
            <a:off x="5083987" y="2042280"/>
            <a:ext cx="429540" cy="427793"/>
          </a:xfrm>
          <a:prstGeom prst="ellipse">
            <a:avLst/>
          </a:prstGeom>
          <a:noFill/>
          <a:ln w="38100">
            <a:solidFill>
              <a:schemeClr val="accent6">
                <a:lumMod val="50000"/>
              </a:schemeClr>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595959"/>
                </a:solidFill>
                <a:effectLst/>
                <a:uLnTx/>
                <a:uFillTx/>
                <a:latin typeface="Calibri" panose="020F0502020204030204"/>
                <a:ea typeface="+mn-ea"/>
                <a:cs typeface="+mn-cs"/>
              </a:rPr>
              <a:t>2</a:t>
            </a:r>
          </a:p>
        </p:txBody>
      </p:sp>
      <p:sp>
        <p:nvSpPr>
          <p:cNvPr id="9" name="12 - 2" descr="{&quot;Key&quot;:&quot;POWER_USER_SHAPE_ICON&quot;,&quot;Value&quot;:&quot;POWER_USER_SHAPE_ICON_STYLE_1&quot;}">
            <a:extLst>
              <a:ext uri="{FF2B5EF4-FFF2-40B4-BE49-F238E27FC236}">
                <a16:creationId xmlns:a16="http://schemas.microsoft.com/office/drawing/2014/main" id="{D428C602-D868-891D-6E29-92A0F0540780}"/>
              </a:ext>
            </a:extLst>
          </p:cNvPr>
          <p:cNvSpPr>
            <a:spLocks noChangeAspect="1" noChangeArrowheads="1"/>
          </p:cNvSpPr>
          <p:nvPr>
            <p:custDataLst>
              <p:tags r:id="rId3"/>
            </p:custDataLst>
          </p:nvPr>
        </p:nvSpPr>
        <p:spPr bwMode="auto">
          <a:xfrm>
            <a:off x="5083987" y="2828824"/>
            <a:ext cx="429540" cy="427793"/>
          </a:xfrm>
          <a:prstGeom prst="ellipse">
            <a:avLst/>
          </a:prstGeom>
          <a:noFill/>
          <a:ln w="38100">
            <a:solidFill>
              <a:schemeClr val="accent6">
                <a:lumMod val="50000"/>
              </a:schemeClr>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595959"/>
                </a:solidFill>
                <a:effectLst/>
                <a:uLnTx/>
                <a:uFillTx/>
                <a:latin typeface="Calibri" panose="020F0502020204030204"/>
                <a:ea typeface="+mn-ea"/>
                <a:cs typeface="+mn-cs"/>
              </a:rPr>
              <a:t>3</a:t>
            </a:r>
          </a:p>
        </p:txBody>
      </p:sp>
      <p:sp>
        <p:nvSpPr>
          <p:cNvPr id="10" name="12 - 3" descr="{&quot;Key&quot;:&quot;POWER_USER_SHAPE_ICON&quot;,&quot;Value&quot;:&quot;POWER_USER_SHAPE_ICON_STYLE_1&quot;}">
            <a:extLst>
              <a:ext uri="{FF2B5EF4-FFF2-40B4-BE49-F238E27FC236}">
                <a16:creationId xmlns:a16="http://schemas.microsoft.com/office/drawing/2014/main" id="{1ECE4A1F-D419-924A-4D77-D78814B5F04B}"/>
              </a:ext>
            </a:extLst>
          </p:cNvPr>
          <p:cNvSpPr>
            <a:spLocks noChangeAspect="1" noChangeArrowheads="1"/>
          </p:cNvSpPr>
          <p:nvPr>
            <p:custDataLst>
              <p:tags r:id="rId4"/>
            </p:custDataLst>
          </p:nvPr>
        </p:nvSpPr>
        <p:spPr bwMode="auto">
          <a:xfrm>
            <a:off x="5083987" y="3615368"/>
            <a:ext cx="429540" cy="427793"/>
          </a:xfrm>
          <a:prstGeom prst="ellipse">
            <a:avLst/>
          </a:prstGeom>
          <a:noFill/>
          <a:ln w="38100">
            <a:solidFill>
              <a:schemeClr val="accent6">
                <a:lumMod val="50000"/>
              </a:schemeClr>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595959"/>
                </a:solidFill>
                <a:effectLst/>
                <a:uLnTx/>
                <a:uFillTx/>
                <a:latin typeface="Calibri" panose="020F0502020204030204"/>
                <a:ea typeface="+mn-ea"/>
                <a:cs typeface="+mn-cs"/>
              </a:rPr>
              <a:t>4</a:t>
            </a:r>
          </a:p>
        </p:txBody>
      </p:sp>
      <p:sp>
        <p:nvSpPr>
          <p:cNvPr id="11" name="12 - 4" descr="{&quot;Key&quot;:&quot;POWER_USER_SHAPE_ICON&quot;,&quot;Value&quot;:&quot;POWER_USER_SHAPE_ICON_STYLE_1&quot;}">
            <a:extLst>
              <a:ext uri="{FF2B5EF4-FFF2-40B4-BE49-F238E27FC236}">
                <a16:creationId xmlns:a16="http://schemas.microsoft.com/office/drawing/2014/main" id="{AEDB0630-D982-FFFA-5368-BF63D8B936E9}"/>
              </a:ext>
            </a:extLst>
          </p:cNvPr>
          <p:cNvSpPr>
            <a:spLocks noChangeAspect="1" noChangeArrowheads="1"/>
          </p:cNvSpPr>
          <p:nvPr>
            <p:custDataLst>
              <p:tags r:id="rId5"/>
            </p:custDataLst>
          </p:nvPr>
        </p:nvSpPr>
        <p:spPr bwMode="auto">
          <a:xfrm>
            <a:off x="5068408" y="4401914"/>
            <a:ext cx="429540" cy="427793"/>
          </a:xfrm>
          <a:prstGeom prst="ellipse">
            <a:avLst/>
          </a:prstGeom>
          <a:noFill/>
          <a:ln w="38100">
            <a:solidFill>
              <a:schemeClr val="accent6">
                <a:lumMod val="50000"/>
              </a:schemeClr>
            </a:solidFill>
            <a:prstDash val="solid"/>
            <a:round/>
            <a:headEnd/>
            <a:tailEnd/>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b="1" dirty="0">
                <a:solidFill>
                  <a:srgbClr val="595959"/>
                </a:solidFill>
                <a:latin typeface="Calibri" panose="020F0502020204030204"/>
              </a:rPr>
              <a:t>5</a:t>
            </a:r>
            <a:endParaRPr kumimoji="0" lang="fr-FR" sz="1800" b="1"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7569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FB5169-18BF-479C-B616-E43AC8B33C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073"/>
          <a:stretch/>
        </p:blipFill>
        <p:spPr>
          <a:xfrm>
            <a:off x="-8021" y="0"/>
            <a:ext cx="9152021" cy="5143500"/>
          </a:xfrm>
          <a:prstGeom prst="rect">
            <a:avLst/>
          </a:prstGeom>
        </p:spPr>
      </p:pic>
      <p:sp>
        <p:nvSpPr>
          <p:cNvPr id="6" name="TextBox 5">
            <a:extLst>
              <a:ext uri="{FF2B5EF4-FFF2-40B4-BE49-F238E27FC236}">
                <a16:creationId xmlns:a16="http://schemas.microsoft.com/office/drawing/2014/main" id="{579DBFC3-E659-4379-ABD5-D818A25AC0E0}"/>
              </a:ext>
            </a:extLst>
          </p:cNvPr>
          <p:cNvSpPr txBox="1"/>
          <p:nvPr/>
        </p:nvSpPr>
        <p:spPr>
          <a:xfrm>
            <a:off x="4827494" y="2571750"/>
            <a:ext cx="4191472" cy="1200329"/>
          </a:xfrm>
          <a:prstGeom prst="rect">
            <a:avLst/>
          </a:prstGeom>
          <a:noFill/>
        </p:spPr>
        <p:txBody>
          <a:bodyPr wrap="square" rtlCol="0">
            <a:spAutoFit/>
          </a:body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Keeping the Timeline</a:t>
            </a:r>
            <a:r>
              <a:rPr lang="en-US" sz="3600" dirty="0">
                <a:solidFill>
                  <a:prstClr val="white"/>
                </a:solidFill>
                <a:latin typeface="Century Gothic" panose="020B0502020202020204" pitchFamily="34" charset="0"/>
              </a:rPr>
              <a:t> Realistic </a:t>
            </a:r>
            <a:endParaRPr kumimoji="0" lang="en-US" sz="3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1" name="Picture 4">
            <a:extLst>
              <a:ext uri="{FF2B5EF4-FFF2-40B4-BE49-F238E27FC236}">
                <a16:creationId xmlns:a16="http://schemas.microsoft.com/office/drawing/2014/main" id="{78EC0760-44C3-43C4-A1BF-15ECF0EBF28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21845" y="339757"/>
            <a:ext cx="2493689" cy="8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97131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E2FC75-5FD3-3F9A-A07A-68693ADC866B}"/>
              </a:ext>
            </a:extLst>
          </p:cNvPr>
          <p:cNvSpPr>
            <a:spLocks noGrp="1"/>
          </p:cNvSpPr>
          <p:nvPr>
            <p:ph idx="1"/>
          </p:nvPr>
        </p:nvSpPr>
        <p:spPr/>
        <p:txBody>
          <a:bodyPr/>
          <a:lstStyle/>
          <a:p>
            <a:endParaRPr lang="en-US" dirty="0"/>
          </a:p>
        </p:txBody>
      </p:sp>
      <p:sp>
        <p:nvSpPr>
          <p:cNvPr id="4" name="Slide Number Placeholder 3">
            <a:extLst>
              <a:ext uri="{FF2B5EF4-FFF2-40B4-BE49-F238E27FC236}">
                <a16:creationId xmlns:a16="http://schemas.microsoft.com/office/drawing/2014/main" id="{B137924A-DDE6-030F-3D4E-75AEC31AE0CD}"/>
              </a:ext>
            </a:extLst>
          </p:cNvPr>
          <p:cNvSpPr>
            <a:spLocks noGrp="1"/>
          </p:cNvSpPr>
          <p:nvPr>
            <p:ph type="sldNum" sz="quarter" idx="12"/>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68B82C89-54EC-4D90-B7E5-A6254AC09059}" type="slidenum">
              <a:rPr kumimoji="0" lang="en-US" sz="9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rPr>
              <a:pPr marL="0" marR="0" lvl="0" indent="0" algn="r" defTabSz="914378"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pic>
        <p:nvPicPr>
          <p:cNvPr id="6" name="Picture 5">
            <a:extLst>
              <a:ext uri="{FF2B5EF4-FFF2-40B4-BE49-F238E27FC236}">
                <a16:creationId xmlns:a16="http://schemas.microsoft.com/office/drawing/2014/main" id="{43C61EFD-7735-FA93-519F-28D827D628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1" cy="5143500"/>
          </a:xfrm>
          <a:prstGeom prst="rect">
            <a:avLst/>
          </a:prstGeom>
        </p:spPr>
      </p:pic>
      <p:pic>
        <p:nvPicPr>
          <p:cNvPr id="7" name="Picture 6">
            <a:extLst>
              <a:ext uri="{FF2B5EF4-FFF2-40B4-BE49-F238E27FC236}">
                <a16:creationId xmlns:a16="http://schemas.microsoft.com/office/drawing/2014/main" id="{035B5C59-2BCB-DF88-38FA-783A15D3AEC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5053" y="3464514"/>
            <a:ext cx="1174479" cy="1645920"/>
          </a:xfrm>
          <a:prstGeom prst="rect">
            <a:avLst/>
          </a:prstGeom>
        </p:spPr>
      </p:pic>
      <p:pic>
        <p:nvPicPr>
          <p:cNvPr id="8" name="Picture 7">
            <a:extLst>
              <a:ext uri="{FF2B5EF4-FFF2-40B4-BE49-F238E27FC236}">
                <a16:creationId xmlns:a16="http://schemas.microsoft.com/office/drawing/2014/main" id="{D3776016-6883-F42A-399F-EE877E3D718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691502" y="3464514"/>
            <a:ext cx="1174478" cy="1645920"/>
          </a:xfrm>
          <a:prstGeom prst="rect">
            <a:avLst/>
          </a:prstGeom>
        </p:spPr>
      </p:pic>
      <p:pic>
        <p:nvPicPr>
          <p:cNvPr id="9" name="Picture 8">
            <a:extLst>
              <a:ext uri="{FF2B5EF4-FFF2-40B4-BE49-F238E27FC236}">
                <a16:creationId xmlns:a16="http://schemas.microsoft.com/office/drawing/2014/main" id="{F5C857FF-17BA-4944-7FF0-97DA50DC003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193760" y="3456314"/>
            <a:ext cx="1175659" cy="1645920"/>
          </a:xfrm>
          <a:prstGeom prst="rect">
            <a:avLst/>
          </a:prstGeom>
        </p:spPr>
      </p:pic>
      <p:pic>
        <p:nvPicPr>
          <p:cNvPr id="10" name="Picture 9">
            <a:extLst>
              <a:ext uri="{FF2B5EF4-FFF2-40B4-BE49-F238E27FC236}">
                <a16:creationId xmlns:a16="http://schemas.microsoft.com/office/drawing/2014/main" id="{2931F2A1-3691-6A0D-85DC-23BFC656CFA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742998" y="3435923"/>
            <a:ext cx="1175659" cy="1645920"/>
          </a:xfrm>
          <a:prstGeom prst="rect">
            <a:avLst/>
          </a:prstGeom>
        </p:spPr>
      </p:pic>
      <p:pic>
        <p:nvPicPr>
          <p:cNvPr id="11" name="Picture 10">
            <a:extLst>
              <a:ext uri="{FF2B5EF4-FFF2-40B4-BE49-F238E27FC236}">
                <a16:creationId xmlns:a16="http://schemas.microsoft.com/office/drawing/2014/main" id="{30916CBB-29E5-FD53-4632-B52E79C941D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248869" y="3456314"/>
            <a:ext cx="1175657" cy="1645920"/>
          </a:xfrm>
          <a:prstGeom prst="rect">
            <a:avLst/>
          </a:prstGeom>
        </p:spPr>
      </p:pic>
      <p:pic>
        <p:nvPicPr>
          <p:cNvPr id="12" name="Picture 11">
            <a:extLst>
              <a:ext uri="{FF2B5EF4-FFF2-40B4-BE49-F238E27FC236}">
                <a16:creationId xmlns:a16="http://schemas.microsoft.com/office/drawing/2014/main" id="{934491EA-0099-DBCC-3F73-C43496329C9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776181" y="3456314"/>
            <a:ext cx="1175654" cy="1645920"/>
          </a:xfrm>
          <a:prstGeom prst="rect">
            <a:avLst/>
          </a:prstGeom>
        </p:spPr>
      </p:pic>
      <p:pic>
        <p:nvPicPr>
          <p:cNvPr id="21" name="Picture 20">
            <a:extLst>
              <a:ext uri="{FF2B5EF4-FFF2-40B4-BE49-F238E27FC236}">
                <a16:creationId xmlns:a16="http://schemas.microsoft.com/office/drawing/2014/main" id="{069BE02A-9402-9B20-C3CB-6237EE17C88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08128" y="1685414"/>
            <a:ext cx="1174480" cy="1645920"/>
          </a:xfrm>
          <a:prstGeom prst="rect">
            <a:avLst/>
          </a:prstGeom>
        </p:spPr>
      </p:pic>
      <p:pic>
        <p:nvPicPr>
          <p:cNvPr id="23" name="Picture 22">
            <a:extLst>
              <a:ext uri="{FF2B5EF4-FFF2-40B4-BE49-F238E27FC236}">
                <a16:creationId xmlns:a16="http://schemas.microsoft.com/office/drawing/2014/main" id="{9795F9D8-E45D-6B0C-F78B-25A43EC00BB2}"/>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07539" y="6428"/>
            <a:ext cx="1175656" cy="1645920"/>
          </a:xfrm>
          <a:prstGeom prst="rect">
            <a:avLst/>
          </a:prstGeom>
        </p:spPr>
      </p:pic>
      <p:pic>
        <p:nvPicPr>
          <p:cNvPr id="24" name="Picture 23">
            <a:extLst>
              <a:ext uri="{FF2B5EF4-FFF2-40B4-BE49-F238E27FC236}">
                <a16:creationId xmlns:a16="http://schemas.microsoft.com/office/drawing/2014/main" id="{2C0885C1-04ED-5E57-588E-FF00A9E229E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764900" y="1731371"/>
            <a:ext cx="1175654" cy="1645920"/>
          </a:xfrm>
          <a:prstGeom prst="rect">
            <a:avLst/>
          </a:prstGeom>
        </p:spPr>
      </p:pic>
      <p:pic>
        <p:nvPicPr>
          <p:cNvPr id="30" name="Picture 29">
            <a:extLst>
              <a:ext uri="{FF2B5EF4-FFF2-40B4-BE49-F238E27FC236}">
                <a16:creationId xmlns:a16="http://schemas.microsoft.com/office/drawing/2014/main" id="{7E0FBE51-8162-59D2-F086-484DE135FD02}"/>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172908" y="1747045"/>
            <a:ext cx="2754220" cy="1645920"/>
          </a:xfrm>
          <a:prstGeom prst="rect">
            <a:avLst/>
          </a:prstGeom>
        </p:spPr>
      </p:pic>
      <p:pic>
        <p:nvPicPr>
          <p:cNvPr id="32" name="Picture 31">
            <a:extLst>
              <a:ext uri="{FF2B5EF4-FFF2-40B4-BE49-F238E27FC236}">
                <a16:creationId xmlns:a16="http://schemas.microsoft.com/office/drawing/2014/main" id="{BFDC91AE-61D9-4BA2-3836-6E19EA9E7539}"/>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1680420" y="20444"/>
            <a:ext cx="1185559" cy="1645920"/>
          </a:xfrm>
          <a:prstGeom prst="rect">
            <a:avLst/>
          </a:prstGeom>
        </p:spPr>
      </p:pic>
      <p:pic>
        <p:nvPicPr>
          <p:cNvPr id="33" name="Picture 32">
            <a:extLst>
              <a:ext uri="{FF2B5EF4-FFF2-40B4-BE49-F238E27FC236}">
                <a16:creationId xmlns:a16="http://schemas.microsoft.com/office/drawing/2014/main" id="{3B9746FA-B006-8198-0F62-AF5866CC56F7}"/>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3172908" y="20444"/>
            <a:ext cx="1175656" cy="1645920"/>
          </a:xfrm>
          <a:prstGeom prst="rect">
            <a:avLst/>
          </a:prstGeom>
        </p:spPr>
      </p:pic>
      <p:pic>
        <p:nvPicPr>
          <p:cNvPr id="34" name="Picture 33">
            <a:extLst>
              <a:ext uri="{FF2B5EF4-FFF2-40B4-BE49-F238E27FC236}">
                <a16:creationId xmlns:a16="http://schemas.microsoft.com/office/drawing/2014/main" id="{E424BFCD-94DB-45F1-8B68-B1F7C6FBE3B3}"/>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690440" y="18832"/>
            <a:ext cx="1175656" cy="1645920"/>
          </a:xfrm>
          <a:prstGeom prst="rect">
            <a:avLst/>
          </a:prstGeom>
        </p:spPr>
      </p:pic>
      <p:pic>
        <p:nvPicPr>
          <p:cNvPr id="35" name="Picture 34">
            <a:extLst>
              <a:ext uri="{FF2B5EF4-FFF2-40B4-BE49-F238E27FC236}">
                <a16:creationId xmlns:a16="http://schemas.microsoft.com/office/drawing/2014/main" id="{38593BF1-330E-03C2-496E-366B8367062F}"/>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6229310" y="6428"/>
            <a:ext cx="1175655" cy="1645920"/>
          </a:xfrm>
          <a:prstGeom prst="rect">
            <a:avLst/>
          </a:prstGeom>
        </p:spPr>
      </p:pic>
      <p:pic>
        <p:nvPicPr>
          <p:cNvPr id="36" name="Picture 35">
            <a:extLst>
              <a:ext uri="{FF2B5EF4-FFF2-40B4-BE49-F238E27FC236}">
                <a16:creationId xmlns:a16="http://schemas.microsoft.com/office/drawing/2014/main" id="{76B515E7-F93A-8333-6D95-08B7EFCF2135}"/>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7761011" y="17391"/>
            <a:ext cx="1175655" cy="1645920"/>
          </a:xfrm>
          <a:prstGeom prst="rect">
            <a:avLst/>
          </a:prstGeom>
        </p:spPr>
      </p:pic>
    </p:spTree>
    <p:extLst>
      <p:ext uri="{BB962C8B-B14F-4D97-AF65-F5344CB8AC3E}">
        <p14:creationId xmlns:p14="http://schemas.microsoft.com/office/powerpoint/2010/main" val="389074390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30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3500"/>
                            </p:stCondLst>
                            <p:childTnLst>
                              <p:par>
                                <p:cTn id="9" presetID="10" presetClass="entr" presetSubtype="0" fill="hold" nodeType="afterEffect">
                                  <p:stCondLst>
                                    <p:cond delay="20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6000"/>
                            </p:stCondLst>
                            <p:childTnLst>
                              <p:par>
                                <p:cTn id="13" presetID="10" presetClass="entr" presetSubtype="0" fill="hold" nodeType="afterEffect">
                                  <p:stCondLst>
                                    <p:cond delay="20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8500"/>
                            </p:stCondLst>
                            <p:childTnLst>
                              <p:par>
                                <p:cTn id="17" presetID="10" presetClass="entr" presetSubtype="0" fill="hold" nodeType="afterEffect">
                                  <p:stCondLst>
                                    <p:cond delay="20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11000"/>
                            </p:stCondLst>
                            <p:childTnLst>
                              <p:par>
                                <p:cTn id="21" presetID="10" presetClass="entr" presetSubtype="0" fill="hold" nodeType="afterEffect">
                                  <p:stCondLst>
                                    <p:cond delay="20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par>
                          <p:cTn id="24" fill="hold">
                            <p:stCondLst>
                              <p:cond delay="13500"/>
                            </p:stCondLst>
                            <p:childTnLst>
                              <p:par>
                                <p:cTn id="25" presetID="10" presetClass="entr" presetSubtype="0" fill="hold" nodeType="afterEffect">
                                  <p:stCondLst>
                                    <p:cond delay="200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par>
                          <p:cTn id="28" fill="hold">
                            <p:stCondLst>
                              <p:cond delay="16000"/>
                            </p:stCondLst>
                            <p:childTnLst>
                              <p:par>
                                <p:cTn id="29" presetID="10" presetClass="entr" presetSubtype="0" fill="hold" nodeType="afterEffect">
                                  <p:stCondLst>
                                    <p:cond delay="200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18500"/>
                            </p:stCondLst>
                            <p:childTnLst>
                              <p:par>
                                <p:cTn id="33" presetID="10" presetClass="entr" presetSubtype="0" fill="hold" nodeType="afterEffect">
                                  <p:stCondLst>
                                    <p:cond delay="200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childTnLst>
                          </p:cTn>
                        </p:par>
                        <p:par>
                          <p:cTn id="36" fill="hold">
                            <p:stCondLst>
                              <p:cond delay="21000"/>
                            </p:stCondLst>
                            <p:childTnLst>
                              <p:par>
                                <p:cTn id="37" presetID="10" presetClass="entr" presetSubtype="0" fill="hold" nodeType="afterEffect">
                                  <p:stCondLst>
                                    <p:cond delay="200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23500"/>
                            </p:stCondLst>
                            <p:childTnLst>
                              <p:par>
                                <p:cTn id="41" presetID="10" presetClass="entr" presetSubtype="0" fill="hold" nodeType="afterEffect">
                                  <p:stCondLst>
                                    <p:cond delay="200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500"/>
                                        <p:tgtEl>
                                          <p:spTgt spid="33"/>
                                        </p:tgtEl>
                                      </p:cBhvr>
                                    </p:animEffect>
                                  </p:childTnLst>
                                </p:cTn>
                              </p:par>
                            </p:childTnLst>
                          </p:cTn>
                        </p:par>
                        <p:par>
                          <p:cTn id="44" fill="hold">
                            <p:stCondLst>
                              <p:cond delay="26000"/>
                            </p:stCondLst>
                            <p:childTnLst>
                              <p:par>
                                <p:cTn id="45" presetID="10" presetClass="entr" presetSubtype="0" fill="hold" nodeType="afterEffect">
                                  <p:stCondLst>
                                    <p:cond delay="200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childTnLst>
                          </p:cTn>
                        </p:par>
                        <p:par>
                          <p:cTn id="48" fill="hold">
                            <p:stCondLst>
                              <p:cond delay="28500"/>
                            </p:stCondLst>
                            <p:childTnLst>
                              <p:par>
                                <p:cTn id="49" presetID="10" presetClass="entr" presetSubtype="0" fill="hold" nodeType="afterEffect">
                                  <p:stCondLst>
                                    <p:cond delay="200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500"/>
                                        <p:tgtEl>
                                          <p:spTgt spid="32"/>
                                        </p:tgtEl>
                                      </p:cBhvr>
                                    </p:animEffect>
                                  </p:childTnLst>
                                </p:cTn>
                              </p:par>
                            </p:childTnLst>
                          </p:cTn>
                        </p:par>
                        <p:par>
                          <p:cTn id="52" fill="hold">
                            <p:stCondLst>
                              <p:cond delay="31000"/>
                            </p:stCondLst>
                            <p:childTnLst>
                              <p:par>
                                <p:cTn id="53" presetID="10" presetClass="entr" presetSubtype="0" fill="hold" nodeType="afterEffect">
                                  <p:stCondLst>
                                    <p:cond delay="2000"/>
                                  </p:stCondLst>
                                  <p:childTnLst>
                                    <p:set>
                                      <p:cBhvr>
                                        <p:cTn id="54" dur="1" fill="hold">
                                          <p:stCondLst>
                                            <p:cond delay="0"/>
                                          </p:stCondLst>
                                        </p:cTn>
                                        <p:tgtEl>
                                          <p:spTgt spid="35"/>
                                        </p:tgtEl>
                                        <p:attrNameLst>
                                          <p:attrName>style.visibility</p:attrName>
                                        </p:attrNameLst>
                                      </p:cBhvr>
                                      <p:to>
                                        <p:strVal val="visible"/>
                                      </p:to>
                                    </p:set>
                                    <p:animEffect transition="in" filter="fade">
                                      <p:cBhvr>
                                        <p:cTn id="55" dur="500"/>
                                        <p:tgtEl>
                                          <p:spTgt spid="35"/>
                                        </p:tgtEl>
                                      </p:cBhvr>
                                    </p:animEffect>
                                  </p:childTnLst>
                                </p:cTn>
                              </p:par>
                            </p:childTnLst>
                          </p:cTn>
                        </p:par>
                        <p:par>
                          <p:cTn id="56" fill="hold">
                            <p:stCondLst>
                              <p:cond delay="33500"/>
                            </p:stCondLst>
                            <p:childTnLst>
                              <p:par>
                                <p:cTn id="57" presetID="10" presetClass="entr" presetSubtype="0" fill="hold" nodeType="afterEffect">
                                  <p:stCondLst>
                                    <p:cond delay="200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POWER_USER_DATA_MAP" descr="{&quot;IsGrandientColor&quot;:true,&quot;GradientColor&quot;:&quot;#F2F2F2&quot;,&quot;IsRangesColor&quot;:false,&quot;RangesSettings&quot;:null,&quot;RangeName&quot;:&quot;POWER_USER_EXCEL_MAP_DE5EE81B_1667_47FB_9DB5_CBB71EF4AA96&quot;,&quot;Version&quot;:&quot;1.6.1548.0&quot;}">
            <a:extLst>
              <a:ext uri="{FF2B5EF4-FFF2-40B4-BE49-F238E27FC236}">
                <a16:creationId xmlns:a16="http://schemas.microsoft.com/office/drawing/2014/main" id="{3E419818-CC60-CD75-4295-DE80F4354293}"/>
              </a:ext>
            </a:extLst>
          </p:cNvPr>
          <p:cNvGrpSpPr>
            <a:grpSpLocks noChangeAspect="1"/>
          </p:cNvGrpSpPr>
          <p:nvPr/>
        </p:nvGrpSpPr>
        <p:grpSpPr>
          <a:xfrm>
            <a:off x="-32231" y="528203"/>
            <a:ext cx="9021753" cy="3969051"/>
            <a:chOff x="569118" y="1632491"/>
            <a:chExt cx="11053763" cy="4863018"/>
          </a:xfrm>
        </p:grpSpPr>
        <p:grpSp>
          <p:nvGrpSpPr>
            <p:cNvPr id="5" name="World_3">
              <a:extLst>
                <a:ext uri="{FF2B5EF4-FFF2-40B4-BE49-F238E27FC236}">
                  <a16:creationId xmlns:a16="http://schemas.microsoft.com/office/drawing/2014/main" id="{C61AEDB1-8E61-99F0-628F-C3B2ED3507F6}"/>
                </a:ext>
              </a:extLst>
            </p:cNvPr>
            <p:cNvGrpSpPr>
              <a:grpSpLocks noChangeAspect="1"/>
            </p:cNvGrpSpPr>
            <p:nvPr/>
          </p:nvGrpSpPr>
          <p:grpSpPr>
            <a:xfrm>
              <a:off x="569118" y="1632491"/>
              <a:ext cx="11053763" cy="4863018"/>
              <a:chOff x="572930" y="1521121"/>
              <a:chExt cx="11053763" cy="4863018"/>
            </a:xfrm>
          </p:grpSpPr>
          <p:grpSp>
            <p:nvGrpSpPr>
              <p:cNvPr id="7" name="World_3">
                <a:extLst>
                  <a:ext uri="{FF2B5EF4-FFF2-40B4-BE49-F238E27FC236}">
                    <a16:creationId xmlns:a16="http://schemas.microsoft.com/office/drawing/2014/main" id="{0917FAA0-D3E3-50E5-44F9-5ADC098D7688}"/>
                  </a:ext>
                </a:extLst>
              </p:cNvPr>
              <p:cNvGrpSpPr/>
              <p:nvPr/>
            </p:nvGrpSpPr>
            <p:grpSpPr>
              <a:xfrm>
                <a:off x="572930" y="1521121"/>
                <a:ext cx="11053763" cy="4791075"/>
                <a:chOff x="572930" y="1521121"/>
                <a:chExt cx="11053763" cy="4791075"/>
              </a:xfrm>
            </p:grpSpPr>
            <p:sp>
              <p:nvSpPr>
                <p:cNvPr id="108" name="Etiquette - Ignore - No Area Name -" hidden="1">
                  <a:extLst>
                    <a:ext uri="{FF2B5EF4-FFF2-40B4-BE49-F238E27FC236}">
                      <a16:creationId xmlns:a16="http://schemas.microsoft.com/office/drawing/2014/main" id="{FEFD3FCA-1C7B-1C8A-9EC9-378D95CE4430}"/>
                    </a:ext>
                  </a:extLst>
                </p:cNvPr>
                <p:cNvSpPr/>
                <p:nvPr/>
              </p:nvSpPr>
              <p:spPr>
                <a:xfrm>
                  <a:off x="6982194" y="5882751"/>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766"/>
                  <a:endParaRPr lang="en-US" sz="825" dirty="0">
                    <a:solidFill>
                      <a:prstClr val="white"/>
                    </a:solidFill>
                    <a:latin typeface="Calibri" panose="020F0502020204030204"/>
                  </a:endParaRPr>
                </a:p>
              </p:txBody>
            </p:sp>
            <p:sp>
              <p:nvSpPr>
                <p:cNvPr id="109" name="Etiquette - Ignore - No Values -" hidden="1">
                  <a:extLst>
                    <a:ext uri="{FF2B5EF4-FFF2-40B4-BE49-F238E27FC236}">
                      <a16:creationId xmlns:a16="http://schemas.microsoft.com/office/drawing/2014/main" id="{CA4C1FB7-DAB1-4154-BADC-2D005F48483D}"/>
                    </a:ext>
                  </a:extLst>
                </p:cNvPr>
                <p:cNvSpPr/>
                <p:nvPr/>
              </p:nvSpPr>
              <p:spPr>
                <a:xfrm>
                  <a:off x="6982194" y="5882751"/>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766"/>
                  <a:endParaRPr lang="en-US" sz="825" dirty="0">
                    <a:solidFill>
                      <a:prstClr val="white"/>
                    </a:solidFill>
                    <a:latin typeface="Calibri" panose="020F0502020204030204"/>
                  </a:endParaRPr>
                </a:p>
              </p:txBody>
            </p:sp>
            <p:grpSp>
              <p:nvGrpSpPr>
                <p:cNvPr id="110" name="Group 206">
                  <a:extLst>
                    <a:ext uri="{FF2B5EF4-FFF2-40B4-BE49-F238E27FC236}">
                      <a16:creationId xmlns:a16="http://schemas.microsoft.com/office/drawing/2014/main" id="{5E67B515-8B6B-D4A6-5472-09FCB4CB24CB}"/>
                    </a:ext>
                  </a:extLst>
                </p:cNvPr>
                <p:cNvGrpSpPr>
                  <a:grpSpLocks/>
                </p:cNvGrpSpPr>
                <p:nvPr/>
              </p:nvGrpSpPr>
              <p:grpSpPr bwMode="auto">
                <a:xfrm>
                  <a:off x="572930" y="1521121"/>
                  <a:ext cx="11053763" cy="4791075"/>
                  <a:chOff x="353" y="1017"/>
                  <a:chExt cx="6963" cy="3018"/>
                </a:xfrm>
                <a:solidFill>
                  <a:schemeClr val="bg1">
                    <a:lumMod val="85000"/>
                  </a:schemeClr>
                </a:solidFill>
              </p:grpSpPr>
              <p:sp>
                <p:nvSpPr>
                  <p:cNvPr id="133" name="Afghanistan" descr="{&quot;Key&quot;:&quot;afghanistan&quot;,&quot;Name&quot;:&quot;Afghanistan&quot;,&quot;Value&quot;:1.0,&quot;Formula&quot;:&quot;&quot;,&quot;Text&quot;:&quot;&quot;,&quot;OfficeApplication&quot;:1,&quot;HasValue&quot;:true}">
                    <a:extLst>
                      <a:ext uri="{FF2B5EF4-FFF2-40B4-BE49-F238E27FC236}">
                        <a16:creationId xmlns:a16="http://schemas.microsoft.com/office/drawing/2014/main" id="{1BEACF05-0626-FF74-0CF3-8CF0186A2043}"/>
                      </a:ext>
                    </a:extLst>
                  </p:cNvPr>
                  <p:cNvSpPr>
                    <a:spLocks/>
                  </p:cNvSpPr>
                  <p:nvPr/>
                </p:nvSpPr>
                <p:spPr bwMode="auto">
                  <a:xfrm>
                    <a:off x="2104" y="1912"/>
                    <a:ext cx="314" cy="208"/>
                  </a:xfrm>
                  <a:custGeom>
                    <a:avLst/>
                    <a:gdLst>
                      <a:gd name="T0" fmla="*/ 1126 w 1126"/>
                      <a:gd name="T1" fmla="*/ 110 h 745"/>
                      <a:gd name="T2" fmla="*/ 1046 w 1126"/>
                      <a:gd name="T3" fmla="*/ 134 h 745"/>
                      <a:gd name="T4" fmla="*/ 888 w 1126"/>
                      <a:gd name="T5" fmla="*/ 161 h 745"/>
                      <a:gd name="T6" fmla="*/ 846 w 1126"/>
                      <a:gd name="T7" fmla="*/ 230 h 745"/>
                      <a:gd name="T8" fmla="*/ 801 w 1126"/>
                      <a:gd name="T9" fmla="*/ 305 h 745"/>
                      <a:gd name="T10" fmla="*/ 768 w 1126"/>
                      <a:gd name="T11" fmla="*/ 365 h 745"/>
                      <a:gd name="T12" fmla="*/ 717 w 1126"/>
                      <a:gd name="T13" fmla="*/ 416 h 745"/>
                      <a:gd name="T14" fmla="*/ 628 w 1126"/>
                      <a:gd name="T15" fmla="*/ 486 h 745"/>
                      <a:gd name="T16" fmla="*/ 587 w 1126"/>
                      <a:gd name="T17" fmla="*/ 557 h 745"/>
                      <a:gd name="T18" fmla="*/ 508 w 1126"/>
                      <a:gd name="T19" fmla="*/ 561 h 745"/>
                      <a:gd name="T20" fmla="*/ 445 w 1126"/>
                      <a:gd name="T21" fmla="*/ 584 h 745"/>
                      <a:gd name="T22" fmla="*/ 377 w 1126"/>
                      <a:gd name="T23" fmla="*/ 699 h 745"/>
                      <a:gd name="T24" fmla="*/ 233 w 1126"/>
                      <a:gd name="T25" fmla="*/ 725 h 745"/>
                      <a:gd name="T26" fmla="*/ 177 w 1126"/>
                      <a:gd name="T27" fmla="*/ 732 h 745"/>
                      <a:gd name="T28" fmla="*/ 0 w 1126"/>
                      <a:gd name="T29" fmla="*/ 704 h 745"/>
                      <a:gd name="T30" fmla="*/ 87 w 1126"/>
                      <a:gd name="T31" fmla="*/ 577 h 745"/>
                      <a:gd name="T32" fmla="*/ 47 w 1126"/>
                      <a:gd name="T33" fmla="*/ 512 h 745"/>
                      <a:gd name="T34" fmla="*/ 85 w 1126"/>
                      <a:gd name="T35" fmla="*/ 402 h 745"/>
                      <a:gd name="T36" fmla="*/ 93 w 1126"/>
                      <a:gd name="T37" fmla="*/ 331 h 745"/>
                      <a:gd name="T38" fmla="*/ 211 w 1126"/>
                      <a:gd name="T39" fmla="*/ 261 h 745"/>
                      <a:gd name="T40" fmla="*/ 291 w 1126"/>
                      <a:gd name="T41" fmla="*/ 214 h 745"/>
                      <a:gd name="T42" fmla="*/ 393 w 1126"/>
                      <a:gd name="T43" fmla="*/ 176 h 745"/>
                      <a:gd name="T44" fmla="*/ 488 w 1126"/>
                      <a:gd name="T45" fmla="*/ 96 h 745"/>
                      <a:gd name="T46" fmla="*/ 532 w 1126"/>
                      <a:gd name="T47" fmla="*/ 89 h 745"/>
                      <a:gd name="T48" fmla="*/ 588 w 1126"/>
                      <a:gd name="T49" fmla="*/ 92 h 745"/>
                      <a:gd name="T50" fmla="*/ 652 w 1126"/>
                      <a:gd name="T51" fmla="*/ 119 h 745"/>
                      <a:gd name="T52" fmla="*/ 726 w 1126"/>
                      <a:gd name="T53" fmla="*/ 109 h 745"/>
                      <a:gd name="T54" fmla="*/ 798 w 1126"/>
                      <a:gd name="T55" fmla="*/ 74 h 745"/>
                      <a:gd name="T56" fmla="*/ 828 w 1126"/>
                      <a:gd name="T57" fmla="*/ 29 h 745"/>
                      <a:gd name="T58" fmla="*/ 897 w 1126"/>
                      <a:gd name="T59" fmla="*/ 19 h 745"/>
                      <a:gd name="T60" fmla="*/ 901 w 1126"/>
                      <a:gd name="T61" fmla="*/ 47 h 745"/>
                      <a:gd name="T62" fmla="*/ 895 w 1126"/>
                      <a:gd name="T63" fmla="*/ 142 h 745"/>
                      <a:gd name="T64" fmla="*/ 955 w 1126"/>
                      <a:gd name="T65" fmla="*/ 117 h 745"/>
                      <a:gd name="T66" fmla="*/ 1051 w 1126"/>
                      <a:gd name="T67" fmla="*/ 86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6" h="745">
                        <a:moveTo>
                          <a:pt x="1120" y="88"/>
                        </a:moveTo>
                        <a:lnTo>
                          <a:pt x="1126" y="110"/>
                        </a:lnTo>
                        <a:lnTo>
                          <a:pt x="1083" y="119"/>
                        </a:lnTo>
                        <a:lnTo>
                          <a:pt x="1046" y="134"/>
                        </a:lnTo>
                        <a:lnTo>
                          <a:pt x="966" y="144"/>
                        </a:lnTo>
                        <a:lnTo>
                          <a:pt x="888" y="161"/>
                        </a:lnTo>
                        <a:lnTo>
                          <a:pt x="840" y="196"/>
                        </a:lnTo>
                        <a:lnTo>
                          <a:pt x="846" y="230"/>
                        </a:lnTo>
                        <a:lnTo>
                          <a:pt x="843" y="271"/>
                        </a:lnTo>
                        <a:lnTo>
                          <a:pt x="801" y="305"/>
                        </a:lnTo>
                        <a:lnTo>
                          <a:pt x="795" y="336"/>
                        </a:lnTo>
                        <a:lnTo>
                          <a:pt x="768" y="365"/>
                        </a:lnTo>
                        <a:lnTo>
                          <a:pt x="704" y="363"/>
                        </a:lnTo>
                        <a:lnTo>
                          <a:pt x="717" y="416"/>
                        </a:lnTo>
                        <a:lnTo>
                          <a:pt x="670" y="438"/>
                        </a:lnTo>
                        <a:lnTo>
                          <a:pt x="628" y="486"/>
                        </a:lnTo>
                        <a:lnTo>
                          <a:pt x="620" y="535"/>
                        </a:lnTo>
                        <a:lnTo>
                          <a:pt x="587" y="557"/>
                        </a:lnTo>
                        <a:lnTo>
                          <a:pt x="563" y="550"/>
                        </a:lnTo>
                        <a:lnTo>
                          <a:pt x="508" y="561"/>
                        </a:lnTo>
                        <a:lnTo>
                          <a:pt x="496" y="584"/>
                        </a:lnTo>
                        <a:lnTo>
                          <a:pt x="445" y="584"/>
                        </a:lnTo>
                        <a:lnTo>
                          <a:pt x="396" y="630"/>
                        </a:lnTo>
                        <a:lnTo>
                          <a:pt x="377" y="699"/>
                        </a:lnTo>
                        <a:lnTo>
                          <a:pt x="281" y="732"/>
                        </a:lnTo>
                        <a:lnTo>
                          <a:pt x="233" y="725"/>
                        </a:lnTo>
                        <a:lnTo>
                          <a:pt x="216" y="744"/>
                        </a:lnTo>
                        <a:lnTo>
                          <a:pt x="177" y="732"/>
                        </a:lnTo>
                        <a:lnTo>
                          <a:pt x="105" y="745"/>
                        </a:lnTo>
                        <a:lnTo>
                          <a:pt x="0" y="704"/>
                        </a:lnTo>
                        <a:lnTo>
                          <a:pt x="80" y="630"/>
                        </a:lnTo>
                        <a:lnTo>
                          <a:pt x="87" y="577"/>
                        </a:lnTo>
                        <a:lnTo>
                          <a:pt x="38" y="564"/>
                        </a:lnTo>
                        <a:lnTo>
                          <a:pt x="47" y="512"/>
                        </a:lnTo>
                        <a:lnTo>
                          <a:pt x="42" y="447"/>
                        </a:lnTo>
                        <a:lnTo>
                          <a:pt x="85" y="402"/>
                        </a:lnTo>
                        <a:lnTo>
                          <a:pt x="58" y="391"/>
                        </a:lnTo>
                        <a:lnTo>
                          <a:pt x="93" y="331"/>
                        </a:lnTo>
                        <a:lnTo>
                          <a:pt x="152" y="230"/>
                        </a:lnTo>
                        <a:lnTo>
                          <a:pt x="211" y="261"/>
                        </a:lnTo>
                        <a:lnTo>
                          <a:pt x="266" y="250"/>
                        </a:lnTo>
                        <a:lnTo>
                          <a:pt x="291" y="214"/>
                        </a:lnTo>
                        <a:lnTo>
                          <a:pt x="347" y="201"/>
                        </a:lnTo>
                        <a:lnTo>
                          <a:pt x="393" y="176"/>
                        </a:lnTo>
                        <a:lnTo>
                          <a:pt x="427" y="112"/>
                        </a:lnTo>
                        <a:lnTo>
                          <a:pt x="488" y="96"/>
                        </a:lnTo>
                        <a:lnTo>
                          <a:pt x="507" y="67"/>
                        </a:lnTo>
                        <a:lnTo>
                          <a:pt x="532" y="89"/>
                        </a:lnTo>
                        <a:lnTo>
                          <a:pt x="552" y="91"/>
                        </a:lnTo>
                        <a:lnTo>
                          <a:pt x="588" y="92"/>
                        </a:lnTo>
                        <a:lnTo>
                          <a:pt x="635" y="109"/>
                        </a:lnTo>
                        <a:lnTo>
                          <a:pt x="652" y="119"/>
                        </a:lnTo>
                        <a:lnTo>
                          <a:pt x="708" y="92"/>
                        </a:lnTo>
                        <a:lnTo>
                          <a:pt x="726" y="109"/>
                        </a:lnTo>
                        <a:lnTo>
                          <a:pt x="758" y="71"/>
                        </a:lnTo>
                        <a:lnTo>
                          <a:pt x="798" y="74"/>
                        </a:lnTo>
                        <a:lnTo>
                          <a:pt x="812" y="61"/>
                        </a:lnTo>
                        <a:lnTo>
                          <a:pt x="828" y="29"/>
                        </a:lnTo>
                        <a:lnTo>
                          <a:pt x="866" y="0"/>
                        </a:lnTo>
                        <a:lnTo>
                          <a:pt x="897" y="19"/>
                        </a:lnTo>
                        <a:lnTo>
                          <a:pt x="882" y="44"/>
                        </a:lnTo>
                        <a:lnTo>
                          <a:pt x="901" y="47"/>
                        </a:lnTo>
                        <a:lnTo>
                          <a:pt x="875" y="116"/>
                        </a:lnTo>
                        <a:lnTo>
                          <a:pt x="895" y="142"/>
                        </a:lnTo>
                        <a:lnTo>
                          <a:pt x="922" y="125"/>
                        </a:lnTo>
                        <a:lnTo>
                          <a:pt x="955" y="117"/>
                        </a:lnTo>
                        <a:lnTo>
                          <a:pt x="1006" y="81"/>
                        </a:lnTo>
                        <a:lnTo>
                          <a:pt x="1051" y="86"/>
                        </a:lnTo>
                        <a:lnTo>
                          <a:pt x="1120" y="8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4" name="Angola" descr="{&quot;Key&quot;:&quot;angola&quot;,&quot;Name&quot;:&quot;Angola&quot;,&quot;Value&quot;:1.0,&quot;Formula&quot;:&quot;&quot;,&quot;Text&quot;:&quot;&quot;,&quot;OfficeApplication&quot;:1,&quot;HasValue&quot;:true}">
                    <a:extLst>
                      <a:ext uri="{FF2B5EF4-FFF2-40B4-BE49-F238E27FC236}">
                        <a16:creationId xmlns:a16="http://schemas.microsoft.com/office/drawing/2014/main" id="{6636D975-DBFE-5199-6BCD-D0B228ED0395}"/>
                      </a:ext>
                    </a:extLst>
                  </p:cNvPr>
                  <p:cNvSpPr>
                    <a:spLocks noEditPoints="1"/>
                  </p:cNvSpPr>
                  <p:nvPr/>
                </p:nvSpPr>
                <p:spPr bwMode="auto">
                  <a:xfrm>
                    <a:off x="1057" y="2885"/>
                    <a:ext cx="257" cy="306"/>
                  </a:xfrm>
                  <a:custGeom>
                    <a:avLst/>
                    <a:gdLst>
                      <a:gd name="T0" fmla="*/ 906 w 922"/>
                      <a:gd name="T1" fmla="*/ 552 h 1097"/>
                      <a:gd name="T2" fmla="*/ 919 w 922"/>
                      <a:gd name="T3" fmla="*/ 630 h 1097"/>
                      <a:gd name="T4" fmla="*/ 921 w 922"/>
                      <a:gd name="T5" fmla="*/ 689 h 1097"/>
                      <a:gd name="T6" fmla="*/ 807 w 922"/>
                      <a:gd name="T7" fmla="*/ 946 h 1097"/>
                      <a:gd name="T8" fmla="*/ 922 w 922"/>
                      <a:gd name="T9" fmla="*/ 1064 h 1097"/>
                      <a:gd name="T10" fmla="*/ 624 w 922"/>
                      <a:gd name="T11" fmla="*/ 1085 h 1097"/>
                      <a:gd name="T12" fmla="*/ 281 w 922"/>
                      <a:gd name="T13" fmla="*/ 1050 h 1097"/>
                      <a:gd name="T14" fmla="*/ 222 w 922"/>
                      <a:gd name="T15" fmla="*/ 1019 h 1097"/>
                      <a:gd name="T16" fmla="*/ 136 w 922"/>
                      <a:gd name="T17" fmla="*/ 1030 h 1097"/>
                      <a:gd name="T18" fmla="*/ 89 w 922"/>
                      <a:gd name="T19" fmla="*/ 995 h 1097"/>
                      <a:gd name="T20" fmla="*/ 97 w 922"/>
                      <a:gd name="T21" fmla="*/ 848 h 1097"/>
                      <a:gd name="T22" fmla="*/ 107 w 922"/>
                      <a:gd name="T23" fmla="*/ 741 h 1097"/>
                      <a:gd name="T24" fmla="*/ 154 w 922"/>
                      <a:gd name="T25" fmla="*/ 654 h 1097"/>
                      <a:gd name="T26" fmla="*/ 172 w 922"/>
                      <a:gd name="T27" fmla="*/ 557 h 1097"/>
                      <a:gd name="T28" fmla="*/ 140 w 922"/>
                      <a:gd name="T29" fmla="*/ 482 h 1097"/>
                      <a:gd name="T30" fmla="*/ 94 w 922"/>
                      <a:gd name="T31" fmla="*/ 385 h 1097"/>
                      <a:gd name="T32" fmla="*/ 115 w 922"/>
                      <a:gd name="T33" fmla="*/ 335 h 1097"/>
                      <a:gd name="T34" fmla="*/ 67 w 922"/>
                      <a:gd name="T35" fmla="*/ 202 h 1097"/>
                      <a:gd name="T36" fmla="*/ 34 w 922"/>
                      <a:gd name="T37" fmla="*/ 135 h 1097"/>
                      <a:gd name="T38" fmla="*/ 84 w 922"/>
                      <a:gd name="T39" fmla="*/ 126 h 1097"/>
                      <a:gd name="T40" fmla="*/ 320 w 922"/>
                      <a:gd name="T41" fmla="*/ 117 h 1097"/>
                      <a:gd name="T42" fmla="*/ 365 w 922"/>
                      <a:gd name="T43" fmla="*/ 226 h 1097"/>
                      <a:gd name="T44" fmla="*/ 415 w 922"/>
                      <a:gd name="T45" fmla="*/ 295 h 1097"/>
                      <a:gd name="T46" fmla="*/ 484 w 922"/>
                      <a:gd name="T47" fmla="*/ 277 h 1097"/>
                      <a:gd name="T48" fmla="*/ 534 w 922"/>
                      <a:gd name="T49" fmla="*/ 269 h 1097"/>
                      <a:gd name="T50" fmla="*/ 592 w 922"/>
                      <a:gd name="T51" fmla="*/ 217 h 1097"/>
                      <a:gd name="T52" fmla="*/ 632 w 922"/>
                      <a:gd name="T53" fmla="*/ 204 h 1097"/>
                      <a:gd name="T54" fmla="*/ 715 w 922"/>
                      <a:gd name="T55" fmla="*/ 232 h 1097"/>
                      <a:gd name="T56" fmla="*/ 736 w 922"/>
                      <a:gd name="T57" fmla="*/ 315 h 1097"/>
                      <a:gd name="T58" fmla="*/ 740 w 922"/>
                      <a:gd name="T59" fmla="*/ 414 h 1097"/>
                      <a:gd name="T60" fmla="*/ 771 w 922"/>
                      <a:gd name="T61" fmla="*/ 540 h 1097"/>
                      <a:gd name="T62" fmla="*/ 820 w 922"/>
                      <a:gd name="T63" fmla="*/ 535 h 1097"/>
                      <a:gd name="T64" fmla="*/ 896 w 922"/>
                      <a:gd name="T65" fmla="*/ 527 h 1097"/>
                      <a:gd name="T66" fmla="*/ 0 w 922"/>
                      <a:gd name="T67" fmla="*/ 49 h 1097"/>
                      <a:gd name="T68" fmla="*/ 47 w 922"/>
                      <a:gd name="T69" fmla="*/ 0 h 1097"/>
                      <a:gd name="T70" fmla="*/ 51 w 922"/>
                      <a:gd name="T71" fmla="*/ 45 h 1097"/>
                      <a:gd name="T72" fmla="*/ 40 w 922"/>
                      <a:gd name="T73" fmla="*/ 101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2" h="1097">
                        <a:moveTo>
                          <a:pt x="896" y="527"/>
                        </a:moveTo>
                        <a:lnTo>
                          <a:pt x="906" y="552"/>
                        </a:lnTo>
                        <a:lnTo>
                          <a:pt x="902" y="592"/>
                        </a:lnTo>
                        <a:lnTo>
                          <a:pt x="919" y="630"/>
                        </a:lnTo>
                        <a:lnTo>
                          <a:pt x="912" y="661"/>
                        </a:lnTo>
                        <a:lnTo>
                          <a:pt x="921" y="689"/>
                        </a:lnTo>
                        <a:lnTo>
                          <a:pt x="772" y="687"/>
                        </a:lnTo>
                        <a:lnTo>
                          <a:pt x="807" y="946"/>
                        </a:lnTo>
                        <a:lnTo>
                          <a:pt x="866" y="1014"/>
                        </a:lnTo>
                        <a:lnTo>
                          <a:pt x="922" y="1064"/>
                        </a:lnTo>
                        <a:lnTo>
                          <a:pt x="797" y="1097"/>
                        </a:lnTo>
                        <a:lnTo>
                          <a:pt x="624" y="1085"/>
                        </a:lnTo>
                        <a:lnTo>
                          <a:pt x="567" y="1046"/>
                        </a:lnTo>
                        <a:lnTo>
                          <a:pt x="281" y="1050"/>
                        </a:lnTo>
                        <a:lnTo>
                          <a:pt x="272" y="1056"/>
                        </a:lnTo>
                        <a:lnTo>
                          <a:pt x="222" y="1019"/>
                        </a:lnTo>
                        <a:lnTo>
                          <a:pt x="176" y="1016"/>
                        </a:lnTo>
                        <a:lnTo>
                          <a:pt x="136" y="1030"/>
                        </a:lnTo>
                        <a:lnTo>
                          <a:pt x="105" y="1046"/>
                        </a:lnTo>
                        <a:lnTo>
                          <a:pt x="89" y="995"/>
                        </a:lnTo>
                        <a:lnTo>
                          <a:pt x="86" y="923"/>
                        </a:lnTo>
                        <a:lnTo>
                          <a:pt x="97" y="848"/>
                        </a:lnTo>
                        <a:lnTo>
                          <a:pt x="96" y="813"/>
                        </a:lnTo>
                        <a:lnTo>
                          <a:pt x="107" y="741"/>
                        </a:lnTo>
                        <a:lnTo>
                          <a:pt x="120" y="707"/>
                        </a:lnTo>
                        <a:lnTo>
                          <a:pt x="154" y="654"/>
                        </a:lnTo>
                        <a:lnTo>
                          <a:pt x="172" y="619"/>
                        </a:lnTo>
                        <a:lnTo>
                          <a:pt x="172" y="557"/>
                        </a:lnTo>
                        <a:lnTo>
                          <a:pt x="164" y="511"/>
                        </a:lnTo>
                        <a:lnTo>
                          <a:pt x="140" y="482"/>
                        </a:lnTo>
                        <a:lnTo>
                          <a:pt x="115" y="434"/>
                        </a:lnTo>
                        <a:lnTo>
                          <a:pt x="94" y="385"/>
                        </a:lnTo>
                        <a:lnTo>
                          <a:pt x="95" y="367"/>
                        </a:lnTo>
                        <a:lnTo>
                          <a:pt x="115" y="335"/>
                        </a:lnTo>
                        <a:lnTo>
                          <a:pt x="86" y="257"/>
                        </a:lnTo>
                        <a:lnTo>
                          <a:pt x="67" y="202"/>
                        </a:lnTo>
                        <a:lnTo>
                          <a:pt x="29" y="151"/>
                        </a:lnTo>
                        <a:lnTo>
                          <a:pt x="34" y="135"/>
                        </a:lnTo>
                        <a:lnTo>
                          <a:pt x="62" y="125"/>
                        </a:lnTo>
                        <a:lnTo>
                          <a:pt x="84" y="126"/>
                        </a:lnTo>
                        <a:lnTo>
                          <a:pt x="109" y="116"/>
                        </a:lnTo>
                        <a:lnTo>
                          <a:pt x="320" y="117"/>
                        </a:lnTo>
                        <a:lnTo>
                          <a:pt x="341" y="177"/>
                        </a:lnTo>
                        <a:lnTo>
                          <a:pt x="365" y="226"/>
                        </a:lnTo>
                        <a:lnTo>
                          <a:pt x="384" y="252"/>
                        </a:lnTo>
                        <a:lnTo>
                          <a:pt x="415" y="295"/>
                        </a:lnTo>
                        <a:lnTo>
                          <a:pt x="461" y="289"/>
                        </a:lnTo>
                        <a:lnTo>
                          <a:pt x="484" y="277"/>
                        </a:lnTo>
                        <a:lnTo>
                          <a:pt x="525" y="289"/>
                        </a:lnTo>
                        <a:lnTo>
                          <a:pt x="534" y="269"/>
                        </a:lnTo>
                        <a:lnTo>
                          <a:pt x="549" y="221"/>
                        </a:lnTo>
                        <a:lnTo>
                          <a:pt x="592" y="217"/>
                        </a:lnTo>
                        <a:lnTo>
                          <a:pt x="595" y="204"/>
                        </a:lnTo>
                        <a:lnTo>
                          <a:pt x="632" y="204"/>
                        </a:lnTo>
                        <a:lnTo>
                          <a:pt x="627" y="232"/>
                        </a:lnTo>
                        <a:lnTo>
                          <a:pt x="715" y="232"/>
                        </a:lnTo>
                        <a:lnTo>
                          <a:pt x="720" y="284"/>
                        </a:lnTo>
                        <a:lnTo>
                          <a:pt x="736" y="315"/>
                        </a:lnTo>
                        <a:lnTo>
                          <a:pt x="730" y="364"/>
                        </a:lnTo>
                        <a:lnTo>
                          <a:pt x="740" y="414"/>
                        </a:lnTo>
                        <a:lnTo>
                          <a:pt x="766" y="444"/>
                        </a:lnTo>
                        <a:lnTo>
                          <a:pt x="771" y="540"/>
                        </a:lnTo>
                        <a:lnTo>
                          <a:pt x="789" y="534"/>
                        </a:lnTo>
                        <a:lnTo>
                          <a:pt x="820" y="535"/>
                        </a:lnTo>
                        <a:lnTo>
                          <a:pt x="862" y="522"/>
                        </a:lnTo>
                        <a:lnTo>
                          <a:pt x="896" y="527"/>
                        </a:lnTo>
                        <a:close/>
                        <a:moveTo>
                          <a:pt x="22" y="110"/>
                        </a:moveTo>
                        <a:lnTo>
                          <a:pt x="0" y="49"/>
                        </a:lnTo>
                        <a:lnTo>
                          <a:pt x="26" y="14"/>
                        </a:lnTo>
                        <a:lnTo>
                          <a:pt x="47" y="0"/>
                        </a:lnTo>
                        <a:lnTo>
                          <a:pt x="76" y="29"/>
                        </a:lnTo>
                        <a:lnTo>
                          <a:pt x="51" y="45"/>
                        </a:lnTo>
                        <a:lnTo>
                          <a:pt x="40" y="66"/>
                        </a:lnTo>
                        <a:lnTo>
                          <a:pt x="40" y="101"/>
                        </a:lnTo>
                        <a:lnTo>
                          <a:pt x="22" y="11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5" name="Albania" descr="{&quot;Key&quot;:&quot;albania&quot;,&quot;Name&quot;:&quot;Albania&quot;,&quot;Value&quot;:1.0,&quot;Formula&quot;:&quot;&quot;,&quot;Text&quot;:&quot;&quot;,&quot;OfficeApplication&quot;:1,&quot;HasValue&quot;:true}">
                    <a:extLst>
                      <a:ext uri="{FF2B5EF4-FFF2-40B4-BE49-F238E27FC236}">
                        <a16:creationId xmlns:a16="http://schemas.microsoft.com/office/drawing/2014/main" id="{1289C649-7898-404E-CC70-60DE2831DB6C}"/>
                      </a:ext>
                    </a:extLst>
                  </p:cNvPr>
                  <p:cNvSpPr>
                    <a:spLocks/>
                  </p:cNvSpPr>
                  <p:nvPr/>
                </p:nvSpPr>
                <p:spPr bwMode="auto">
                  <a:xfrm>
                    <a:off x="1411" y="1818"/>
                    <a:ext cx="45" cy="69"/>
                  </a:xfrm>
                  <a:custGeom>
                    <a:avLst/>
                    <a:gdLst>
                      <a:gd name="T0" fmla="*/ 133 w 162"/>
                      <a:gd name="T1" fmla="*/ 0 h 248"/>
                      <a:gd name="T2" fmla="*/ 129 w 162"/>
                      <a:gd name="T3" fmla="*/ 15 h 248"/>
                      <a:gd name="T4" fmla="*/ 151 w 162"/>
                      <a:gd name="T5" fmla="*/ 9 h 248"/>
                      <a:gd name="T6" fmla="*/ 152 w 162"/>
                      <a:gd name="T7" fmla="*/ 30 h 248"/>
                      <a:gd name="T8" fmla="*/ 162 w 162"/>
                      <a:gd name="T9" fmla="*/ 39 h 248"/>
                      <a:gd name="T10" fmla="*/ 150 w 162"/>
                      <a:gd name="T11" fmla="*/ 68 h 248"/>
                      <a:gd name="T12" fmla="*/ 126 w 162"/>
                      <a:gd name="T13" fmla="*/ 95 h 248"/>
                      <a:gd name="T14" fmla="*/ 116 w 162"/>
                      <a:gd name="T15" fmla="*/ 129 h 248"/>
                      <a:gd name="T16" fmla="*/ 132 w 162"/>
                      <a:gd name="T17" fmla="*/ 149 h 248"/>
                      <a:gd name="T18" fmla="*/ 119 w 162"/>
                      <a:gd name="T19" fmla="*/ 170 h 248"/>
                      <a:gd name="T20" fmla="*/ 91 w 162"/>
                      <a:gd name="T21" fmla="*/ 181 h 248"/>
                      <a:gd name="T22" fmla="*/ 74 w 162"/>
                      <a:gd name="T23" fmla="*/ 208 h 248"/>
                      <a:gd name="T24" fmla="*/ 21 w 162"/>
                      <a:gd name="T25" fmla="*/ 248 h 248"/>
                      <a:gd name="T26" fmla="*/ 14 w 162"/>
                      <a:gd name="T27" fmla="*/ 241 h 248"/>
                      <a:gd name="T28" fmla="*/ 21 w 162"/>
                      <a:gd name="T29" fmla="*/ 224 h 248"/>
                      <a:gd name="T30" fmla="*/ 0 w 162"/>
                      <a:gd name="T31" fmla="*/ 196 h 248"/>
                      <a:gd name="T32" fmla="*/ 15 w 162"/>
                      <a:gd name="T33" fmla="*/ 159 h 248"/>
                      <a:gd name="T34" fmla="*/ 52 w 162"/>
                      <a:gd name="T35" fmla="*/ 104 h 248"/>
                      <a:gd name="T36" fmla="*/ 75 w 162"/>
                      <a:gd name="T37" fmla="*/ 79 h 248"/>
                      <a:gd name="T38" fmla="*/ 71 w 162"/>
                      <a:gd name="T39" fmla="*/ 65 h 248"/>
                      <a:gd name="T40" fmla="*/ 82 w 162"/>
                      <a:gd name="T41" fmla="*/ 40 h 248"/>
                      <a:gd name="T42" fmla="*/ 133 w 162"/>
                      <a:gd name="T43"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2" h="248">
                        <a:moveTo>
                          <a:pt x="133" y="0"/>
                        </a:moveTo>
                        <a:lnTo>
                          <a:pt x="129" y="15"/>
                        </a:lnTo>
                        <a:lnTo>
                          <a:pt x="151" y="9"/>
                        </a:lnTo>
                        <a:lnTo>
                          <a:pt x="152" y="30"/>
                        </a:lnTo>
                        <a:lnTo>
                          <a:pt x="162" y="39"/>
                        </a:lnTo>
                        <a:lnTo>
                          <a:pt x="150" y="68"/>
                        </a:lnTo>
                        <a:lnTo>
                          <a:pt x="126" y="95"/>
                        </a:lnTo>
                        <a:lnTo>
                          <a:pt x="116" y="129"/>
                        </a:lnTo>
                        <a:lnTo>
                          <a:pt x="132" y="149"/>
                        </a:lnTo>
                        <a:lnTo>
                          <a:pt x="119" y="170"/>
                        </a:lnTo>
                        <a:lnTo>
                          <a:pt x="91" y="181"/>
                        </a:lnTo>
                        <a:lnTo>
                          <a:pt x="74" y="208"/>
                        </a:lnTo>
                        <a:lnTo>
                          <a:pt x="21" y="248"/>
                        </a:lnTo>
                        <a:lnTo>
                          <a:pt x="14" y="241"/>
                        </a:lnTo>
                        <a:lnTo>
                          <a:pt x="21" y="224"/>
                        </a:lnTo>
                        <a:lnTo>
                          <a:pt x="0" y="196"/>
                        </a:lnTo>
                        <a:lnTo>
                          <a:pt x="15" y="159"/>
                        </a:lnTo>
                        <a:lnTo>
                          <a:pt x="52" y="104"/>
                        </a:lnTo>
                        <a:lnTo>
                          <a:pt x="75" y="79"/>
                        </a:lnTo>
                        <a:lnTo>
                          <a:pt x="71" y="65"/>
                        </a:lnTo>
                        <a:lnTo>
                          <a:pt x="82" y="40"/>
                        </a:lnTo>
                        <a:lnTo>
                          <a:pt x="133"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6" name="United Arab Emirates" descr="{&quot;Key&quot;:&quot;united arab emirates&quot;,&quot;Name&quot;:&quot;United Arab Emirates&quot;,&quot;Value&quot;:1.0,&quot;Formula&quot;:&quot;&quot;,&quot;Text&quot;:&quot;&quot;,&quot;OfficeApplication&quot;:1,&quot;HasValue&quot;:true}">
                    <a:extLst>
                      <a:ext uri="{FF2B5EF4-FFF2-40B4-BE49-F238E27FC236}">
                        <a16:creationId xmlns:a16="http://schemas.microsoft.com/office/drawing/2014/main" id="{1DC27F59-CFD1-05A2-69B7-94BDCB656908}"/>
                      </a:ext>
                    </a:extLst>
                  </p:cNvPr>
                  <p:cNvSpPr>
                    <a:spLocks/>
                  </p:cNvSpPr>
                  <p:nvPr/>
                </p:nvSpPr>
                <p:spPr bwMode="auto">
                  <a:xfrm>
                    <a:off x="1897" y="2194"/>
                    <a:ext cx="97" cy="81"/>
                  </a:xfrm>
                  <a:custGeom>
                    <a:avLst/>
                    <a:gdLst>
                      <a:gd name="T0" fmla="*/ 349 w 349"/>
                      <a:gd name="T1" fmla="*/ 28 h 290"/>
                      <a:gd name="T2" fmla="*/ 348 w 349"/>
                      <a:gd name="T3" fmla="*/ 93 h 290"/>
                      <a:gd name="T4" fmla="*/ 312 w 349"/>
                      <a:gd name="T5" fmla="*/ 93 h 290"/>
                      <a:gd name="T6" fmla="*/ 297 w 349"/>
                      <a:gd name="T7" fmla="*/ 145 h 290"/>
                      <a:gd name="T8" fmla="*/ 307 w 349"/>
                      <a:gd name="T9" fmla="*/ 156 h 290"/>
                      <a:gd name="T10" fmla="*/ 273 w 349"/>
                      <a:gd name="T11" fmla="*/ 173 h 290"/>
                      <a:gd name="T12" fmla="*/ 268 w 349"/>
                      <a:gd name="T13" fmla="*/ 206 h 290"/>
                      <a:gd name="T14" fmla="*/ 242 w 349"/>
                      <a:gd name="T15" fmla="*/ 240 h 290"/>
                      <a:gd name="T16" fmla="*/ 234 w 349"/>
                      <a:gd name="T17" fmla="*/ 273 h 290"/>
                      <a:gd name="T18" fmla="*/ 218 w 349"/>
                      <a:gd name="T19" fmla="*/ 290 h 290"/>
                      <a:gd name="T20" fmla="*/ 13 w 349"/>
                      <a:gd name="T21" fmla="*/ 249 h 290"/>
                      <a:gd name="T22" fmla="*/ 0 w 349"/>
                      <a:gd name="T23" fmla="*/ 166 h 290"/>
                      <a:gd name="T24" fmla="*/ 0 w 349"/>
                      <a:gd name="T25" fmla="*/ 147 h 290"/>
                      <a:gd name="T26" fmla="*/ 14 w 349"/>
                      <a:gd name="T27" fmla="*/ 144 h 290"/>
                      <a:gd name="T28" fmla="*/ 13 w 349"/>
                      <a:gd name="T29" fmla="*/ 166 h 290"/>
                      <a:gd name="T30" fmla="*/ 69 w 349"/>
                      <a:gd name="T31" fmla="*/ 152 h 290"/>
                      <a:gd name="T32" fmla="*/ 127 w 349"/>
                      <a:gd name="T33" fmla="*/ 155 h 290"/>
                      <a:gd name="T34" fmla="*/ 169 w 349"/>
                      <a:gd name="T35" fmla="*/ 157 h 290"/>
                      <a:gd name="T36" fmla="*/ 227 w 349"/>
                      <a:gd name="T37" fmla="*/ 102 h 290"/>
                      <a:gd name="T38" fmla="*/ 288 w 349"/>
                      <a:gd name="T39" fmla="*/ 50 h 290"/>
                      <a:gd name="T40" fmla="*/ 342 w 349"/>
                      <a:gd name="T41" fmla="*/ 0 h 290"/>
                      <a:gd name="T42" fmla="*/ 349 w 349"/>
                      <a:gd name="T43" fmla="*/ 2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9" h="290">
                        <a:moveTo>
                          <a:pt x="349" y="28"/>
                        </a:moveTo>
                        <a:lnTo>
                          <a:pt x="348" y="93"/>
                        </a:lnTo>
                        <a:lnTo>
                          <a:pt x="312" y="93"/>
                        </a:lnTo>
                        <a:lnTo>
                          <a:pt x="297" y="145"/>
                        </a:lnTo>
                        <a:lnTo>
                          <a:pt x="307" y="156"/>
                        </a:lnTo>
                        <a:lnTo>
                          <a:pt x="273" y="173"/>
                        </a:lnTo>
                        <a:lnTo>
                          <a:pt x="268" y="206"/>
                        </a:lnTo>
                        <a:lnTo>
                          <a:pt x="242" y="240"/>
                        </a:lnTo>
                        <a:lnTo>
                          <a:pt x="234" y="273"/>
                        </a:lnTo>
                        <a:lnTo>
                          <a:pt x="218" y="290"/>
                        </a:lnTo>
                        <a:lnTo>
                          <a:pt x="13" y="249"/>
                        </a:lnTo>
                        <a:lnTo>
                          <a:pt x="0" y="166"/>
                        </a:lnTo>
                        <a:lnTo>
                          <a:pt x="0" y="147"/>
                        </a:lnTo>
                        <a:lnTo>
                          <a:pt x="14" y="144"/>
                        </a:lnTo>
                        <a:lnTo>
                          <a:pt x="13" y="166"/>
                        </a:lnTo>
                        <a:lnTo>
                          <a:pt x="69" y="152"/>
                        </a:lnTo>
                        <a:lnTo>
                          <a:pt x="127" y="155"/>
                        </a:lnTo>
                        <a:lnTo>
                          <a:pt x="169" y="157"/>
                        </a:lnTo>
                        <a:lnTo>
                          <a:pt x="227" y="102"/>
                        </a:lnTo>
                        <a:lnTo>
                          <a:pt x="288" y="50"/>
                        </a:lnTo>
                        <a:lnTo>
                          <a:pt x="342" y="0"/>
                        </a:lnTo>
                        <a:lnTo>
                          <a:pt x="349" y="2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7" name="Argentina" descr="{&quot;Key&quot;:&quot;argentina&quot;,&quot;Name&quot;:&quot;Argentina&quot;,&quot;Value&quot;:1.0,&quot;Formula&quot;:&quot;&quot;,&quot;Text&quot;:&quot;&quot;,&quot;OfficeApplication&quot;:1,&quot;HasValue&quot;:true}">
                    <a:extLst>
                      <a:ext uri="{FF2B5EF4-FFF2-40B4-BE49-F238E27FC236}">
                        <a16:creationId xmlns:a16="http://schemas.microsoft.com/office/drawing/2014/main" id="{803463F2-C72C-0D5B-0474-26E4022DCEAB}"/>
                      </a:ext>
                    </a:extLst>
                  </p:cNvPr>
                  <p:cNvSpPr>
                    <a:spLocks noEditPoints="1"/>
                  </p:cNvSpPr>
                  <p:nvPr/>
                </p:nvSpPr>
                <p:spPr bwMode="auto">
                  <a:xfrm>
                    <a:off x="6181" y="3280"/>
                    <a:ext cx="674" cy="747"/>
                  </a:xfrm>
                  <a:custGeom>
                    <a:avLst/>
                    <a:gdLst>
                      <a:gd name="T0" fmla="*/ 70 w 2417"/>
                      <a:gd name="T1" fmla="*/ 2652 h 2682"/>
                      <a:gd name="T2" fmla="*/ 160 w 2417"/>
                      <a:gd name="T3" fmla="*/ 2480 h 2682"/>
                      <a:gd name="T4" fmla="*/ 130 w 2417"/>
                      <a:gd name="T5" fmla="*/ 2575 h 2682"/>
                      <a:gd name="T6" fmla="*/ 233 w 2417"/>
                      <a:gd name="T7" fmla="*/ 2640 h 2682"/>
                      <a:gd name="T8" fmla="*/ 109 w 2417"/>
                      <a:gd name="T9" fmla="*/ 2682 h 2682"/>
                      <a:gd name="T10" fmla="*/ 1869 w 2417"/>
                      <a:gd name="T11" fmla="*/ 33 h 2682"/>
                      <a:gd name="T12" fmla="*/ 2020 w 2417"/>
                      <a:gd name="T13" fmla="*/ 178 h 2682"/>
                      <a:gd name="T14" fmla="*/ 2152 w 2417"/>
                      <a:gd name="T15" fmla="*/ 271 h 2682"/>
                      <a:gd name="T16" fmla="*/ 2043 w 2417"/>
                      <a:gd name="T17" fmla="*/ 430 h 2682"/>
                      <a:gd name="T18" fmla="*/ 2179 w 2417"/>
                      <a:gd name="T19" fmla="*/ 465 h 2682"/>
                      <a:gd name="T20" fmla="*/ 2323 w 2417"/>
                      <a:gd name="T21" fmla="*/ 390 h 2682"/>
                      <a:gd name="T22" fmla="*/ 2397 w 2417"/>
                      <a:gd name="T23" fmla="*/ 302 h 2682"/>
                      <a:gd name="T24" fmla="*/ 2394 w 2417"/>
                      <a:gd name="T25" fmla="*/ 413 h 2682"/>
                      <a:gd name="T26" fmla="*/ 2262 w 2417"/>
                      <a:gd name="T27" fmla="*/ 492 h 2682"/>
                      <a:gd name="T28" fmla="*/ 2017 w 2417"/>
                      <a:gd name="T29" fmla="*/ 682 h 2682"/>
                      <a:gd name="T30" fmla="*/ 1917 w 2417"/>
                      <a:gd name="T31" fmla="*/ 831 h 2682"/>
                      <a:gd name="T32" fmla="*/ 1855 w 2417"/>
                      <a:gd name="T33" fmla="*/ 930 h 2682"/>
                      <a:gd name="T34" fmla="*/ 1799 w 2417"/>
                      <a:gd name="T35" fmla="*/ 1025 h 2682"/>
                      <a:gd name="T36" fmla="*/ 1810 w 2417"/>
                      <a:gd name="T37" fmla="*/ 1150 h 2682"/>
                      <a:gd name="T38" fmla="*/ 1809 w 2417"/>
                      <a:gd name="T39" fmla="*/ 1225 h 2682"/>
                      <a:gd name="T40" fmla="*/ 1560 w 2417"/>
                      <a:gd name="T41" fmla="*/ 1372 h 2682"/>
                      <a:gd name="T42" fmla="*/ 1349 w 2417"/>
                      <a:gd name="T43" fmla="*/ 1381 h 2682"/>
                      <a:gd name="T44" fmla="*/ 1284 w 2417"/>
                      <a:gd name="T45" fmla="*/ 1489 h 2682"/>
                      <a:gd name="T46" fmla="*/ 1213 w 2417"/>
                      <a:gd name="T47" fmla="*/ 1558 h 2682"/>
                      <a:gd name="T48" fmla="*/ 1094 w 2417"/>
                      <a:gd name="T49" fmla="*/ 1541 h 2682"/>
                      <a:gd name="T50" fmla="*/ 1013 w 2417"/>
                      <a:gd name="T51" fmla="*/ 1641 h 2682"/>
                      <a:gd name="T52" fmla="*/ 1094 w 2417"/>
                      <a:gd name="T53" fmla="*/ 1641 h 2682"/>
                      <a:gd name="T54" fmla="*/ 1009 w 2417"/>
                      <a:gd name="T55" fmla="*/ 1707 h 2682"/>
                      <a:gd name="T56" fmla="*/ 858 w 2417"/>
                      <a:gd name="T57" fmla="*/ 1837 h 2682"/>
                      <a:gd name="T58" fmla="*/ 753 w 2417"/>
                      <a:gd name="T59" fmla="*/ 1881 h 2682"/>
                      <a:gd name="T60" fmla="*/ 614 w 2417"/>
                      <a:gd name="T61" fmla="*/ 1981 h 2682"/>
                      <a:gd name="T62" fmla="*/ 684 w 2417"/>
                      <a:gd name="T63" fmla="*/ 2056 h 2682"/>
                      <a:gd name="T64" fmla="*/ 502 w 2417"/>
                      <a:gd name="T65" fmla="*/ 2171 h 2682"/>
                      <a:gd name="T66" fmla="*/ 308 w 2417"/>
                      <a:gd name="T67" fmla="*/ 2294 h 2682"/>
                      <a:gd name="T68" fmla="*/ 207 w 2417"/>
                      <a:gd name="T69" fmla="*/ 2412 h 2682"/>
                      <a:gd name="T70" fmla="*/ 187 w 2417"/>
                      <a:gd name="T71" fmla="*/ 2453 h 2682"/>
                      <a:gd name="T72" fmla="*/ 0 w 2417"/>
                      <a:gd name="T73" fmla="*/ 2431 h 2682"/>
                      <a:gd name="T74" fmla="*/ 60 w 2417"/>
                      <a:gd name="T75" fmla="*/ 2327 h 2682"/>
                      <a:gd name="T76" fmla="*/ 15 w 2417"/>
                      <a:gd name="T77" fmla="*/ 2303 h 2682"/>
                      <a:gd name="T78" fmla="*/ 147 w 2417"/>
                      <a:gd name="T79" fmla="*/ 2186 h 2682"/>
                      <a:gd name="T80" fmla="*/ 224 w 2417"/>
                      <a:gd name="T81" fmla="*/ 2096 h 2682"/>
                      <a:gd name="T82" fmla="*/ 400 w 2417"/>
                      <a:gd name="T83" fmla="*/ 1922 h 2682"/>
                      <a:gd name="T84" fmla="*/ 463 w 2417"/>
                      <a:gd name="T85" fmla="*/ 1859 h 2682"/>
                      <a:gd name="T86" fmla="*/ 457 w 2417"/>
                      <a:gd name="T87" fmla="*/ 1813 h 2682"/>
                      <a:gd name="T88" fmla="*/ 490 w 2417"/>
                      <a:gd name="T89" fmla="*/ 1750 h 2682"/>
                      <a:gd name="T90" fmla="*/ 570 w 2417"/>
                      <a:gd name="T91" fmla="*/ 1641 h 2682"/>
                      <a:gd name="T92" fmla="*/ 683 w 2417"/>
                      <a:gd name="T93" fmla="*/ 1460 h 2682"/>
                      <a:gd name="T94" fmla="*/ 797 w 2417"/>
                      <a:gd name="T95" fmla="*/ 1358 h 2682"/>
                      <a:gd name="T96" fmla="*/ 857 w 2417"/>
                      <a:gd name="T97" fmla="*/ 1205 h 2682"/>
                      <a:gd name="T98" fmla="*/ 964 w 2417"/>
                      <a:gd name="T99" fmla="*/ 1085 h 2682"/>
                      <a:gd name="T100" fmla="*/ 1074 w 2417"/>
                      <a:gd name="T101" fmla="*/ 930 h 2682"/>
                      <a:gd name="T102" fmla="*/ 1090 w 2417"/>
                      <a:gd name="T103" fmla="*/ 775 h 2682"/>
                      <a:gd name="T104" fmla="*/ 1189 w 2417"/>
                      <a:gd name="T105" fmla="*/ 612 h 2682"/>
                      <a:gd name="T106" fmla="*/ 1310 w 2417"/>
                      <a:gd name="T107" fmla="*/ 462 h 2682"/>
                      <a:gd name="T108" fmla="*/ 1365 w 2417"/>
                      <a:gd name="T109" fmla="*/ 380 h 2682"/>
                      <a:gd name="T110" fmla="*/ 1423 w 2417"/>
                      <a:gd name="T111" fmla="*/ 218 h 2682"/>
                      <a:gd name="T112" fmla="*/ 1554 w 2417"/>
                      <a:gd name="T113" fmla="*/ 93 h 2682"/>
                      <a:gd name="T114" fmla="*/ 1625 w 2417"/>
                      <a:gd name="T115" fmla="*/ 0 h 2682"/>
                      <a:gd name="T116" fmla="*/ 1740 w 2417"/>
                      <a:gd name="T117" fmla="*/ 78 h 2682"/>
                      <a:gd name="T118" fmla="*/ 1861 w 2417"/>
                      <a:gd name="T119" fmla="*/ 17 h 2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7" h="2682">
                        <a:moveTo>
                          <a:pt x="104" y="2655"/>
                        </a:moveTo>
                        <a:lnTo>
                          <a:pt x="70" y="2652"/>
                        </a:lnTo>
                        <a:lnTo>
                          <a:pt x="5" y="2652"/>
                        </a:lnTo>
                        <a:lnTo>
                          <a:pt x="160" y="2480"/>
                        </a:lnTo>
                        <a:lnTo>
                          <a:pt x="152" y="2516"/>
                        </a:lnTo>
                        <a:lnTo>
                          <a:pt x="130" y="2575"/>
                        </a:lnTo>
                        <a:lnTo>
                          <a:pt x="167" y="2621"/>
                        </a:lnTo>
                        <a:lnTo>
                          <a:pt x="233" y="2640"/>
                        </a:lnTo>
                        <a:lnTo>
                          <a:pt x="170" y="2678"/>
                        </a:lnTo>
                        <a:lnTo>
                          <a:pt x="109" y="2682"/>
                        </a:lnTo>
                        <a:lnTo>
                          <a:pt x="104" y="2655"/>
                        </a:lnTo>
                        <a:close/>
                        <a:moveTo>
                          <a:pt x="1869" y="33"/>
                        </a:moveTo>
                        <a:lnTo>
                          <a:pt x="1965" y="167"/>
                        </a:lnTo>
                        <a:lnTo>
                          <a:pt x="2020" y="178"/>
                        </a:lnTo>
                        <a:lnTo>
                          <a:pt x="2089" y="240"/>
                        </a:lnTo>
                        <a:lnTo>
                          <a:pt x="2152" y="271"/>
                        </a:lnTo>
                        <a:lnTo>
                          <a:pt x="2152" y="307"/>
                        </a:lnTo>
                        <a:lnTo>
                          <a:pt x="2043" y="430"/>
                        </a:lnTo>
                        <a:lnTo>
                          <a:pt x="2105" y="452"/>
                        </a:lnTo>
                        <a:lnTo>
                          <a:pt x="2179" y="465"/>
                        </a:lnTo>
                        <a:lnTo>
                          <a:pt x="2239" y="452"/>
                        </a:lnTo>
                        <a:lnTo>
                          <a:pt x="2323" y="390"/>
                        </a:lnTo>
                        <a:lnTo>
                          <a:pt x="2358" y="317"/>
                        </a:lnTo>
                        <a:lnTo>
                          <a:pt x="2397" y="302"/>
                        </a:lnTo>
                        <a:lnTo>
                          <a:pt x="2417" y="350"/>
                        </a:lnTo>
                        <a:lnTo>
                          <a:pt x="2394" y="413"/>
                        </a:lnTo>
                        <a:lnTo>
                          <a:pt x="2319" y="458"/>
                        </a:lnTo>
                        <a:lnTo>
                          <a:pt x="2262" y="492"/>
                        </a:lnTo>
                        <a:lnTo>
                          <a:pt x="2153" y="571"/>
                        </a:lnTo>
                        <a:lnTo>
                          <a:pt x="2017" y="682"/>
                        </a:lnTo>
                        <a:lnTo>
                          <a:pt x="1972" y="747"/>
                        </a:lnTo>
                        <a:lnTo>
                          <a:pt x="1917" y="831"/>
                        </a:lnTo>
                        <a:lnTo>
                          <a:pt x="1879" y="911"/>
                        </a:lnTo>
                        <a:lnTo>
                          <a:pt x="1855" y="930"/>
                        </a:lnTo>
                        <a:lnTo>
                          <a:pt x="1825" y="982"/>
                        </a:lnTo>
                        <a:lnTo>
                          <a:pt x="1799" y="1025"/>
                        </a:lnTo>
                        <a:lnTo>
                          <a:pt x="1849" y="1093"/>
                        </a:lnTo>
                        <a:lnTo>
                          <a:pt x="1810" y="1150"/>
                        </a:lnTo>
                        <a:lnTo>
                          <a:pt x="1834" y="1185"/>
                        </a:lnTo>
                        <a:lnTo>
                          <a:pt x="1809" y="1225"/>
                        </a:lnTo>
                        <a:lnTo>
                          <a:pt x="1685" y="1328"/>
                        </a:lnTo>
                        <a:lnTo>
                          <a:pt x="1560" y="1372"/>
                        </a:lnTo>
                        <a:lnTo>
                          <a:pt x="1418" y="1388"/>
                        </a:lnTo>
                        <a:lnTo>
                          <a:pt x="1349" y="1381"/>
                        </a:lnTo>
                        <a:lnTo>
                          <a:pt x="1334" y="1429"/>
                        </a:lnTo>
                        <a:lnTo>
                          <a:pt x="1284" y="1489"/>
                        </a:lnTo>
                        <a:lnTo>
                          <a:pt x="1270" y="1529"/>
                        </a:lnTo>
                        <a:lnTo>
                          <a:pt x="1213" y="1558"/>
                        </a:lnTo>
                        <a:lnTo>
                          <a:pt x="1139" y="1569"/>
                        </a:lnTo>
                        <a:lnTo>
                          <a:pt x="1094" y="1541"/>
                        </a:lnTo>
                        <a:lnTo>
                          <a:pt x="1055" y="1561"/>
                        </a:lnTo>
                        <a:lnTo>
                          <a:pt x="1013" y="1641"/>
                        </a:lnTo>
                        <a:lnTo>
                          <a:pt x="1042" y="1666"/>
                        </a:lnTo>
                        <a:lnTo>
                          <a:pt x="1094" y="1641"/>
                        </a:lnTo>
                        <a:lnTo>
                          <a:pt x="1085" y="1682"/>
                        </a:lnTo>
                        <a:lnTo>
                          <a:pt x="1009" y="1707"/>
                        </a:lnTo>
                        <a:lnTo>
                          <a:pt x="923" y="1757"/>
                        </a:lnTo>
                        <a:lnTo>
                          <a:pt x="858" y="1837"/>
                        </a:lnTo>
                        <a:lnTo>
                          <a:pt x="813" y="1881"/>
                        </a:lnTo>
                        <a:lnTo>
                          <a:pt x="753" y="1881"/>
                        </a:lnTo>
                        <a:lnTo>
                          <a:pt x="674" y="1921"/>
                        </a:lnTo>
                        <a:lnTo>
                          <a:pt x="614" y="1981"/>
                        </a:lnTo>
                        <a:lnTo>
                          <a:pt x="634" y="2039"/>
                        </a:lnTo>
                        <a:lnTo>
                          <a:pt x="684" y="2056"/>
                        </a:lnTo>
                        <a:lnTo>
                          <a:pt x="609" y="2127"/>
                        </a:lnTo>
                        <a:lnTo>
                          <a:pt x="502" y="2171"/>
                        </a:lnTo>
                        <a:lnTo>
                          <a:pt x="389" y="2263"/>
                        </a:lnTo>
                        <a:lnTo>
                          <a:pt x="308" y="2294"/>
                        </a:lnTo>
                        <a:lnTo>
                          <a:pt x="253" y="2332"/>
                        </a:lnTo>
                        <a:lnTo>
                          <a:pt x="207" y="2412"/>
                        </a:lnTo>
                        <a:lnTo>
                          <a:pt x="209" y="2458"/>
                        </a:lnTo>
                        <a:lnTo>
                          <a:pt x="187" y="2453"/>
                        </a:lnTo>
                        <a:lnTo>
                          <a:pt x="140" y="2442"/>
                        </a:lnTo>
                        <a:lnTo>
                          <a:pt x="0" y="2431"/>
                        </a:lnTo>
                        <a:lnTo>
                          <a:pt x="13" y="2386"/>
                        </a:lnTo>
                        <a:lnTo>
                          <a:pt x="60" y="2327"/>
                        </a:lnTo>
                        <a:lnTo>
                          <a:pt x="15" y="2332"/>
                        </a:lnTo>
                        <a:lnTo>
                          <a:pt x="15" y="2303"/>
                        </a:lnTo>
                        <a:lnTo>
                          <a:pt x="73" y="2221"/>
                        </a:lnTo>
                        <a:lnTo>
                          <a:pt x="147" y="2186"/>
                        </a:lnTo>
                        <a:lnTo>
                          <a:pt x="203" y="2136"/>
                        </a:lnTo>
                        <a:lnTo>
                          <a:pt x="224" y="2096"/>
                        </a:lnTo>
                        <a:lnTo>
                          <a:pt x="305" y="2027"/>
                        </a:lnTo>
                        <a:lnTo>
                          <a:pt x="400" y="1922"/>
                        </a:lnTo>
                        <a:lnTo>
                          <a:pt x="424" y="1876"/>
                        </a:lnTo>
                        <a:lnTo>
                          <a:pt x="463" y="1859"/>
                        </a:lnTo>
                        <a:lnTo>
                          <a:pt x="475" y="1829"/>
                        </a:lnTo>
                        <a:lnTo>
                          <a:pt x="457" y="1813"/>
                        </a:lnTo>
                        <a:lnTo>
                          <a:pt x="500" y="1781"/>
                        </a:lnTo>
                        <a:lnTo>
                          <a:pt x="490" y="1750"/>
                        </a:lnTo>
                        <a:lnTo>
                          <a:pt x="534" y="1657"/>
                        </a:lnTo>
                        <a:lnTo>
                          <a:pt x="570" y="1641"/>
                        </a:lnTo>
                        <a:lnTo>
                          <a:pt x="619" y="1542"/>
                        </a:lnTo>
                        <a:lnTo>
                          <a:pt x="683" y="1460"/>
                        </a:lnTo>
                        <a:lnTo>
                          <a:pt x="740" y="1388"/>
                        </a:lnTo>
                        <a:lnTo>
                          <a:pt x="797" y="1358"/>
                        </a:lnTo>
                        <a:lnTo>
                          <a:pt x="818" y="1280"/>
                        </a:lnTo>
                        <a:lnTo>
                          <a:pt x="857" y="1205"/>
                        </a:lnTo>
                        <a:lnTo>
                          <a:pt x="933" y="1152"/>
                        </a:lnTo>
                        <a:lnTo>
                          <a:pt x="964" y="1085"/>
                        </a:lnTo>
                        <a:lnTo>
                          <a:pt x="1040" y="1005"/>
                        </a:lnTo>
                        <a:lnTo>
                          <a:pt x="1074" y="930"/>
                        </a:lnTo>
                        <a:lnTo>
                          <a:pt x="1063" y="916"/>
                        </a:lnTo>
                        <a:lnTo>
                          <a:pt x="1090" y="775"/>
                        </a:lnTo>
                        <a:lnTo>
                          <a:pt x="1166" y="691"/>
                        </a:lnTo>
                        <a:lnTo>
                          <a:pt x="1189" y="612"/>
                        </a:lnTo>
                        <a:lnTo>
                          <a:pt x="1240" y="538"/>
                        </a:lnTo>
                        <a:lnTo>
                          <a:pt x="1310" y="462"/>
                        </a:lnTo>
                        <a:lnTo>
                          <a:pt x="1376" y="412"/>
                        </a:lnTo>
                        <a:lnTo>
                          <a:pt x="1365" y="380"/>
                        </a:lnTo>
                        <a:lnTo>
                          <a:pt x="1388" y="353"/>
                        </a:lnTo>
                        <a:lnTo>
                          <a:pt x="1423" y="218"/>
                        </a:lnTo>
                        <a:lnTo>
                          <a:pt x="1509" y="178"/>
                        </a:lnTo>
                        <a:lnTo>
                          <a:pt x="1554" y="93"/>
                        </a:lnTo>
                        <a:lnTo>
                          <a:pt x="1550" y="73"/>
                        </a:lnTo>
                        <a:lnTo>
                          <a:pt x="1625" y="0"/>
                        </a:lnTo>
                        <a:lnTo>
                          <a:pt x="1713" y="20"/>
                        </a:lnTo>
                        <a:lnTo>
                          <a:pt x="1740" y="78"/>
                        </a:lnTo>
                        <a:lnTo>
                          <a:pt x="1783" y="13"/>
                        </a:lnTo>
                        <a:lnTo>
                          <a:pt x="1861" y="17"/>
                        </a:lnTo>
                        <a:lnTo>
                          <a:pt x="1869" y="3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8" name="Armenia" descr="{&quot;Key&quot;:&quot;armenia&quot;,&quot;Name&quot;:&quot;Armenia&quot;,&quot;Value&quot;:1.0,&quot;Formula&quot;:&quot;&quot;,&quot;Text&quot;:&quot;&quot;,&quot;OfficeApplication&quot;:1,&quot;HasValue&quot;:true}">
                    <a:extLst>
                      <a:ext uri="{FF2B5EF4-FFF2-40B4-BE49-F238E27FC236}">
                        <a16:creationId xmlns:a16="http://schemas.microsoft.com/office/drawing/2014/main" id="{1C13D9A5-7CFB-C8DD-6952-DC8984294C40}"/>
                      </a:ext>
                    </a:extLst>
                  </p:cNvPr>
                  <p:cNvSpPr>
                    <a:spLocks/>
                  </p:cNvSpPr>
                  <p:nvPr/>
                </p:nvSpPr>
                <p:spPr bwMode="auto">
                  <a:xfrm>
                    <a:off x="1858" y="1850"/>
                    <a:ext cx="44" cy="57"/>
                  </a:xfrm>
                  <a:custGeom>
                    <a:avLst/>
                    <a:gdLst>
                      <a:gd name="T0" fmla="*/ 138 w 159"/>
                      <a:gd name="T1" fmla="*/ 201 h 203"/>
                      <a:gd name="T2" fmla="*/ 113 w 159"/>
                      <a:gd name="T3" fmla="*/ 203 h 203"/>
                      <a:gd name="T4" fmla="*/ 105 w 159"/>
                      <a:gd name="T5" fmla="*/ 157 h 203"/>
                      <a:gd name="T6" fmla="*/ 110 w 159"/>
                      <a:gd name="T7" fmla="*/ 144 h 203"/>
                      <a:gd name="T8" fmla="*/ 81 w 159"/>
                      <a:gd name="T9" fmla="*/ 144 h 203"/>
                      <a:gd name="T10" fmla="*/ 70 w 159"/>
                      <a:gd name="T11" fmla="*/ 122 h 203"/>
                      <a:gd name="T12" fmla="*/ 56 w 159"/>
                      <a:gd name="T13" fmla="*/ 124 h 203"/>
                      <a:gd name="T14" fmla="*/ 40 w 159"/>
                      <a:gd name="T15" fmla="*/ 100 h 203"/>
                      <a:gd name="T16" fmla="*/ 0 w 159"/>
                      <a:gd name="T17" fmla="*/ 80 h 203"/>
                      <a:gd name="T18" fmla="*/ 24 w 159"/>
                      <a:gd name="T19" fmla="*/ 42 h 203"/>
                      <a:gd name="T20" fmla="*/ 25 w 159"/>
                      <a:gd name="T21" fmla="*/ 13 h 203"/>
                      <a:gd name="T22" fmla="*/ 123 w 159"/>
                      <a:gd name="T23" fmla="*/ 0 h 203"/>
                      <a:gd name="T24" fmla="*/ 126 w 159"/>
                      <a:gd name="T25" fmla="*/ 22 h 203"/>
                      <a:gd name="T26" fmla="*/ 145 w 159"/>
                      <a:gd name="T27" fmla="*/ 35 h 203"/>
                      <a:gd name="T28" fmla="*/ 123 w 159"/>
                      <a:gd name="T29" fmla="*/ 55 h 203"/>
                      <a:gd name="T30" fmla="*/ 146 w 159"/>
                      <a:gd name="T31" fmla="*/ 83 h 203"/>
                      <a:gd name="T32" fmla="*/ 116 w 159"/>
                      <a:gd name="T33" fmla="*/ 109 h 203"/>
                      <a:gd name="T34" fmla="*/ 135 w 159"/>
                      <a:gd name="T35" fmla="*/ 132 h 203"/>
                      <a:gd name="T36" fmla="*/ 159 w 159"/>
                      <a:gd name="T37" fmla="*/ 144 h 203"/>
                      <a:gd name="T38" fmla="*/ 138 w 159"/>
                      <a:gd name="T39" fmla="*/ 2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9" h="203">
                        <a:moveTo>
                          <a:pt x="138" y="201"/>
                        </a:moveTo>
                        <a:lnTo>
                          <a:pt x="113" y="203"/>
                        </a:lnTo>
                        <a:lnTo>
                          <a:pt x="105" y="157"/>
                        </a:lnTo>
                        <a:lnTo>
                          <a:pt x="110" y="144"/>
                        </a:lnTo>
                        <a:lnTo>
                          <a:pt x="81" y="144"/>
                        </a:lnTo>
                        <a:lnTo>
                          <a:pt x="70" y="122"/>
                        </a:lnTo>
                        <a:lnTo>
                          <a:pt x="56" y="124"/>
                        </a:lnTo>
                        <a:lnTo>
                          <a:pt x="40" y="100"/>
                        </a:lnTo>
                        <a:lnTo>
                          <a:pt x="0" y="80"/>
                        </a:lnTo>
                        <a:lnTo>
                          <a:pt x="24" y="42"/>
                        </a:lnTo>
                        <a:lnTo>
                          <a:pt x="25" y="13"/>
                        </a:lnTo>
                        <a:lnTo>
                          <a:pt x="123" y="0"/>
                        </a:lnTo>
                        <a:lnTo>
                          <a:pt x="126" y="22"/>
                        </a:lnTo>
                        <a:lnTo>
                          <a:pt x="145" y="35"/>
                        </a:lnTo>
                        <a:lnTo>
                          <a:pt x="123" y="55"/>
                        </a:lnTo>
                        <a:lnTo>
                          <a:pt x="146" y="83"/>
                        </a:lnTo>
                        <a:lnTo>
                          <a:pt x="116" y="109"/>
                        </a:lnTo>
                        <a:lnTo>
                          <a:pt x="135" y="132"/>
                        </a:lnTo>
                        <a:lnTo>
                          <a:pt x="159" y="144"/>
                        </a:lnTo>
                        <a:lnTo>
                          <a:pt x="138" y="20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9" name="Australie" descr="{&quot;Key&quot;:&quot;australie&quot;,&quot;Name&quot;:&quot;Australie&quot;,&quot;Value&quot;:1.0,&quot;Formula&quot;:&quot;&quot;,&quot;Text&quot;:&quot;&quot;,&quot;OfficeApplication&quot;:1,&quot;HasValue&quot;:true}">
                    <a:extLst>
                      <a:ext uri="{FF2B5EF4-FFF2-40B4-BE49-F238E27FC236}">
                        <a16:creationId xmlns:a16="http://schemas.microsoft.com/office/drawing/2014/main" id="{6CF98BFA-9B08-ADC6-C2BD-E7CC34259951}"/>
                      </a:ext>
                    </a:extLst>
                  </p:cNvPr>
                  <p:cNvSpPr>
                    <a:spLocks noEditPoints="1"/>
                  </p:cNvSpPr>
                  <p:nvPr/>
                </p:nvSpPr>
                <p:spPr bwMode="auto">
                  <a:xfrm>
                    <a:off x="3103" y="3026"/>
                    <a:ext cx="783" cy="747"/>
                  </a:xfrm>
                  <a:custGeom>
                    <a:avLst/>
                    <a:gdLst>
                      <a:gd name="T0" fmla="*/ 2408 w 2807"/>
                      <a:gd name="T1" fmla="*/ 2449 h 2676"/>
                      <a:gd name="T2" fmla="*/ 2425 w 2807"/>
                      <a:gd name="T3" fmla="*/ 2643 h 2676"/>
                      <a:gd name="T4" fmla="*/ 2303 w 2807"/>
                      <a:gd name="T5" fmla="*/ 2669 h 2676"/>
                      <a:gd name="T6" fmla="*/ 2213 w 2807"/>
                      <a:gd name="T7" fmla="*/ 2440 h 2676"/>
                      <a:gd name="T8" fmla="*/ 2173 w 2807"/>
                      <a:gd name="T9" fmla="*/ 285 h 2676"/>
                      <a:gd name="T10" fmla="*/ 2240 w 2807"/>
                      <a:gd name="T11" fmla="*/ 457 h 2676"/>
                      <a:gd name="T12" fmla="*/ 2282 w 2807"/>
                      <a:gd name="T13" fmla="*/ 619 h 2676"/>
                      <a:gd name="T14" fmla="*/ 2478 w 2807"/>
                      <a:gd name="T15" fmla="*/ 791 h 2676"/>
                      <a:gd name="T16" fmla="*/ 2566 w 2807"/>
                      <a:gd name="T17" fmla="*/ 931 h 2676"/>
                      <a:gd name="T18" fmla="*/ 2672 w 2807"/>
                      <a:gd name="T19" fmla="*/ 1090 h 2676"/>
                      <a:gd name="T20" fmla="*/ 2780 w 2807"/>
                      <a:gd name="T21" fmla="*/ 1299 h 2676"/>
                      <a:gd name="T22" fmla="*/ 2791 w 2807"/>
                      <a:gd name="T23" fmla="*/ 1528 h 2676"/>
                      <a:gd name="T24" fmla="*/ 2727 w 2807"/>
                      <a:gd name="T25" fmla="*/ 1779 h 2676"/>
                      <a:gd name="T26" fmla="*/ 2608 w 2807"/>
                      <a:gd name="T27" fmla="*/ 1993 h 2676"/>
                      <a:gd name="T28" fmla="*/ 2560 w 2807"/>
                      <a:gd name="T29" fmla="*/ 2175 h 2676"/>
                      <a:gd name="T30" fmla="*/ 2355 w 2807"/>
                      <a:gd name="T31" fmla="*/ 2271 h 2676"/>
                      <a:gd name="T32" fmla="*/ 2228 w 2807"/>
                      <a:gd name="T33" fmla="*/ 2214 h 2676"/>
                      <a:gd name="T34" fmla="*/ 2038 w 2807"/>
                      <a:gd name="T35" fmla="*/ 2253 h 2676"/>
                      <a:gd name="T36" fmla="*/ 1875 w 2807"/>
                      <a:gd name="T37" fmla="*/ 2111 h 2676"/>
                      <a:gd name="T38" fmla="*/ 1778 w 2807"/>
                      <a:gd name="T39" fmla="*/ 1989 h 2676"/>
                      <a:gd name="T40" fmla="*/ 1703 w 2807"/>
                      <a:gd name="T41" fmla="*/ 1955 h 2676"/>
                      <a:gd name="T42" fmla="*/ 1676 w 2807"/>
                      <a:gd name="T43" fmla="*/ 1878 h 2676"/>
                      <a:gd name="T44" fmla="*/ 1557 w 2807"/>
                      <a:gd name="T45" fmla="*/ 1893 h 2676"/>
                      <a:gd name="T46" fmla="*/ 1396 w 2807"/>
                      <a:gd name="T47" fmla="*/ 1735 h 2676"/>
                      <a:gd name="T48" fmla="*/ 1070 w 2807"/>
                      <a:gd name="T49" fmla="*/ 1730 h 2676"/>
                      <a:gd name="T50" fmla="*/ 801 w 2807"/>
                      <a:gd name="T51" fmla="*/ 1813 h 2676"/>
                      <a:gd name="T52" fmla="*/ 670 w 2807"/>
                      <a:gd name="T53" fmla="*/ 1898 h 2676"/>
                      <a:gd name="T54" fmla="*/ 478 w 2807"/>
                      <a:gd name="T55" fmla="*/ 1939 h 2676"/>
                      <a:gd name="T56" fmla="*/ 347 w 2807"/>
                      <a:gd name="T57" fmla="*/ 1980 h 2676"/>
                      <a:gd name="T58" fmla="*/ 182 w 2807"/>
                      <a:gd name="T59" fmla="*/ 1866 h 2676"/>
                      <a:gd name="T60" fmla="*/ 221 w 2807"/>
                      <a:gd name="T61" fmla="*/ 1751 h 2676"/>
                      <a:gd name="T62" fmla="*/ 147 w 2807"/>
                      <a:gd name="T63" fmla="*/ 1528 h 2676"/>
                      <a:gd name="T64" fmla="*/ 63 w 2807"/>
                      <a:gd name="T65" fmla="*/ 1355 h 2676"/>
                      <a:gd name="T66" fmla="*/ 10 w 2807"/>
                      <a:gd name="T67" fmla="*/ 1216 h 2676"/>
                      <a:gd name="T68" fmla="*/ 26 w 2807"/>
                      <a:gd name="T69" fmla="*/ 1165 h 2676"/>
                      <a:gd name="T70" fmla="*/ 17 w 2807"/>
                      <a:gd name="T71" fmla="*/ 1049 h 2676"/>
                      <a:gd name="T72" fmla="*/ 48 w 2807"/>
                      <a:gd name="T73" fmla="*/ 964 h 2676"/>
                      <a:gd name="T74" fmla="*/ 216 w 2807"/>
                      <a:gd name="T75" fmla="*/ 816 h 2676"/>
                      <a:gd name="T76" fmla="*/ 363 w 2807"/>
                      <a:gd name="T77" fmla="*/ 780 h 2676"/>
                      <a:gd name="T78" fmla="*/ 503 w 2807"/>
                      <a:gd name="T79" fmla="*/ 734 h 2676"/>
                      <a:gd name="T80" fmla="*/ 598 w 2807"/>
                      <a:gd name="T81" fmla="*/ 580 h 2676"/>
                      <a:gd name="T82" fmla="*/ 708 w 2807"/>
                      <a:gd name="T83" fmla="*/ 521 h 2676"/>
                      <a:gd name="T84" fmla="*/ 741 w 2807"/>
                      <a:gd name="T85" fmla="*/ 399 h 2676"/>
                      <a:gd name="T86" fmla="*/ 830 w 2807"/>
                      <a:gd name="T87" fmla="*/ 290 h 2676"/>
                      <a:gd name="T88" fmla="*/ 927 w 2807"/>
                      <a:gd name="T89" fmla="*/ 256 h 2676"/>
                      <a:gd name="T90" fmla="*/ 1112 w 2807"/>
                      <a:gd name="T91" fmla="*/ 350 h 2676"/>
                      <a:gd name="T92" fmla="*/ 1148 w 2807"/>
                      <a:gd name="T93" fmla="*/ 199 h 2676"/>
                      <a:gd name="T94" fmla="*/ 1317 w 2807"/>
                      <a:gd name="T95" fmla="*/ 118 h 2676"/>
                      <a:gd name="T96" fmla="*/ 1348 w 2807"/>
                      <a:gd name="T97" fmla="*/ 58 h 2676"/>
                      <a:gd name="T98" fmla="*/ 1512 w 2807"/>
                      <a:gd name="T99" fmla="*/ 129 h 2676"/>
                      <a:gd name="T100" fmla="*/ 1630 w 2807"/>
                      <a:gd name="T101" fmla="*/ 138 h 2676"/>
                      <a:gd name="T102" fmla="*/ 1568 w 2807"/>
                      <a:gd name="T103" fmla="*/ 249 h 2676"/>
                      <a:gd name="T104" fmla="*/ 1587 w 2807"/>
                      <a:gd name="T105" fmla="*/ 398 h 2676"/>
                      <a:gd name="T106" fmla="*/ 1751 w 2807"/>
                      <a:gd name="T107" fmla="*/ 500 h 2676"/>
                      <a:gd name="T108" fmla="*/ 1913 w 2807"/>
                      <a:gd name="T109" fmla="*/ 545 h 2676"/>
                      <a:gd name="T110" fmla="*/ 1971 w 2807"/>
                      <a:gd name="T111" fmla="*/ 356 h 2676"/>
                      <a:gd name="T112" fmla="*/ 1965 w 2807"/>
                      <a:gd name="T113" fmla="*/ 185 h 2676"/>
                      <a:gd name="T114" fmla="*/ 1997 w 2807"/>
                      <a:gd name="T115" fmla="*/ 54 h 2676"/>
                      <a:gd name="T116" fmla="*/ 2051 w 2807"/>
                      <a:gd name="T117" fmla="*/ 91 h 2676"/>
                      <a:gd name="T118" fmla="*/ 2105 w 2807"/>
                      <a:gd name="T119" fmla="*/ 223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07" h="2676">
                        <a:moveTo>
                          <a:pt x="2257" y="2448"/>
                        </a:moveTo>
                        <a:lnTo>
                          <a:pt x="2321" y="2475"/>
                        </a:lnTo>
                        <a:lnTo>
                          <a:pt x="2357" y="2464"/>
                        </a:lnTo>
                        <a:lnTo>
                          <a:pt x="2408" y="2449"/>
                        </a:lnTo>
                        <a:lnTo>
                          <a:pt x="2447" y="2454"/>
                        </a:lnTo>
                        <a:lnTo>
                          <a:pt x="2453" y="2550"/>
                        </a:lnTo>
                        <a:lnTo>
                          <a:pt x="2431" y="2578"/>
                        </a:lnTo>
                        <a:lnTo>
                          <a:pt x="2425" y="2643"/>
                        </a:lnTo>
                        <a:lnTo>
                          <a:pt x="2401" y="2620"/>
                        </a:lnTo>
                        <a:lnTo>
                          <a:pt x="2357" y="2676"/>
                        </a:lnTo>
                        <a:lnTo>
                          <a:pt x="2343" y="2671"/>
                        </a:lnTo>
                        <a:lnTo>
                          <a:pt x="2303" y="2669"/>
                        </a:lnTo>
                        <a:lnTo>
                          <a:pt x="2262" y="2600"/>
                        </a:lnTo>
                        <a:lnTo>
                          <a:pt x="2252" y="2548"/>
                        </a:lnTo>
                        <a:lnTo>
                          <a:pt x="2212" y="2478"/>
                        </a:lnTo>
                        <a:lnTo>
                          <a:pt x="2213" y="2440"/>
                        </a:lnTo>
                        <a:lnTo>
                          <a:pt x="2257" y="2448"/>
                        </a:lnTo>
                        <a:close/>
                        <a:moveTo>
                          <a:pt x="2102" y="252"/>
                        </a:moveTo>
                        <a:lnTo>
                          <a:pt x="2128" y="316"/>
                        </a:lnTo>
                        <a:lnTo>
                          <a:pt x="2173" y="285"/>
                        </a:lnTo>
                        <a:lnTo>
                          <a:pt x="2197" y="320"/>
                        </a:lnTo>
                        <a:lnTo>
                          <a:pt x="2231" y="351"/>
                        </a:lnTo>
                        <a:lnTo>
                          <a:pt x="2225" y="387"/>
                        </a:lnTo>
                        <a:lnTo>
                          <a:pt x="2240" y="457"/>
                        </a:lnTo>
                        <a:lnTo>
                          <a:pt x="2251" y="498"/>
                        </a:lnTo>
                        <a:lnTo>
                          <a:pt x="2268" y="507"/>
                        </a:lnTo>
                        <a:lnTo>
                          <a:pt x="2288" y="577"/>
                        </a:lnTo>
                        <a:lnTo>
                          <a:pt x="2282" y="619"/>
                        </a:lnTo>
                        <a:lnTo>
                          <a:pt x="2305" y="674"/>
                        </a:lnTo>
                        <a:lnTo>
                          <a:pt x="2382" y="716"/>
                        </a:lnTo>
                        <a:lnTo>
                          <a:pt x="2432" y="755"/>
                        </a:lnTo>
                        <a:lnTo>
                          <a:pt x="2478" y="791"/>
                        </a:lnTo>
                        <a:lnTo>
                          <a:pt x="2470" y="810"/>
                        </a:lnTo>
                        <a:lnTo>
                          <a:pt x="2510" y="861"/>
                        </a:lnTo>
                        <a:lnTo>
                          <a:pt x="2537" y="950"/>
                        </a:lnTo>
                        <a:lnTo>
                          <a:pt x="2566" y="931"/>
                        </a:lnTo>
                        <a:lnTo>
                          <a:pt x="2593" y="966"/>
                        </a:lnTo>
                        <a:lnTo>
                          <a:pt x="2611" y="954"/>
                        </a:lnTo>
                        <a:lnTo>
                          <a:pt x="2623" y="1040"/>
                        </a:lnTo>
                        <a:lnTo>
                          <a:pt x="2672" y="1090"/>
                        </a:lnTo>
                        <a:lnTo>
                          <a:pt x="2705" y="1121"/>
                        </a:lnTo>
                        <a:lnTo>
                          <a:pt x="2760" y="1187"/>
                        </a:lnTo>
                        <a:lnTo>
                          <a:pt x="2778" y="1252"/>
                        </a:lnTo>
                        <a:lnTo>
                          <a:pt x="2780" y="1299"/>
                        </a:lnTo>
                        <a:lnTo>
                          <a:pt x="2775" y="1349"/>
                        </a:lnTo>
                        <a:lnTo>
                          <a:pt x="2807" y="1419"/>
                        </a:lnTo>
                        <a:lnTo>
                          <a:pt x="2803" y="1490"/>
                        </a:lnTo>
                        <a:lnTo>
                          <a:pt x="2791" y="1528"/>
                        </a:lnTo>
                        <a:lnTo>
                          <a:pt x="2771" y="1600"/>
                        </a:lnTo>
                        <a:lnTo>
                          <a:pt x="2772" y="1647"/>
                        </a:lnTo>
                        <a:lnTo>
                          <a:pt x="2758" y="1705"/>
                        </a:lnTo>
                        <a:lnTo>
                          <a:pt x="2727" y="1779"/>
                        </a:lnTo>
                        <a:lnTo>
                          <a:pt x="2677" y="1819"/>
                        </a:lnTo>
                        <a:lnTo>
                          <a:pt x="2651" y="1883"/>
                        </a:lnTo>
                        <a:lnTo>
                          <a:pt x="2628" y="1923"/>
                        </a:lnTo>
                        <a:lnTo>
                          <a:pt x="2608" y="1993"/>
                        </a:lnTo>
                        <a:lnTo>
                          <a:pt x="2582" y="2033"/>
                        </a:lnTo>
                        <a:lnTo>
                          <a:pt x="2565" y="2094"/>
                        </a:lnTo>
                        <a:lnTo>
                          <a:pt x="2556" y="2150"/>
                        </a:lnTo>
                        <a:lnTo>
                          <a:pt x="2560" y="2175"/>
                        </a:lnTo>
                        <a:lnTo>
                          <a:pt x="2522" y="2204"/>
                        </a:lnTo>
                        <a:lnTo>
                          <a:pt x="2447" y="2206"/>
                        </a:lnTo>
                        <a:lnTo>
                          <a:pt x="2386" y="2240"/>
                        </a:lnTo>
                        <a:lnTo>
                          <a:pt x="2355" y="2271"/>
                        </a:lnTo>
                        <a:lnTo>
                          <a:pt x="2316" y="2305"/>
                        </a:lnTo>
                        <a:lnTo>
                          <a:pt x="2260" y="2270"/>
                        </a:lnTo>
                        <a:lnTo>
                          <a:pt x="2218" y="2255"/>
                        </a:lnTo>
                        <a:lnTo>
                          <a:pt x="2228" y="2214"/>
                        </a:lnTo>
                        <a:lnTo>
                          <a:pt x="2192" y="2229"/>
                        </a:lnTo>
                        <a:lnTo>
                          <a:pt x="2135" y="2288"/>
                        </a:lnTo>
                        <a:lnTo>
                          <a:pt x="2077" y="2265"/>
                        </a:lnTo>
                        <a:lnTo>
                          <a:pt x="2038" y="2253"/>
                        </a:lnTo>
                        <a:lnTo>
                          <a:pt x="2000" y="2246"/>
                        </a:lnTo>
                        <a:lnTo>
                          <a:pt x="1935" y="2224"/>
                        </a:lnTo>
                        <a:lnTo>
                          <a:pt x="1890" y="2174"/>
                        </a:lnTo>
                        <a:lnTo>
                          <a:pt x="1875" y="2111"/>
                        </a:lnTo>
                        <a:lnTo>
                          <a:pt x="1858" y="2071"/>
                        </a:lnTo>
                        <a:lnTo>
                          <a:pt x="1823" y="2038"/>
                        </a:lnTo>
                        <a:lnTo>
                          <a:pt x="1758" y="2028"/>
                        </a:lnTo>
                        <a:lnTo>
                          <a:pt x="1778" y="1989"/>
                        </a:lnTo>
                        <a:lnTo>
                          <a:pt x="1760" y="1929"/>
                        </a:lnTo>
                        <a:lnTo>
                          <a:pt x="1730" y="1985"/>
                        </a:lnTo>
                        <a:lnTo>
                          <a:pt x="1670" y="2000"/>
                        </a:lnTo>
                        <a:lnTo>
                          <a:pt x="1703" y="1955"/>
                        </a:lnTo>
                        <a:lnTo>
                          <a:pt x="1711" y="1908"/>
                        </a:lnTo>
                        <a:lnTo>
                          <a:pt x="1736" y="1868"/>
                        </a:lnTo>
                        <a:lnTo>
                          <a:pt x="1728" y="1808"/>
                        </a:lnTo>
                        <a:lnTo>
                          <a:pt x="1676" y="1878"/>
                        </a:lnTo>
                        <a:lnTo>
                          <a:pt x="1635" y="1905"/>
                        </a:lnTo>
                        <a:lnTo>
                          <a:pt x="1611" y="1970"/>
                        </a:lnTo>
                        <a:lnTo>
                          <a:pt x="1557" y="1936"/>
                        </a:lnTo>
                        <a:lnTo>
                          <a:pt x="1557" y="1893"/>
                        </a:lnTo>
                        <a:lnTo>
                          <a:pt x="1511" y="1834"/>
                        </a:lnTo>
                        <a:lnTo>
                          <a:pt x="1473" y="1804"/>
                        </a:lnTo>
                        <a:lnTo>
                          <a:pt x="1486" y="1785"/>
                        </a:lnTo>
                        <a:lnTo>
                          <a:pt x="1396" y="1735"/>
                        </a:lnTo>
                        <a:lnTo>
                          <a:pt x="1347" y="1733"/>
                        </a:lnTo>
                        <a:lnTo>
                          <a:pt x="1280" y="1694"/>
                        </a:lnTo>
                        <a:lnTo>
                          <a:pt x="1157" y="1701"/>
                        </a:lnTo>
                        <a:lnTo>
                          <a:pt x="1070" y="1730"/>
                        </a:lnTo>
                        <a:lnTo>
                          <a:pt x="995" y="1758"/>
                        </a:lnTo>
                        <a:lnTo>
                          <a:pt x="928" y="1753"/>
                        </a:lnTo>
                        <a:lnTo>
                          <a:pt x="860" y="1794"/>
                        </a:lnTo>
                        <a:lnTo>
                          <a:pt x="801" y="1813"/>
                        </a:lnTo>
                        <a:lnTo>
                          <a:pt x="792" y="1855"/>
                        </a:lnTo>
                        <a:lnTo>
                          <a:pt x="770" y="1889"/>
                        </a:lnTo>
                        <a:lnTo>
                          <a:pt x="712" y="1890"/>
                        </a:lnTo>
                        <a:lnTo>
                          <a:pt x="670" y="1898"/>
                        </a:lnTo>
                        <a:lnTo>
                          <a:pt x="608" y="1883"/>
                        </a:lnTo>
                        <a:lnTo>
                          <a:pt x="561" y="1891"/>
                        </a:lnTo>
                        <a:lnTo>
                          <a:pt x="515" y="1895"/>
                        </a:lnTo>
                        <a:lnTo>
                          <a:pt x="478" y="1939"/>
                        </a:lnTo>
                        <a:lnTo>
                          <a:pt x="458" y="1935"/>
                        </a:lnTo>
                        <a:lnTo>
                          <a:pt x="426" y="1958"/>
                        </a:lnTo>
                        <a:lnTo>
                          <a:pt x="397" y="1984"/>
                        </a:lnTo>
                        <a:lnTo>
                          <a:pt x="347" y="1980"/>
                        </a:lnTo>
                        <a:lnTo>
                          <a:pt x="302" y="1980"/>
                        </a:lnTo>
                        <a:lnTo>
                          <a:pt x="223" y="1929"/>
                        </a:lnTo>
                        <a:lnTo>
                          <a:pt x="186" y="1913"/>
                        </a:lnTo>
                        <a:lnTo>
                          <a:pt x="182" y="1866"/>
                        </a:lnTo>
                        <a:lnTo>
                          <a:pt x="215" y="1855"/>
                        </a:lnTo>
                        <a:lnTo>
                          <a:pt x="223" y="1838"/>
                        </a:lnTo>
                        <a:lnTo>
                          <a:pt x="218" y="1808"/>
                        </a:lnTo>
                        <a:lnTo>
                          <a:pt x="221" y="1751"/>
                        </a:lnTo>
                        <a:lnTo>
                          <a:pt x="208" y="1703"/>
                        </a:lnTo>
                        <a:lnTo>
                          <a:pt x="163" y="1621"/>
                        </a:lnTo>
                        <a:lnTo>
                          <a:pt x="148" y="1575"/>
                        </a:lnTo>
                        <a:lnTo>
                          <a:pt x="147" y="1528"/>
                        </a:lnTo>
                        <a:lnTo>
                          <a:pt x="115" y="1475"/>
                        </a:lnTo>
                        <a:lnTo>
                          <a:pt x="111" y="1451"/>
                        </a:lnTo>
                        <a:lnTo>
                          <a:pt x="77" y="1419"/>
                        </a:lnTo>
                        <a:lnTo>
                          <a:pt x="63" y="1355"/>
                        </a:lnTo>
                        <a:lnTo>
                          <a:pt x="18" y="1291"/>
                        </a:lnTo>
                        <a:lnTo>
                          <a:pt x="6" y="1256"/>
                        </a:lnTo>
                        <a:lnTo>
                          <a:pt x="40" y="1291"/>
                        </a:lnTo>
                        <a:lnTo>
                          <a:pt x="10" y="1216"/>
                        </a:lnTo>
                        <a:lnTo>
                          <a:pt x="46" y="1240"/>
                        </a:lnTo>
                        <a:lnTo>
                          <a:pt x="70" y="1271"/>
                        </a:lnTo>
                        <a:lnTo>
                          <a:pt x="65" y="1230"/>
                        </a:lnTo>
                        <a:lnTo>
                          <a:pt x="26" y="1165"/>
                        </a:lnTo>
                        <a:lnTo>
                          <a:pt x="17" y="1140"/>
                        </a:lnTo>
                        <a:lnTo>
                          <a:pt x="0" y="1115"/>
                        </a:lnTo>
                        <a:lnTo>
                          <a:pt x="5" y="1069"/>
                        </a:lnTo>
                        <a:lnTo>
                          <a:pt x="17" y="1049"/>
                        </a:lnTo>
                        <a:lnTo>
                          <a:pt x="25" y="1008"/>
                        </a:lnTo>
                        <a:lnTo>
                          <a:pt x="15" y="960"/>
                        </a:lnTo>
                        <a:lnTo>
                          <a:pt x="40" y="901"/>
                        </a:lnTo>
                        <a:lnTo>
                          <a:pt x="48" y="964"/>
                        </a:lnTo>
                        <a:lnTo>
                          <a:pt x="75" y="908"/>
                        </a:lnTo>
                        <a:lnTo>
                          <a:pt x="131" y="880"/>
                        </a:lnTo>
                        <a:lnTo>
                          <a:pt x="163" y="846"/>
                        </a:lnTo>
                        <a:lnTo>
                          <a:pt x="216" y="816"/>
                        </a:lnTo>
                        <a:lnTo>
                          <a:pt x="247" y="810"/>
                        </a:lnTo>
                        <a:lnTo>
                          <a:pt x="267" y="820"/>
                        </a:lnTo>
                        <a:lnTo>
                          <a:pt x="321" y="790"/>
                        </a:lnTo>
                        <a:lnTo>
                          <a:pt x="363" y="780"/>
                        </a:lnTo>
                        <a:lnTo>
                          <a:pt x="373" y="763"/>
                        </a:lnTo>
                        <a:lnTo>
                          <a:pt x="392" y="755"/>
                        </a:lnTo>
                        <a:lnTo>
                          <a:pt x="431" y="758"/>
                        </a:lnTo>
                        <a:lnTo>
                          <a:pt x="503" y="734"/>
                        </a:lnTo>
                        <a:lnTo>
                          <a:pt x="541" y="698"/>
                        </a:lnTo>
                        <a:lnTo>
                          <a:pt x="557" y="654"/>
                        </a:lnTo>
                        <a:lnTo>
                          <a:pt x="597" y="613"/>
                        </a:lnTo>
                        <a:lnTo>
                          <a:pt x="598" y="580"/>
                        </a:lnTo>
                        <a:lnTo>
                          <a:pt x="598" y="536"/>
                        </a:lnTo>
                        <a:lnTo>
                          <a:pt x="646" y="466"/>
                        </a:lnTo>
                        <a:lnTo>
                          <a:pt x="678" y="538"/>
                        </a:lnTo>
                        <a:lnTo>
                          <a:pt x="708" y="521"/>
                        </a:lnTo>
                        <a:lnTo>
                          <a:pt x="681" y="483"/>
                        </a:lnTo>
                        <a:lnTo>
                          <a:pt x="702" y="443"/>
                        </a:lnTo>
                        <a:lnTo>
                          <a:pt x="733" y="460"/>
                        </a:lnTo>
                        <a:lnTo>
                          <a:pt x="741" y="399"/>
                        </a:lnTo>
                        <a:lnTo>
                          <a:pt x="778" y="359"/>
                        </a:lnTo>
                        <a:lnTo>
                          <a:pt x="795" y="326"/>
                        </a:lnTo>
                        <a:lnTo>
                          <a:pt x="830" y="313"/>
                        </a:lnTo>
                        <a:lnTo>
                          <a:pt x="830" y="290"/>
                        </a:lnTo>
                        <a:lnTo>
                          <a:pt x="862" y="300"/>
                        </a:lnTo>
                        <a:lnTo>
                          <a:pt x="862" y="279"/>
                        </a:lnTo>
                        <a:lnTo>
                          <a:pt x="893" y="268"/>
                        </a:lnTo>
                        <a:lnTo>
                          <a:pt x="927" y="256"/>
                        </a:lnTo>
                        <a:lnTo>
                          <a:pt x="981" y="294"/>
                        </a:lnTo>
                        <a:lnTo>
                          <a:pt x="1022" y="343"/>
                        </a:lnTo>
                        <a:lnTo>
                          <a:pt x="1066" y="343"/>
                        </a:lnTo>
                        <a:lnTo>
                          <a:pt x="1112" y="350"/>
                        </a:lnTo>
                        <a:lnTo>
                          <a:pt x="1096" y="305"/>
                        </a:lnTo>
                        <a:lnTo>
                          <a:pt x="1128" y="240"/>
                        </a:lnTo>
                        <a:lnTo>
                          <a:pt x="1160" y="219"/>
                        </a:lnTo>
                        <a:lnTo>
                          <a:pt x="1148" y="199"/>
                        </a:lnTo>
                        <a:lnTo>
                          <a:pt x="1178" y="153"/>
                        </a:lnTo>
                        <a:lnTo>
                          <a:pt x="1221" y="124"/>
                        </a:lnTo>
                        <a:lnTo>
                          <a:pt x="1257" y="134"/>
                        </a:lnTo>
                        <a:lnTo>
                          <a:pt x="1317" y="118"/>
                        </a:lnTo>
                        <a:lnTo>
                          <a:pt x="1316" y="76"/>
                        </a:lnTo>
                        <a:lnTo>
                          <a:pt x="1262" y="50"/>
                        </a:lnTo>
                        <a:lnTo>
                          <a:pt x="1301" y="38"/>
                        </a:lnTo>
                        <a:lnTo>
                          <a:pt x="1348" y="58"/>
                        </a:lnTo>
                        <a:lnTo>
                          <a:pt x="1387" y="91"/>
                        </a:lnTo>
                        <a:lnTo>
                          <a:pt x="1447" y="113"/>
                        </a:lnTo>
                        <a:lnTo>
                          <a:pt x="1467" y="104"/>
                        </a:lnTo>
                        <a:lnTo>
                          <a:pt x="1512" y="129"/>
                        </a:lnTo>
                        <a:lnTo>
                          <a:pt x="1553" y="106"/>
                        </a:lnTo>
                        <a:lnTo>
                          <a:pt x="1580" y="113"/>
                        </a:lnTo>
                        <a:lnTo>
                          <a:pt x="1596" y="98"/>
                        </a:lnTo>
                        <a:lnTo>
                          <a:pt x="1630" y="138"/>
                        </a:lnTo>
                        <a:lnTo>
                          <a:pt x="1611" y="181"/>
                        </a:lnTo>
                        <a:lnTo>
                          <a:pt x="1585" y="214"/>
                        </a:lnTo>
                        <a:lnTo>
                          <a:pt x="1560" y="216"/>
                        </a:lnTo>
                        <a:lnTo>
                          <a:pt x="1568" y="249"/>
                        </a:lnTo>
                        <a:lnTo>
                          <a:pt x="1548" y="290"/>
                        </a:lnTo>
                        <a:lnTo>
                          <a:pt x="1525" y="330"/>
                        </a:lnTo>
                        <a:lnTo>
                          <a:pt x="1530" y="353"/>
                        </a:lnTo>
                        <a:lnTo>
                          <a:pt x="1587" y="398"/>
                        </a:lnTo>
                        <a:lnTo>
                          <a:pt x="1642" y="424"/>
                        </a:lnTo>
                        <a:lnTo>
                          <a:pt x="1678" y="451"/>
                        </a:lnTo>
                        <a:lnTo>
                          <a:pt x="1731" y="500"/>
                        </a:lnTo>
                        <a:lnTo>
                          <a:pt x="1751" y="500"/>
                        </a:lnTo>
                        <a:lnTo>
                          <a:pt x="1788" y="520"/>
                        </a:lnTo>
                        <a:lnTo>
                          <a:pt x="1800" y="545"/>
                        </a:lnTo>
                        <a:lnTo>
                          <a:pt x="1867" y="573"/>
                        </a:lnTo>
                        <a:lnTo>
                          <a:pt x="1913" y="545"/>
                        </a:lnTo>
                        <a:lnTo>
                          <a:pt x="1927" y="501"/>
                        </a:lnTo>
                        <a:lnTo>
                          <a:pt x="1941" y="465"/>
                        </a:lnTo>
                        <a:lnTo>
                          <a:pt x="1950" y="421"/>
                        </a:lnTo>
                        <a:lnTo>
                          <a:pt x="1971" y="356"/>
                        </a:lnTo>
                        <a:lnTo>
                          <a:pt x="1960" y="318"/>
                        </a:lnTo>
                        <a:lnTo>
                          <a:pt x="1965" y="294"/>
                        </a:lnTo>
                        <a:lnTo>
                          <a:pt x="1956" y="246"/>
                        </a:lnTo>
                        <a:lnTo>
                          <a:pt x="1965" y="185"/>
                        </a:lnTo>
                        <a:lnTo>
                          <a:pt x="1978" y="169"/>
                        </a:lnTo>
                        <a:lnTo>
                          <a:pt x="1967" y="143"/>
                        </a:lnTo>
                        <a:lnTo>
                          <a:pt x="1985" y="99"/>
                        </a:lnTo>
                        <a:lnTo>
                          <a:pt x="1997" y="54"/>
                        </a:lnTo>
                        <a:lnTo>
                          <a:pt x="2000" y="31"/>
                        </a:lnTo>
                        <a:lnTo>
                          <a:pt x="2026" y="0"/>
                        </a:lnTo>
                        <a:lnTo>
                          <a:pt x="2046" y="40"/>
                        </a:lnTo>
                        <a:lnTo>
                          <a:pt x="2051" y="91"/>
                        </a:lnTo>
                        <a:lnTo>
                          <a:pt x="2070" y="101"/>
                        </a:lnTo>
                        <a:lnTo>
                          <a:pt x="2072" y="135"/>
                        </a:lnTo>
                        <a:lnTo>
                          <a:pt x="2098" y="176"/>
                        </a:lnTo>
                        <a:lnTo>
                          <a:pt x="2105" y="223"/>
                        </a:lnTo>
                        <a:lnTo>
                          <a:pt x="2102" y="25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0" name="Austria" descr="{&quot;Key&quot;:&quot;austria&quot;,&quot;Name&quot;:&quot;Austria&quot;,&quot;Value&quot;:1.0,&quot;Formula&quot;:&quot;&quot;,&quot;Text&quot;:&quot;&quot;,&quot;OfficeApplication&quot;:1,&quot;HasValue&quot;:true}">
                    <a:extLst>
                      <a:ext uri="{FF2B5EF4-FFF2-40B4-BE49-F238E27FC236}">
                        <a16:creationId xmlns:a16="http://schemas.microsoft.com/office/drawing/2014/main" id="{AD0CEF52-6AA3-ED7B-0A5B-59E265669328}"/>
                      </a:ext>
                    </a:extLst>
                  </p:cNvPr>
                  <p:cNvSpPr>
                    <a:spLocks/>
                  </p:cNvSpPr>
                  <p:nvPr/>
                </p:nvSpPr>
                <p:spPr bwMode="auto">
                  <a:xfrm>
                    <a:off x="1329" y="1677"/>
                    <a:ext cx="155" cy="57"/>
                  </a:xfrm>
                  <a:custGeom>
                    <a:avLst/>
                    <a:gdLst>
                      <a:gd name="T0" fmla="*/ 556 w 556"/>
                      <a:gd name="T1" fmla="*/ 35 h 207"/>
                      <a:gd name="T2" fmla="*/ 543 w 556"/>
                      <a:gd name="T3" fmla="*/ 45 h 207"/>
                      <a:gd name="T4" fmla="*/ 531 w 556"/>
                      <a:gd name="T5" fmla="*/ 73 h 207"/>
                      <a:gd name="T6" fmla="*/ 503 w 556"/>
                      <a:gd name="T7" fmla="*/ 105 h 207"/>
                      <a:gd name="T8" fmla="*/ 468 w 556"/>
                      <a:gd name="T9" fmla="*/ 105 h 207"/>
                      <a:gd name="T10" fmla="*/ 468 w 556"/>
                      <a:gd name="T11" fmla="*/ 123 h 207"/>
                      <a:gd name="T12" fmla="*/ 413 w 556"/>
                      <a:gd name="T13" fmla="*/ 174 h 207"/>
                      <a:gd name="T14" fmla="*/ 392 w 556"/>
                      <a:gd name="T15" fmla="*/ 187 h 207"/>
                      <a:gd name="T16" fmla="*/ 335 w 556"/>
                      <a:gd name="T17" fmla="*/ 189 h 207"/>
                      <a:gd name="T18" fmla="*/ 291 w 556"/>
                      <a:gd name="T19" fmla="*/ 207 h 207"/>
                      <a:gd name="T20" fmla="*/ 242 w 556"/>
                      <a:gd name="T21" fmla="*/ 201 h 207"/>
                      <a:gd name="T22" fmla="*/ 165 w 556"/>
                      <a:gd name="T23" fmla="*/ 180 h 207"/>
                      <a:gd name="T24" fmla="*/ 170 w 556"/>
                      <a:gd name="T25" fmla="*/ 153 h 207"/>
                      <a:gd name="T26" fmla="*/ 97 w 556"/>
                      <a:gd name="T27" fmla="*/ 166 h 207"/>
                      <a:gd name="T28" fmla="*/ 80 w 556"/>
                      <a:gd name="T29" fmla="*/ 181 h 207"/>
                      <a:gd name="T30" fmla="*/ 50 w 556"/>
                      <a:gd name="T31" fmla="*/ 170 h 207"/>
                      <a:gd name="T32" fmla="*/ 18 w 556"/>
                      <a:gd name="T33" fmla="*/ 169 h 207"/>
                      <a:gd name="T34" fmla="*/ 0 w 556"/>
                      <a:gd name="T35" fmla="*/ 154 h 207"/>
                      <a:gd name="T36" fmla="*/ 23 w 556"/>
                      <a:gd name="T37" fmla="*/ 135 h 207"/>
                      <a:gd name="T38" fmla="*/ 31 w 556"/>
                      <a:gd name="T39" fmla="*/ 120 h 207"/>
                      <a:gd name="T40" fmla="*/ 53 w 556"/>
                      <a:gd name="T41" fmla="*/ 116 h 207"/>
                      <a:gd name="T42" fmla="*/ 70 w 556"/>
                      <a:gd name="T43" fmla="*/ 137 h 207"/>
                      <a:gd name="T44" fmla="*/ 93 w 556"/>
                      <a:gd name="T45" fmla="*/ 118 h 207"/>
                      <a:gd name="T46" fmla="*/ 147 w 556"/>
                      <a:gd name="T47" fmla="*/ 120 h 207"/>
                      <a:gd name="T48" fmla="*/ 202 w 556"/>
                      <a:gd name="T49" fmla="*/ 106 h 207"/>
                      <a:gd name="T50" fmla="*/ 231 w 556"/>
                      <a:gd name="T51" fmla="*/ 109 h 207"/>
                      <a:gd name="T52" fmla="*/ 238 w 556"/>
                      <a:gd name="T53" fmla="*/ 125 h 207"/>
                      <a:gd name="T54" fmla="*/ 255 w 556"/>
                      <a:gd name="T55" fmla="*/ 111 h 207"/>
                      <a:gd name="T56" fmla="*/ 282 w 556"/>
                      <a:gd name="T57" fmla="*/ 60 h 207"/>
                      <a:gd name="T58" fmla="*/ 312 w 556"/>
                      <a:gd name="T59" fmla="*/ 50 h 207"/>
                      <a:gd name="T60" fmla="*/ 360 w 556"/>
                      <a:gd name="T61" fmla="*/ 14 h 207"/>
                      <a:gd name="T62" fmla="*/ 388 w 556"/>
                      <a:gd name="T63" fmla="*/ 39 h 207"/>
                      <a:gd name="T64" fmla="*/ 447 w 556"/>
                      <a:gd name="T65" fmla="*/ 6 h 207"/>
                      <a:gd name="T66" fmla="*/ 473 w 556"/>
                      <a:gd name="T67" fmla="*/ 0 h 207"/>
                      <a:gd name="T68" fmla="*/ 505 w 556"/>
                      <a:gd name="T69" fmla="*/ 25 h 207"/>
                      <a:gd name="T70" fmla="*/ 537 w 556"/>
                      <a:gd name="T71" fmla="*/ 20 h 207"/>
                      <a:gd name="T72" fmla="*/ 556 w 556"/>
                      <a:gd name="T73" fmla="*/ 3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6" h="207">
                        <a:moveTo>
                          <a:pt x="556" y="35"/>
                        </a:moveTo>
                        <a:lnTo>
                          <a:pt x="543" y="45"/>
                        </a:lnTo>
                        <a:lnTo>
                          <a:pt x="531" y="73"/>
                        </a:lnTo>
                        <a:lnTo>
                          <a:pt x="503" y="105"/>
                        </a:lnTo>
                        <a:lnTo>
                          <a:pt x="468" y="105"/>
                        </a:lnTo>
                        <a:lnTo>
                          <a:pt x="468" y="123"/>
                        </a:lnTo>
                        <a:lnTo>
                          <a:pt x="413" y="174"/>
                        </a:lnTo>
                        <a:lnTo>
                          <a:pt x="392" y="187"/>
                        </a:lnTo>
                        <a:lnTo>
                          <a:pt x="335" y="189"/>
                        </a:lnTo>
                        <a:lnTo>
                          <a:pt x="291" y="207"/>
                        </a:lnTo>
                        <a:lnTo>
                          <a:pt x="242" y="201"/>
                        </a:lnTo>
                        <a:lnTo>
                          <a:pt x="165" y="180"/>
                        </a:lnTo>
                        <a:lnTo>
                          <a:pt x="170" y="153"/>
                        </a:lnTo>
                        <a:lnTo>
                          <a:pt x="97" y="166"/>
                        </a:lnTo>
                        <a:lnTo>
                          <a:pt x="80" y="181"/>
                        </a:lnTo>
                        <a:lnTo>
                          <a:pt x="50" y="170"/>
                        </a:lnTo>
                        <a:lnTo>
                          <a:pt x="18" y="169"/>
                        </a:lnTo>
                        <a:lnTo>
                          <a:pt x="0" y="154"/>
                        </a:lnTo>
                        <a:lnTo>
                          <a:pt x="23" y="135"/>
                        </a:lnTo>
                        <a:lnTo>
                          <a:pt x="31" y="120"/>
                        </a:lnTo>
                        <a:lnTo>
                          <a:pt x="53" y="116"/>
                        </a:lnTo>
                        <a:lnTo>
                          <a:pt x="70" y="137"/>
                        </a:lnTo>
                        <a:lnTo>
                          <a:pt x="93" y="118"/>
                        </a:lnTo>
                        <a:lnTo>
                          <a:pt x="147" y="120"/>
                        </a:lnTo>
                        <a:lnTo>
                          <a:pt x="202" y="106"/>
                        </a:lnTo>
                        <a:lnTo>
                          <a:pt x="231" y="109"/>
                        </a:lnTo>
                        <a:lnTo>
                          <a:pt x="238" y="125"/>
                        </a:lnTo>
                        <a:lnTo>
                          <a:pt x="255" y="111"/>
                        </a:lnTo>
                        <a:lnTo>
                          <a:pt x="282" y="60"/>
                        </a:lnTo>
                        <a:lnTo>
                          <a:pt x="312" y="50"/>
                        </a:lnTo>
                        <a:lnTo>
                          <a:pt x="360" y="14"/>
                        </a:lnTo>
                        <a:lnTo>
                          <a:pt x="388" y="39"/>
                        </a:lnTo>
                        <a:lnTo>
                          <a:pt x="447" y="6"/>
                        </a:lnTo>
                        <a:lnTo>
                          <a:pt x="473" y="0"/>
                        </a:lnTo>
                        <a:lnTo>
                          <a:pt x="505" y="25"/>
                        </a:lnTo>
                        <a:lnTo>
                          <a:pt x="537" y="20"/>
                        </a:lnTo>
                        <a:lnTo>
                          <a:pt x="556" y="3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1" name="Azerbaijan" descr="{&quot;Key&quot;:&quot;azerbaijan&quot;,&quot;Name&quot;:&quot;Azerbaijan&quot;,&quot;Value&quot;:1.0,&quot;Formula&quot;:&quot;&quot;,&quot;Text&quot;:&quot;&quot;,&quot;OfficeApplication&quot;:1,&quot;HasValue&quot;:true}">
                    <a:extLst>
                      <a:ext uri="{FF2B5EF4-FFF2-40B4-BE49-F238E27FC236}">
                        <a16:creationId xmlns:a16="http://schemas.microsoft.com/office/drawing/2014/main" id="{30E1C197-63F3-D346-EB51-51AE3CAEDD7F}"/>
                      </a:ext>
                    </a:extLst>
                  </p:cNvPr>
                  <p:cNvSpPr>
                    <a:spLocks noEditPoints="1"/>
                  </p:cNvSpPr>
                  <p:nvPr/>
                </p:nvSpPr>
                <p:spPr bwMode="auto">
                  <a:xfrm>
                    <a:off x="1873" y="1837"/>
                    <a:ext cx="109" cy="80"/>
                  </a:xfrm>
                  <a:custGeom>
                    <a:avLst/>
                    <a:gdLst>
                      <a:gd name="T0" fmla="*/ 59 w 391"/>
                      <a:gd name="T1" fmla="*/ 251 h 288"/>
                      <a:gd name="T2" fmla="*/ 18 w 391"/>
                      <a:gd name="T3" fmla="*/ 240 h 288"/>
                      <a:gd name="T4" fmla="*/ 0 w 391"/>
                      <a:gd name="T5" fmla="*/ 203 h 288"/>
                      <a:gd name="T6" fmla="*/ 3 w 391"/>
                      <a:gd name="T7" fmla="*/ 172 h 288"/>
                      <a:gd name="T8" fmla="*/ 16 w 391"/>
                      <a:gd name="T9" fmla="*/ 170 h 288"/>
                      <a:gd name="T10" fmla="*/ 28 w 391"/>
                      <a:gd name="T11" fmla="*/ 192 h 288"/>
                      <a:gd name="T12" fmla="*/ 56 w 391"/>
                      <a:gd name="T13" fmla="*/ 192 h 288"/>
                      <a:gd name="T14" fmla="*/ 51 w 391"/>
                      <a:gd name="T15" fmla="*/ 205 h 288"/>
                      <a:gd name="T16" fmla="*/ 59 w 391"/>
                      <a:gd name="T17" fmla="*/ 251 h 288"/>
                      <a:gd name="T18" fmla="*/ 228 w 391"/>
                      <a:gd name="T19" fmla="*/ 285 h 288"/>
                      <a:gd name="T20" fmla="*/ 210 w 391"/>
                      <a:gd name="T21" fmla="*/ 288 h 288"/>
                      <a:gd name="T22" fmla="*/ 185 w 391"/>
                      <a:gd name="T23" fmla="*/ 247 h 288"/>
                      <a:gd name="T24" fmla="*/ 224 w 391"/>
                      <a:gd name="T25" fmla="*/ 207 h 288"/>
                      <a:gd name="T26" fmla="*/ 214 w 391"/>
                      <a:gd name="T27" fmla="*/ 183 h 288"/>
                      <a:gd name="T28" fmla="*/ 186 w 391"/>
                      <a:gd name="T29" fmla="*/ 188 h 288"/>
                      <a:gd name="T30" fmla="*/ 84 w 391"/>
                      <a:gd name="T31" fmla="*/ 249 h 288"/>
                      <a:gd name="T32" fmla="*/ 105 w 391"/>
                      <a:gd name="T33" fmla="*/ 192 h 288"/>
                      <a:gd name="T34" fmla="*/ 81 w 391"/>
                      <a:gd name="T35" fmla="*/ 180 h 288"/>
                      <a:gd name="T36" fmla="*/ 63 w 391"/>
                      <a:gd name="T37" fmla="*/ 157 h 288"/>
                      <a:gd name="T38" fmla="*/ 93 w 391"/>
                      <a:gd name="T39" fmla="*/ 131 h 288"/>
                      <a:gd name="T40" fmla="*/ 69 w 391"/>
                      <a:gd name="T41" fmla="*/ 104 h 288"/>
                      <a:gd name="T42" fmla="*/ 91 w 391"/>
                      <a:gd name="T43" fmla="*/ 84 h 288"/>
                      <a:gd name="T44" fmla="*/ 73 w 391"/>
                      <a:gd name="T45" fmla="*/ 70 h 288"/>
                      <a:gd name="T46" fmla="*/ 69 w 391"/>
                      <a:gd name="T47" fmla="*/ 49 h 288"/>
                      <a:gd name="T48" fmla="*/ 91 w 391"/>
                      <a:gd name="T49" fmla="*/ 36 h 288"/>
                      <a:gd name="T50" fmla="*/ 130 w 391"/>
                      <a:gd name="T51" fmla="*/ 59 h 288"/>
                      <a:gd name="T52" fmla="*/ 163 w 391"/>
                      <a:gd name="T53" fmla="*/ 64 h 288"/>
                      <a:gd name="T54" fmla="*/ 176 w 391"/>
                      <a:gd name="T55" fmla="*/ 54 h 288"/>
                      <a:gd name="T56" fmla="*/ 164 w 391"/>
                      <a:gd name="T57" fmla="*/ 10 h 288"/>
                      <a:gd name="T58" fmla="*/ 186 w 391"/>
                      <a:gd name="T59" fmla="*/ 0 h 288"/>
                      <a:gd name="T60" fmla="*/ 203 w 391"/>
                      <a:gd name="T61" fmla="*/ 2 h 288"/>
                      <a:gd name="T62" fmla="*/ 226 w 391"/>
                      <a:gd name="T63" fmla="*/ 51 h 288"/>
                      <a:gd name="T64" fmla="*/ 253 w 391"/>
                      <a:gd name="T65" fmla="*/ 56 h 288"/>
                      <a:gd name="T66" fmla="*/ 273 w 391"/>
                      <a:gd name="T67" fmla="*/ 36 h 288"/>
                      <a:gd name="T68" fmla="*/ 326 w 391"/>
                      <a:gd name="T69" fmla="*/ 4 h 288"/>
                      <a:gd name="T70" fmla="*/ 343 w 391"/>
                      <a:gd name="T71" fmla="*/ 46 h 288"/>
                      <a:gd name="T72" fmla="*/ 351 w 391"/>
                      <a:gd name="T73" fmla="*/ 104 h 288"/>
                      <a:gd name="T74" fmla="*/ 380 w 391"/>
                      <a:gd name="T75" fmla="*/ 107 h 288"/>
                      <a:gd name="T76" fmla="*/ 391 w 391"/>
                      <a:gd name="T77" fmla="*/ 129 h 288"/>
                      <a:gd name="T78" fmla="*/ 334 w 391"/>
                      <a:gd name="T79" fmla="*/ 135 h 288"/>
                      <a:gd name="T80" fmla="*/ 296 w 391"/>
                      <a:gd name="T81" fmla="*/ 197 h 288"/>
                      <a:gd name="T82" fmla="*/ 274 w 391"/>
                      <a:gd name="T83" fmla="*/ 226 h 288"/>
                      <a:gd name="T84" fmla="*/ 241 w 391"/>
                      <a:gd name="T85" fmla="*/ 245 h 288"/>
                      <a:gd name="T86" fmla="*/ 228 w 391"/>
                      <a:gd name="T87" fmla="*/ 28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1" h="288">
                        <a:moveTo>
                          <a:pt x="59" y="251"/>
                        </a:moveTo>
                        <a:lnTo>
                          <a:pt x="18" y="240"/>
                        </a:lnTo>
                        <a:lnTo>
                          <a:pt x="0" y="203"/>
                        </a:lnTo>
                        <a:lnTo>
                          <a:pt x="3" y="172"/>
                        </a:lnTo>
                        <a:lnTo>
                          <a:pt x="16" y="170"/>
                        </a:lnTo>
                        <a:lnTo>
                          <a:pt x="28" y="192"/>
                        </a:lnTo>
                        <a:lnTo>
                          <a:pt x="56" y="192"/>
                        </a:lnTo>
                        <a:lnTo>
                          <a:pt x="51" y="205"/>
                        </a:lnTo>
                        <a:lnTo>
                          <a:pt x="59" y="251"/>
                        </a:lnTo>
                        <a:close/>
                        <a:moveTo>
                          <a:pt x="228" y="285"/>
                        </a:moveTo>
                        <a:lnTo>
                          <a:pt x="210" y="288"/>
                        </a:lnTo>
                        <a:lnTo>
                          <a:pt x="185" y="247"/>
                        </a:lnTo>
                        <a:lnTo>
                          <a:pt x="224" y="207"/>
                        </a:lnTo>
                        <a:lnTo>
                          <a:pt x="214" y="183"/>
                        </a:lnTo>
                        <a:lnTo>
                          <a:pt x="186" y="188"/>
                        </a:lnTo>
                        <a:lnTo>
                          <a:pt x="84" y="249"/>
                        </a:lnTo>
                        <a:lnTo>
                          <a:pt x="105" y="192"/>
                        </a:lnTo>
                        <a:lnTo>
                          <a:pt x="81" y="180"/>
                        </a:lnTo>
                        <a:lnTo>
                          <a:pt x="63" y="157"/>
                        </a:lnTo>
                        <a:lnTo>
                          <a:pt x="93" y="131"/>
                        </a:lnTo>
                        <a:lnTo>
                          <a:pt x="69" y="104"/>
                        </a:lnTo>
                        <a:lnTo>
                          <a:pt x="91" y="84"/>
                        </a:lnTo>
                        <a:lnTo>
                          <a:pt x="73" y="70"/>
                        </a:lnTo>
                        <a:lnTo>
                          <a:pt x="69" y="49"/>
                        </a:lnTo>
                        <a:lnTo>
                          <a:pt x="91" y="36"/>
                        </a:lnTo>
                        <a:lnTo>
                          <a:pt x="130" y="59"/>
                        </a:lnTo>
                        <a:lnTo>
                          <a:pt x="163" y="64"/>
                        </a:lnTo>
                        <a:lnTo>
                          <a:pt x="176" y="54"/>
                        </a:lnTo>
                        <a:lnTo>
                          <a:pt x="164" y="10"/>
                        </a:lnTo>
                        <a:lnTo>
                          <a:pt x="186" y="0"/>
                        </a:lnTo>
                        <a:lnTo>
                          <a:pt x="203" y="2"/>
                        </a:lnTo>
                        <a:lnTo>
                          <a:pt x="226" y="51"/>
                        </a:lnTo>
                        <a:lnTo>
                          <a:pt x="253" y="56"/>
                        </a:lnTo>
                        <a:lnTo>
                          <a:pt x="273" y="36"/>
                        </a:lnTo>
                        <a:lnTo>
                          <a:pt x="326" y="4"/>
                        </a:lnTo>
                        <a:lnTo>
                          <a:pt x="343" y="46"/>
                        </a:lnTo>
                        <a:lnTo>
                          <a:pt x="351" y="104"/>
                        </a:lnTo>
                        <a:lnTo>
                          <a:pt x="380" y="107"/>
                        </a:lnTo>
                        <a:lnTo>
                          <a:pt x="391" y="129"/>
                        </a:lnTo>
                        <a:lnTo>
                          <a:pt x="334" y="135"/>
                        </a:lnTo>
                        <a:lnTo>
                          <a:pt x="296" y="197"/>
                        </a:lnTo>
                        <a:lnTo>
                          <a:pt x="274" y="226"/>
                        </a:lnTo>
                        <a:lnTo>
                          <a:pt x="241" y="245"/>
                        </a:lnTo>
                        <a:lnTo>
                          <a:pt x="228" y="28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2" name="Burundi" descr="{&quot;Key&quot;:&quot;burundi&quot;,&quot;Name&quot;:&quot;Burundi&quot;,&quot;Value&quot;:1.0,&quot;Formula&quot;:&quot;&quot;,&quot;Text&quot;:&quot;&quot;,&quot;OfficeApplication&quot;:1,&quot;HasValue&quot;:true}">
                    <a:extLst>
                      <a:ext uri="{FF2B5EF4-FFF2-40B4-BE49-F238E27FC236}">
                        <a16:creationId xmlns:a16="http://schemas.microsoft.com/office/drawing/2014/main" id="{BB583BA5-69F3-8BBF-047F-7E26E2F7209F}"/>
                      </a:ext>
                    </a:extLst>
                  </p:cNvPr>
                  <p:cNvSpPr>
                    <a:spLocks/>
                  </p:cNvSpPr>
                  <p:nvPr/>
                </p:nvSpPr>
                <p:spPr bwMode="auto">
                  <a:xfrm>
                    <a:off x="1397" y="2838"/>
                    <a:ext cx="35" cy="48"/>
                  </a:xfrm>
                  <a:custGeom>
                    <a:avLst/>
                    <a:gdLst>
                      <a:gd name="T0" fmla="*/ 58 w 126"/>
                      <a:gd name="T1" fmla="*/ 171 h 172"/>
                      <a:gd name="T2" fmla="*/ 50 w 126"/>
                      <a:gd name="T3" fmla="*/ 172 h 172"/>
                      <a:gd name="T4" fmla="*/ 50 w 126"/>
                      <a:gd name="T5" fmla="*/ 169 h 172"/>
                      <a:gd name="T6" fmla="*/ 21 w 126"/>
                      <a:gd name="T7" fmla="*/ 91 h 172"/>
                      <a:gd name="T8" fmla="*/ 21 w 126"/>
                      <a:gd name="T9" fmla="*/ 91 h 172"/>
                      <a:gd name="T10" fmla="*/ 19 w 126"/>
                      <a:gd name="T11" fmla="*/ 77 h 172"/>
                      <a:gd name="T12" fmla="*/ 0 w 126"/>
                      <a:gd name="T13" fmla="*/ 40 h 172"/>
                      <a:gd name="T14" fmla="*/ 44 w 126"/>
                      <a:gd name="T15" fmla="*/ 46 h 172"/>
                      <a:gd name="T16" fmla="*/ 64 w 126"/>
                      <a:gd name="T17" fmla="*/ 0 h 172"/>
                      <a:gd name="T18" fmla="*/ 103 w 126"/>
                      <a:gd name="T19" fmla="*/ 6 h 172"/>
                      <a:gd name="T20" fmla="*/ 108 w 126"/>
                      <a:gd name="T21" fmla="*/ 37 h 172"/>
                      <a:gd name="T22" fmla="*/ 124 w 126"/>
                      <a:gd name="T23" fmla="*/ 56 h 172"/>
                      <a:gd name="T24" fmla="*/ 126 w 126"/>
                      <a:gd name="T25" fmla="*/ 82 h 172"/>
                      <a:gd name="T26" fmla="*/ 108 w 126"/>
                      <a:gd name="T27" fmla="*/ 100 h 172"/>
                      <a:gd name="T28" fmla="*/ 83 w 126"/>
                      <a:gd name="T29" fmla="*/ 142 h 172"/>
                      <a:gd name="T30" fmla="*/ 58 w 126"/>
                      <a:gd name="T31" fmla="*/ 1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172">
                        <a:moveTo>
                          <a:pt x="58" y="171"/>
                        </a:moveTo>
                        <a:lnTo>
                          <a:pt x="50" y="172"/>
                        </a:lnTo>
                        <a:lnTo>
                          <a:pt x="50" y="169"/>
                        </a:lnTo>
                        <a:lnTo>
                          <a:pt x="21" y="91"/>
                        </a:lnTo>
                        <a:lnTo>
                          <a:pt x="21" y="91"/>
                        </a:lnTo>
                        <a:lnTo>
                          <a:pt x="19" y="77"/>
                        </a:lnTo>
                        <a:lnTo>
                          <a:pt x="0" y="40"/>
                        </a:lnTo>
                        <a:lnTo>
                          <a:pt x="44" y="46"/>
                        </a:lnTo>
                        <a:lnTo>
                          <a:pt x="64" y="0"/>
                        </a:lnTo>
                        <a:lnTo>
                          <a:pt x="103" y="6"/>
                        </a:lnTo>
                        <a:lnTo>
                          <a:pt x="108" y="37"/>
                        </a:lnTo>
                        <a:lnTo>
                          <a:pt x="124" y="56"/>
                        </a:lnTo>
                        <a:lnTo>
                          <a:pt x="126" y="82"/>
                        </a:lnTo>
                        <a:lnTo>
                          <a:pt x="108" y="100"/>
                        </a:lnTo>
                        <a:lnTo>
                          <a:pt x="83" y="142"/>
                        </a:lnTo>
                        <a:lnTo>
                          <a:pt x="58" y="17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3" name="Belgium" descr="{&quot;Key&quot;:&quot;belgium&quot;,&quot;Name&quot;:&quot;Belgium&quot;,&quot;Value&quot;:1.0,&quot;Formula&quot;:&quot;&quot;,&quot;Text&quot;:&quot;&quot;,&quot;OfficeApplication&quot;:1,&quot;HasValue&quot;:true}">
                    <a:extLst>
                      <a:ext uri="{FF2B5EF4-FFF2-40B4-BE49-F238E27FC236}">
                        <a16:creationId xmlns:a16="http://schemas.microsoft.com/office/drawing/2014/main" id="{7C54B4C9-6345-0947-81BC-027A23088F9B}"/>
                      </a:ext>
                    </a:extLst>
                  </p:cNvPr>
                  <p:cNvSpPr>
                    <a:spLocks/>
                  </p:cNvSpPr>
                  <p:nvPr/>
                </p:nvSpPr>
                <p:spPr bwMode="auto">
                  <a:xfrm>
                    <a:off x="1272" y="1623"/>
                    <a:ext cx="60" cy="43"/>
                  </a:xfrm>
                  <a:custGeom>
                    <a:avLst/>
                    <a:gdLst>
                      <a:gd name="T0" fmla="*/ 217 w 217"/>
                      <a:gd name="T1" fmla="*/ 52 h 152"/>
                      <a:gd name="T2" fmla="*/ 167 w 217"/>
                      <a:gd name="T3" fmla="*/ 106 h 152"/>
                      <a:gd name="T4" fmla="*/ 149 w 217"/>
                      <a:gd name="T5" fmla="*/ 109 h 152"/>
                      <a:gd name="T6" fmla="*/ 106 w 217"/>
                      <a:gd name="T7" fmla="*/ 152 h 152"/>
                      <a:gd name="T8" fmla="*/ 81 w 217"/>
                      <a:gd name="T9" fmla="*/ 117 h 152"/>
                      <a:gd name="T10" fmla="*/ 44 w 217"/>
                      <a:gd name="T11" fmla="*/ 124 h 152"/>
                      <a:gd name="T12" fmla="*/ 31 w 217"/>
                      <a:gd name="T13" fmla="*/ 86 h 152"/>
                      <a:gd name="T14" fmla="*/ 29 w 217"/>
                      <a:gd name="T15" fmla="*/ 55 h 152"/>
                      <a:gd name="T16" fmla="*/ 0 w 217"/>
                      <a:gd name="T17" fmla="*/ 54 h 152"/>
                      <a:gd name="T18" fmla="*/ 15 w 217"/>
                      <a:gd name="T19" fmla="*/ 26 h 152"/>
                      <a:gd name="T20" fmla="*/ 77 w 217"/>
                      <a:gd name="T21" fmla="*/ 10 h 152"/>
                      <a:gd name="T22" fmla="*/ 117 w 217"/>
                      <a:gd name="T23" fmla="*/ 16 h 152"/>
                      <a:gd name="T24" fmla="*/ 189 w 217"/>
                      <a:gd name="T25" fmla="*/ 0 h 152"/>
                      <a:gd name="T26" fmla="*/ 199 w 217"/>
                      <a:gd name="T27" fmla="*/ 35 h 152"/>
                      <a:gd name="T28" fmla="*/ 217 w 217"/>
                      <a:gd name="T29" fmla="*/ 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52">
                        <a:moveTo>
                          <a:pt x="217" y="52"/>
                        </a:moveTo>
                        <a:lnTo>
                          <a:pt x="167" y="106"/>
                        </a:lnTo>
                        <a:lnTo>
                          <a:pt x="149" y="109"/>
                        </a:lnTo>
                        <a:lnTo>
                          <a:pt x="106" y="152"/>
                        </a:lnTo>
                        <a:lnTo>
                          <a:pt x="81" y="117"/>
                        </a:lnTo>
                        <a:lnTo>
                          <a:pt x="44" y="124"/>
                        </a:lnTo>
                        <a:lnTo>
                          <a:pt x="31" y="86"/>
                        </a:lnTo>
                        <a:lnTo>
                          <a:pt x="29" y="55"/>
                        </a:lnTo>
                        <a:lnTo>
                          <a:pt x="0" y="54"/>
                        </a:lnTo>
                        <a:lnTo>
                          <a:pt x="15" y="26"/>
                        </a:lnTo>
                        <a:lnTo>
                          <a:pt x="77" y="10"/>
                        </a:lnTo>
                        <a:lnTo>
                          <a:pt x="117" y="16"/>
                        </a:lnTo>
                        <a:lnTo>
                          <a:pt x="189" y="0"/>
                        </a:lnTo>
                        <a:lnTo>
                          <a:pt x="199" y="35"/>
                        </a:lnTo>
                        <a:lnTo>
                          <a:pt x="217" y="5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4" name="Benin" descr="{&quot;Key&quot;:&quot;benin&quot;,&quot;Name&quot;:&quot;Benin&quot;,&quot;Value&quot;:1.0,&quot;Formula&quot;:&quot;&quot;,&quot;Text&quot;:&quot;&quot;,&quot;OfficeApplication&quot;:1,&quot;HasValue&quot;:true}">
                    <a:extLst>
                      <a:ext uri="{FF2B5EF4-FFF2-40B4-BE49-F238E27FC236}">
                        <a16:creationId xmlns:a16="http://schemas.microsoft.com/office/drawing/2014/main" id="{C5FBDEE7-2E11-9E54-35BD-2CBCC5A5986E}"/>
                      </a:ext>
                    </a:extLst>
                  </p:cNvPr>
                  <p:cNvSpPr>
                    <a:spLocks/>
                  </p:cNvSpPr>
                  <p:nvPr/>
                </p:nvSpPr>
                <p:spPr bwMode="auto">
                  <a:xfrm>
                    <a:off x="845" y="2507"/>
                    <a:ext cx="61" cy="138"/>
                  </a:xfrm>
                  <a:custGeom>
                    <a:avLst/>
                    <a:gdLst>
                      <a:gd name="T0" fmla="*/ 215 w 218"/>
                      <a:gd name="T1" fmla="*/ 46 h 495"/>
                      <a:gd name="T2" fmla="*/ 208 w 218"/>
                      <a:gd name="T3" fmla="*/ 74 h 495"/>
                      <a:gd name="T4" fmla="*/ 218 w 218"/>
                      <a:gd name="T5" fmla="*/ 122 h 495"/>
                      <a:gd name="T6" fmla="*/ 201 w 218"/>
                      <a:gd name="T7" fmla="*/ 155 h 495"/>
                      <a:gd name="T8" fmla="*/ 206 w 218"/>
                      <a:gd name="T9" fmla="*/ 176 h 495"/>
                      <a:gd name="T10" fmla="*/ 166 w 218"/>
                      <a:gd name="T11" fmla="*/ 227 h 495"/>
                      <a:gd name="T12" fmla="*/ 141 w 218"/>
                      <a:gd name="T13" fmla="*/ 251 h 495"/>
                      <a:gd name="T14" fmla="*/ 123 w 218"/>
                      <a:gd name="T15" fmla="*/ 302 h 495"/>
                      <a:gd name="T16" fmla="*/ 121 w 218"/>
                      <a:gd name="T17" fmla="*/ 355 h 495"/>
                      <a:gd name="T18" fmla="*/ 106 w 218"/>
                      <a:gd name="T19" fmla="*/ 486 h 495"/>
                      <a:gd name="T20" fmla="*/ 46 w 218"/>
                      <a:gd name="T21" fmla="*/ 495 h 495"/>
                      <a:gd name="T22" fmla="*/ 32 w 218"/>
                      <a:gd name="T23" fmla="*/ 438 h 495"/>
                      <a:gd name="T24" fmla="*/ 52 w 218"/>
                      <a:gd name="T25" fmla="*/ 252 h 495"/>
                      <a:gd name="T26" fmla="*/ 40 w 218"/>
                      <a:gd name="T27" fmla="*/ 236 h 495"/>
                      <a:gd name="T28" fmla="*/ 41 w 218"/>
                      <a:gd name="T29" fmla="*/ 196 h 495"/>
                      <a:gd name="T30" fmla="*/ 20 w 218"/>
                      <a:gd name="T31" fmla="*/ 167 h 495"/>
                      <a:gd name="T32" fmla="*/ 0 w 218"/>
                      <a:gd name="T33" fmla="*/ 144 h 495"/>
                      <a:gd name="T34" fmla="*/ 15 w 218"/>
                      <a:gd name="T35" fmla="*/ 101 h 495"/>
                      <a:gd name="T36" fmla="*/ 40 w 218"/>
                      <a:gd name="T37" fmla="*/ 91 h 495"/>
                      <a:gd name="T38" fmla="*/ 58 w 218"/>
                      <a:gd name="T39" fmla="*/ 56 h 495"/>
                      <a:gd name="T40" fmla="*/ 95 w 218"/>
                      <a:gd name="T41" fmla="*/ 49 h 495"/>
                      <a:gd name="T42" fmla="*/ 113 w 218"/>
                      <a:gd name="T43" fmla="*/ 24 h 495"/>
                      <a:gd name="T44" fmla="*/ 141 w 218"/>
                      <a:gd name="T45" fmla="*/ 0 h 495"/>
                      <a:gd name="T46" fmla="*/ 166 w 218"/>
                      <a:gd name="T47" fmla="*/ 0 h 495"/>
                      <a:gd name="T48" fmla="*/ 215 w 218"/>
                      <a:gd name="T49" fmla="*/ 46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8" h="495">
                        <a:moveTo>
                          <a:pt x="215" y="46"/>
                        </a:moveTo>
                        <a:lnTo>
                          <a:pt x="208" y="74"/>
                        </a:lnTo>
                        <a:lnTo>
                          <a:pt x="218" y="122"/>
                        </a:lnTo>
                        <a:lnTo>
                          <a:pt x="201" y="155"/>
                        </a:lnTo>
                        <a:lnTo>
                          <a:pt x="206" y="176"/>
                        </a:lnTo>
                        <a:lnTo>
                          <a:pt x="166" y="227"/>
                        </a:lnTo>
                        <a:lnTo>
                          <a:pt x="141" y="251"/>
                        </a:lnTo>
                        <a:lnTo>
                          <a:pt x="123" y="302"/>
                        </a:lnTo>
                        <a:lnTo>
                          <a:pt x="121" y="355"/>
                        </a:lnTo>
                        <a:lnTo>
                          <a:pt x="106" y="486"/>
                        </a:lnTo>
                        <a:lnTo>
                          <a:pt x="46" y="495"/>
                        </a:lnTo>
                        <a:lnTo>
                          <a:pt x="32" y="438"/>
                        </a:lnTo>
                        <a:lnTo>
                          <a:pt x="52" y="252"/>
                        </a:lnTo>
                        <a:lnTo>
                          <a:pt x="40" y="236"/>
                        </a:lnTo>
                        <a:lnTo>
                          <a:pt x="41" y="196"/>
                        </a:lnTo>
                        <a:lnTo>
                          <a:pt x="20" y="167"/>
                        </a:lnTo>
                        <a:lnTo>
                          <a:pt x="0" y="144"/>
                        </a:lnTo>
                        <a:lnTo>
                          <a:pt x="15" y="101"/>
                        </a:lnTo>
                        <a:lnTo>
                          <a:pt x="40" y="91"/>
                        </a:lnTo>
                        <a:lnTo>
                          <a:pt x="58" y="56"/>
                        </a:lnTo>
                        <a:lnTo>
                          <a:pt x="95" y="49"/>
                        </a:lnTo>
                        <a:lnTo>
                          <a:pt x="113" y="24"/>
                        </a:lnTo>
                        <a:lnTo>
                          <a:pt x="141" y="0"/>
                        </a:lnTo>
                        <a:lnTo>
                          <a:pt x="166" y="0"/>
                        </a:lnTo>
                        <a:lnTo>
                          <a:pt x="215" y="4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5" name="Burkina Faso" descr="{&quot;Key&quot;:&quot;burkina faso&quot;,&quot;Name&quot;:&quot;Burkina Faso&quot;,&quot;Value&quot;:1.0,&quot;Formula&quot;:&quot;&quot;,&quot;Text&quot;:&quot;&quot;,&quot;OfficeApplication&quot;:1,&quot;HasValue&quot;:true}">
                    <a:extLst>
                      <a:ext uri="{FF2B5EF4-FFF2-40B4-BE49-F238E27FC236}">
                        <a16:creationId xmlns:a16="http://schemas.microsoft.com/office/drawing/2014/main" id="{39265F2A-AB4C-1D40-A0DE-B913FE013E7C}"/>
                      </a:ext>
                    </a:extLst>
                  </p:cNvPr>
                  <p:cNvSpPr>
                    <a:spLocks/>
                  </p:cNvSpPr>
                  <p:nvPr/>
                </p:nvSpPr>
                <p:spPr bwMode="auto">
                  <a:xfrm>
                    <a:off x="722" y="2442"/>
                    <a:ext cx="157" cy="125"/>
                  </a:xfrm>
                  <a:custGeom>
                    <a:avLst/>
                    <a:gdLst>
                      <a:gd name="T0" fmla="*/ 466 w 565"/>
                      <a:gd name="T1" fmla="*/ 15 h 448"/>
                      <a:gd name="T2" fmla="*/ 454 w 565"/>
                      <a:gd name="T3" fmla="*/ 54 h 448"/>
                      <a:gd name="T4" fmla="*/ 456 w 565"/>
                      <a:gd name="T5" fmla="*/ 91 h 448"/>
                      <a:gd name="T6" fmla="*/ 489 w 565"/>
                      <a:gd name="T7" fmla="*/ 144 h 448"/>
                      <a:gd name="T8" fmla="*/ 485 w 565"/>
                      <a:gd name="T9" fmla="*/ 184 h 448"/>
                      <a:gd name="T10" fmla="*/ 565 w 565"/>
                      <a:gd name="T11" fmla="*/ 203 h 448"/>
                      <a:gd name="T12" fmla="*/ 555 w 565"/>
                      <a:gd name="T13" fmla="*/ 258 h 448"/>
                      <a:gd name="T14" fmla="*/ 536 w 565"/>
                      <a:gd name="T15" fmla="*/ 283 h 448"/>
                      <a:gd name="T16" fmla="*/ 500 w 565"/>
                      <a:gd name="T17" fmla="*/ 290 h 448"/>
                      <a:gd name="T18" fmla="*/ 481 w 565"/>
                      <a:gd name="T19" fmla="*/ 325 h 448"/>
                      <a:gd name="T20" fmla="*/ 456 w 565"/>
                      <a:gd name="T21" fmla="*/ 335 h 448"/>
                      <a:gd name="T22" fmla="*/ 394 w 565"/>
                      <a:gd name="T23" fmla="*/ 333 h 448"/>
                      <a:gd name="T24" fmla="*/ 361 w 565"/>
                      <a:gd name="T25" fmla="*/ 326 h 448"/>
                      <a:gd name="T26" fmla="*/ 336 w 565"/>
                      <a:gd name="T27" fmla="*/ 339 h 448"/>
                      <a:gd name="T28" fmla="*/ 306 w 565"/>
                      <a:gd name="T29" fmla="*/ 334 h 448"/>
                      <a:gd name="T30" fmla="*/ 181 w 565"/>
                      <a:gd name="T31" fmla="*/ 338 h 448"/>
                      <a:gd name="T32" fmla="*/ 174 w 565"/>
                      <a:gd name="T33" fmla="*/ 384 h 448"/>
                      <a:gd name="T34" fmla="*/ 178 w 565"/>
                      <a:gd name="T35" fmla="*/ 445 h 448"/>
                      <a:gd name="T36" fmla="*/ 130 w 565"/>
                      <a:gd name="T37" fmla="*/ 424 h 448"/>
                      <a:gd name="T38" fmla="*/ 96 w 565"/>
                      <a:gd name="T39" fmla="*/ 426 h 448"/>
                      <a:gd name="T40" fmla="*/ 69 w 565"/>
                      <a:gd name="T41" fmla="*/ 448 h 448"/>
                      <a:gd name="T42" fmla="*/ 39 w 565"/>
                      <a:gd name="T43" fmla="*/ 430 h 448"/>
                      <a:gd name="T44" fmla="*/ 30 w 565"/>
                      <a:gd name="T45" fmla="*/ 403 h 448"/>
                      <a:gd name="T46" fmla="*/ 0 w 565"/>
                      <a:gd name="T47" fmla="*/ 385 h 448"/>
                      <a:gd name="T48" fmla="*/ 0 w 565"/>
                      <a:gd name="T49" fmla="*/ 339 h 448"/>
                      <a:gd name="T50" fmla="*/ 25 w 565"/>
                      <a:gd name="T51" fmla="*/ 304 h 448"/>
                      <a:gd name="T52" fmla="*/ 26 w 565"/>
                      <a:gd name="T53" fmla="*/ 276 h 448"/>
                      <a:gd name="T54" fmla="*/ 93 w 565"/>
                      <a:gd name="T55" fmla="*/ 209 h 448"/>
                      <a:gd name="T56" fmla="*/ 111 w 565"/>
                      <a:gd name="T57" fmla="*/ 153 h 448"/>
                      <a:gd name="T58" fmla="*/ 134 w 565"/>
                      <a:gd name="T59" fmla="*/ 134 h 448"/>
                      <a:gd name="T60" fmla="*/ 168 w 565"/>
                      <a:gd name="T61" fmla="*/ 144 h 448"/>
                      <a:gd name="T62" fmla="*/ 200 w 565"/>
                      <a:gd name="T63" fmla="*/ 128 h 448"/>
                      <a:gd name="T64" fmla="*/ 213 w 565"/>
                      <a:gd name="T65" fmla="*/ 106 h 448"/>
                      <a:gd name="T66" fmla="*/ 274 w 565"/>
                      <a:gd name="T67" fmla="*/ 70 h 448"/>
                      <a:gd name="T68" fmla="*/ 291 w 565"/>
                      <a:gd name="T69" fmla="*/ 45 h 448"/>
                      <a:gd name="T70" fmla="*/ 364 w 565"/>
                      <a:gd name="T71" fmla="*/ 11 h 448"/>
                      <a:gd name="T72" fmla="*/ 405 w 565"/>
                      <a:gd name="T73" fmla="*/ 0 h 448"/>
                      <a:gd name="T74" fmla="*/ 420 w 565"/>
                      <a:gd name="T75" fmla="*/ 15 h 448"/>
                      <a:gd name="T76" fmla="*/ 466 w 565"/>
                      <a:gd name="T77" fmla="*/ 1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5" h="448">
                        <a:moveTo>
                          <a:pt x="466" y="15"/>
                        </a:moveTo>
                        <a:lnTo>
                          <a:pt x="454" y="54"/>
                        </a:lnTo>
                        <a:lnTo>
                          <a:pt x="456" y="91"/>
                        </a:lnTo>
                        <a:lnTo>
                          <a:pt x="489" y="144"/>
                        </a:lnTo>
                        <a:lnTo>
                          <a:pt x="485" y="184"/>
                        </a:lnTo>
                        <a:lnTo>
                          <a:pt x="565" y="203"/>
                        </a:lnTo>
                        <a:lnTo>
                          <a:pt x="555" y="258"/>
                        </a:lnTo>
                        <a:lnTo>
                          <a:pt x="536" y="283"/>
                        </a:lnTo>
                        <a:lnTo>
                          <a:pt x="500" y="290"/>
                        </a:lnTo>
                        <a:lnTo>
                          <a:pt x="481" y="325"/>
                        </a:lnTo>
                        <a:lnTo>
                          <a:pt x="456" y="335"/>
                        </a:lnTo>
                        <a:lnTo>
                          <a:pt x="394" y="333"/>
                        </a:lnTo>
                        <a:lnTo>
                          <a:pt x="361" y="326"/>
                        </a:lnTo>
                        <a:lnTo>
                          <a:pt x="336" y="339"/>
                        </a:lnTo>
                        <a:lnTo>
                          <a:pt x="306" y="334"/>
                        </a:lnTo>
                        <a:lnTo>
                          <a:pt x="181" y="338"/>
                        </a:lnTo>
                        <a:lnTo>
                          <a:pt x="174" y="384"/>
                        </a:lnTo>
                        <a:lnTo>
                          <a:pt x="178" y="445"/>
                        </a:lnTo>
                        <a:lnTo>
                          <a:pt x="130" y="424"/>
                        </a:lnTo>
                        <a:lnTo>
                          <a:pt x="96" y="426"/>
                        </a:lnTo>
                        <a:lnTo>
                          <a:pt x="69" y="448"/>
                        </a:lnTo>
                        <a:lnTo>
                          <a:pt x="39" y="430"/>
                        </a:lnTo>
                        <a:lnTo>
                          <a:pt x="30" y="403"/>
                        </a:lnTo>
                        <a:lnTo>
                          <a:pt x="0" y="385"/>
                        </a:lnTo>
                        <a:lnTo>
                          <a:pt x="0" y="339"/>
                        </a:lnTo>
                        <a:lnTo>
                          <a:pt x="25" y="304"/>
                        </a:lnTo>
                        <a:lnTo>
                          <a:pt x="26" y="276"/>
                        </a:lnTo>
                        <a:lnTo>
                          <a:pt x="93" y="209"/>
                        </a:lnTo>
                        <a:lnTo>
                          <a:pt x="111" y="153"/>
                        </a:lnTo>
                        <a:lnTo>
                          <a:pt x="134" y="134"/>
                        </a:lnTo>
                        <a:lnTo>
                          <a:pt x="168" y="144"/>
                        </a:lnTo>
                        <a:lnTo>
                          <a:pt x="200" y="128"/>
                        </a:lnTo>
                        <a:lnTo>
                          <a:pt x="213" y="106"/>
                        </a:lnTo>
                        <a:lnTo>
                          <a:pt x="274" y="70"/>
                        </a:lnTo>
                        <a:lnTo>
                          <a:pt x="291" y="45"/>
                        </a:lnTo>
                        <a:lnTo>
                          <a:pt x="364" y="11"/>
                        </a:lnTo>
                        <a:lnTo>
                          <a:pt x="405" y="0"/>
                        </a:lnTo>
                        <a:lnTo>
                          <a:pt x="420" y="15"/>
                        </a:lnTo>
                        <a:lnTo>
                          <a:pt x="466" y="1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6" name="Bangladesh" descr="{&quot;Key&quot;:&quot;bangladesh&quot;,&quot;Name&quot;:&quot;Bangladesh&quot;,&quot;Value&quot;:1.0,&quot;Formula&quot;:&quot;&quot;,&quot;Text&quot;:&quot;&quot;,&quot;OfficeApplication&quot;:1,&quot;HasValue&quot;:true}">
                    <a:extLst>
                      <a:ext uri="{FF2B5EF4-FFF2-40B4-BE49-F238E27FC236}">
                        <a16:creationId xmlns:a16="http://schemas.microsoft.com/office/drawing/2014/main" id="{347685EA-404D-5B79-31AC-A916CE35C4A6}"/>
                      </a:ext>
                    </a:extLst>
                  </p:cNvPr>
                  <p:cNvSpPr>
                    <a:spLocks/>
                  </p:cNvSpPr>
                  <p:nvPr/>
                </p:nvSpPr>
                <p:spPr bwMode="auto">
                  <a:xfrm>
                    <a:off x="2610" y="2185"/>
                    <a:ext cx="85" cy="131"/>
                  </a:xfrm>
                  <a:custGeom>
                    <a:avLst/>
                    <a:gdLst>
                      <a:gd name="T0" fmla="*/ 301 w 304"/>
                      <a:gd name="T1" fmla="*/ 357 h 468"/>
                      <a:gd name="T2" fmla="*/ 295 w 304"/>
                      <a:gd name="T3" fmla="*/ 416 h 468"/>
                      <a:gd name="T4" fmla="*/ 271 w 304"/>
                      <a:gd name="T5" fmla="*/ 404 h 468"/>
                      <a:gd name="T6" fmla="*/ 270 w 304"/>
                      <a:gd name="T7" fmla="*/ 468 h 468"/>
                      <a:gd name="T8" fmla="*/ 254 w 304"/>
                      <a:gd name="T9" fmla="*/ 427 h 468"/>
                      <a:gd name="T10" fmla="*/ 252 w 304"/>
                      <a:gd name="T11" fmla="*/ 385 h 468"/>
                      <a:gd name="T12" fmla="*/ 244 w 304"/>
                      <a:gd name="T13" fmla="*/ 346 h 468"/>
                      <a:gd name="T14" fmla="*/ 219 w 304"/>
                      <a:gd name="T15" fmla="*/ 298 h 468"/>
                      <a:gd name="T16" fmla="*/ 153 w 304"/>
                      <a:gd name="T17" fmla="*/ 296 h 468"/>
                      <a:gd name="T18" fmla="*/ 157 w 304"/>
                      <a:gd name="T19" fmla="*/ 329 h 468"/>
                      <a:gd name="T20" fmla="*/ 131 w 304"/>
                      <a:gd name="T21" fmla="*/ 375 h 468"/>
                      <a:gd name="T22" fmla="*/ 102 w 304"/>
                      <a:gd name="T23" fmla="*/ 357 h 468"/>
                      <a:gd name="T24" fmla="*/ 91 w 304"/>
                      <a:gd name="T25" fmla="*/ 372 h 468"/>
                      <a:gd name="T26" fmla="*/ 72 w 304"/>
                      <a:gd name="T27" fmla="*/ 364 h 468"/>
                      <a:gd name="T28" fmla="*/ 45 w 304"/>
                      <a:gd name="T29" fmla="*/ 356 h 468"/>
                      <a:gd name="T30" fmla="*/ 41 w 304"/>
                      <a:gd name="T31" fmla="*/ 290 h 468"/>
                      <a:gd name="T32" fmla="*/ 22 w 304"/>
                      <a:gd name="T33" fmla="*/ 229 h 468"/>
                      <a:gd name="T34" fmla="*/ 40 w 304"/>
                      <a:gd name="T35" fmla="*/ 180 h 468"/>
                      <a:gd name="T36" fmla="*/ 0 w 304"/>
                      <a:gd name="T37" fmla="*/ 157 h 468"/>
                      <a:gd name="T38" fmla="*/ 18 w 304"/>
                      <a:gd name="T39" fmla="*/ 129 h 468"/>
                      <a:gd name="T40" fmla="*/ 65 w 304"/>
                      <a:gd name="T41" fmla="*/ 97 h 468"/>
                      <a:gd name="T42" fmla="*/ 20 w 304"/>
                      <a:gd name="T43" fmla="*/ 55 h 468"/>
                      <a:gd name="T44" fmla="*/ 52 w 304"/>
                      <a:gd name="T45" fmla="*/ 0 h 468"/>
                      <a:gd name="T46" fmla="*/ 102 w 304"/>
                      <a:gd name="T47" fmla="*/ 35 h 468"/>
                      <a:gd name="T48" fmla="*/ 135 w 304"/>
                      <a:gd name="T49" fmla="*/ 39 h 468"/>
                      <a:gd name="T50" fmla="*/ 135 w 304"/>
                      <a:gd name="T51" fmla="*/ 95 h 468"/>
                      <a:gd name="T52" fmla="*/ 200 w 304"/>
                      <a:gd name="T53" fmla="*/ 106 h 468"/>
                      <a:gd name="T54" fmla="*/ 265 w 304"/>
                      <a:gd name="T55" fmla="*/ 105 h 468"/>
                      <a:gd name="T56" fmla="*/ 304 w 304"/>
                      <a:gd name="T57" fmla="*/ 119 h 468"/>
                      <a:gd name="T58" fmla="*/ 264 w 304"/>
                      <a:gd name="T59" fmla="*/ 189 h 468"/>
                      <a:gd name="T60" fmla="*/ 232 w 304"/>
                      <a:gd name="T61" fmla="*/ 192 h 468"/>
                      <a:gd name="T62" fmla="*/ 206 w 304"/>
                      <a:gd name="T63" fmla="*/ 239 h 468"/>
                      <a:gd name="T64" fmla="*/ 240 w 304"/>
                      <a:gd name="T65" fmla="*/ 281 h 468"/>
                      <a:gd name="T66" fmla="*/ 256 w 304"/>
                      <a:gd name="T67" fmla="*/ 229 h 468"/>
                      <a:gd name="T68" fmla="*/ 276 w 304"/>
                      <a:gd name="T69" fmla="*/ 229 h 468"/>
                      <a:gd name="T70" fmla="*/ 301 w 304"/>
                      <a:gd name="T71" fmla="*/ 357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468">
                        <a:moveTo>
                          <a:pt x="301" y="357"/>
                        </a:moveTo>
                        <a:lnTo>
                          <a:pt x="295" y="416"/>
                        </a:lnTo>
                        <a:lnTo>
                          <a:pt x="271" y="404"/>
                        </a:lnTo>
                        <a:lnTo>
                          <a:pt x="270" y="468"/>
                        </a:lnTo>
                        <a:lnTo>
                          <a:pt x="254" y="427"/>
                        </a:lnTo>
                        <a:lnTo>
                          <a:pt x="252" y="385"/>
                        </a:lnTo>
                        <a:lnTo>
                          <a:pt x="244" y="346"/>
                        </a:lnTo>
                        <a:lnTo>
                          <a:pt x="219" y="298"/>
                        </a:lnTo>
                        <a:lnTo>
                          <a:pt x="153" y="296"/>
                        </a:lnTo>
                        <a:lnTo>
                          <a:pt x="157" y="329"/>
                        </a:lnTo>
                        <a:lnTo>
                          <a:pt x="131" y="375"/>
                        </a:lnTo>
                        <a:lnTo>
                          <a:pt x="102" y="357"/>
                        </a:lnTo>
                        <a:lnTo>
                          <a:pt x="91" y="372"/>
                        </a:lnTo>
                        <a:lnTo>
                          <a:pt x="72" y="364"/>
                        </a:lnTo>
                        <a:lnTo>
                          <a:pt x="45" y="356"/>
                        </a:lnTo>
                        <a:lnTo>
                          <a:pt x="41" y="290"/>
                        </a:lnTo>
                        <a:lnTo>
                          <a:pt x="22" y="229"/>
                        </a:lnTo>
                        <a:lnTo>
                          <a:pt x="40" y="180"/>
                        </a:lnTo>
                        <a:lnTo>
                          <a:pt x="0" y="157"/>
                        </a:lnTo>
                        <a:lnTo>
                          <a:pt x="18" y="129"/>
                        </a:lnTo>
                        <a:lnTo>
                          <a:pt x="65" y="97"/>
                        </a:lnTo>
                        <a:lnTo>
                          <a:pt x="20" y="55"/>
                        </a:lnTo>
                        <a:lnTo>
                          <a:pt x="52" y="0"/>
                        </a:lnTo>
                        <a:lnTo>
                          <a:pt x="102" y="35"/>
                        </a:lnTo>
                        <a:lnTo>
                          <a:pt x="135" y="39"/>
                        </a:lnTo>
                        <a:lnTo>
                          <a:pt x="135" y="95"/>
                        </a:lnTo>
                        <a:lnTo>
                          <a:pt x="200" y="106"/>
                        </a:lnTo>
                        <a:lnTo>
                          <a:pt x="265" y="105"/>
                        </a:lnTo>
                        <a:lnTo>
                          <a:pt x="304" y="119"/>
                        </a:lnTo>
                        <a:lnTo>
                          <a:pt x="264" y="189"/>
                        </a:lnTo>
                        <a:lnTo>
                          <a:pt x="232" y="192"/>
                        </a:lnTo>
                        <a:lnTo>
                          <a:pt x="206" y="239"/>
                        </a:lnTo>
                        <a:lnTo>
                          <a:pt x="240" y="281"/>
                        </a:lnTo>
                        <a:lnTo>
                          <a:pt x="256" y="229"/>
                        </a:lnTo>
                        <a:lnTo>
                          <a:pt x="276" y="229"/>
                        </a:lnTo>
                        <a:lnTo>
                          <a:pt x="301" y="35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7" name="Bulgaria" descr="{&quot;Key&quot;:&quot;bulgaria&quot;,&quot;Name&quot;:&quot;Bulgaria&quot;,&quot;Value&quot;:1.0,&quot;Formula&quot;:&quot;&quot;,&quot;Text&quot;:&quot;&quot;,&quot;OfficeApplication&quot;:1,&quot;HasValue&quot;:true}">
                    <a:extLst>
                      <a:ext uri="{FF2B5EF4-FFF2-40B4-BE49-F238E27FC236}">
                        <a16:creationId xmlns:a16="http://schemas.microsoft.com/office/drawing/2014/main" id="{3801BD0A-459A-CCE6-7269-7BE751F97349}"/>
                      </a:ext>
                    </a:extLst>
                  </p:cNvPr>
                  <p:cNvSpPr>
                    <a:spLocks/>
                  </p:cNvSpPr>
                  <p:nvPr/>
                </p:nvSpPr>
                <p:spPr bwMode="auto">
                  <a:xfrm>
                    <a:off x="1489" y="1783"/>
                    <a:ext cx="133" cy="68"/>
                  </a:xfrm>
                  <a:custGeom>
                    <a:avLst/>
                    <a:gdLst>
                      <a:gd name="T0" fmla="*/ 474 w 474"/>
                      <a:gd name="T1" fmla="*/ 43 h 242"/>
                      <a:gd name="T2" fmla="*/ 421 w 474"/>
                      <a:gd name="T3" fmla="*/ 76 h 242"/>
                      <a:gd name="T4" fmla="*/ 365 w 474"/>
                      <a:gd name="T5" fmla="*/ 133 h 242"/>
                      <a:gd name="T6" fmla="*/ 361 w 474"/>
                      <a:gd name="T7" fmla="*/ 179 h 242"/>
                      <a:gd name="T8" fmla="*/ 311 w 474"/>
                      <a:gd name="T9" fmla="*/ 168 h 242"/>
                      <a:gd name="T10" fmla="*/ 230 w 474"/>
                      <a:gd name="T11" fmla="*/ 194 h 242"/>
                      <a:gd name="T12" fmla="*/ 208 w 474"/>
                      <a:gd name="T13" fmla="*/ 234 h 242"/>
                      <a:gd name="T14" fmla="*/ 144 w 474"/>
                      <a:gd name="T15" fmla="*/ 242 h 242"/>
                      <a:gd name="T16" fmla="*/ 113 w 474"/>
                      <a:gd name="T17" fmla="*/ 213 h 242"/>
                      <a:gd name="T18" fmla="*/ 48 w 474"/>
                      <a:gd name="T19" fmla="*/ 235 h 242"/>
                      <a:gd name="T20" fmla="*/ 0 w 474"/>
                      <a:gd name="T21" fmla="*/ 233 h 242"/>
                      <a:gd name="T22" fmla="*/ 26 w 474"/>
                      <a:gd name="T23" fmla="*/ 180 h 242"/>
                      <a:gd name="T24" fmla="*/ 8 w 474"/>
                      <a:gd name="T25" fmla="*/ 154 h 242"/>
                      <a:gd name="T26" fmla="*/ 25 w 474"/>
                      <a:gd name="T27" fmla="*/ 143 h 242"/>
                      <a:gd name="T28" fmla="*/ 24 w 474"/>
                      <a:gd name="T29" fmla="*/ 133 h 242"/>
                      <a:gd name="T30" fmla="*/ 50 w 474"/>
                      <a:gd name="T31" fmla="*/ 108 h 242"/>
                      <a:gd name="T32" fmla="*/ 90 w 474"/>
                      <a:gd name="T33" fmla="*/ 83 h 242"/>
                      <a:gd name="T34" fmla="*/ 79 w 474"/>
                      <a:gd name="T35" fmla="*/ 48 h 242"/>
                      <a:gd name="T36" fmla="*/ 90 w 474"/>
                      <a:gd name="T37" fmla="*/ 19 h 242"/>
                      <a:gd name="T38" fmla="*/ 118 w 474"/>
                      <a:gd name="T39" fmla="*/ 0 h 242"/>
                      <a:gd name="T40" fmla="*/ 116 w 474"/>
                      <a:gd name="T41" fmla="*/ 33 h 242"/>
                      <a:gd name="T42" fmla="*/ 145 w 474"/>
                      <a:gd name="T43" fmla="*/ 28 h 242"/>
                      <a:gd name="T44" fmla="*/ 187 w 474"/>
                      <a:gd name="T45" fmla="*/ 40 h 242"/>
                      <a:gd name="T46" fmla="*/ 280 w 474"/>
                      <a:gd name="T47" fmla="*/ 44 h 242"/>
                      <a:gd name="T48" fmla="*/ 324 w 474"/>
                      <a:gd name="T49" fmla="*/ 24 h 242"/>
                      <a:gd name="T50" fmla="*/ 411 w 474"/>
                      <a:gd name="T51" fmla="*/ 5 h 242"/>
                      <a:gd name="T52" fmla="*/ 441 w 474"/>
                      <a:gd name="T53" fmla="*/ 34 h 242"/>
                      <a:gd name="T54" fmla="*/ 474 w 474"/>
                      <a:gd name="T55" fmla="*/ 4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4" h="242">
                        <a:moveTo>
                          <a:pt x="474" y="43"/>
                        </a:moveTo>
                        <a:lnTo>
                          <a:pt x="421" y="76"/>
                        </a:lnTo>
                        <a:lnTo>
                          <a:pt x="365" y="133"/>
                        </a:lnTo>
                        <a:lnTo>
                          <a:pt x="361" y="179"/>
                        </a:lnTo>
                        <a:lnTo>
                          <a:pt x="311" y="168"/>
                        </a:lnTo>
                        <a:lnTo>
                          <a:pt x="230" y="194"/>
                        </a:lnTo>
                        <a:lnTo>
                          <a:pt x="208" y="234"/>
                        </a:lnTo>
                        <a:lnTo>
                          <a:pt x="144" y="242"/>
                        </a:lnTo>
                        <a:lnTo>
                          <a:pt x="113" y="213"/>
                        </a:lnTo>
                        <a:lnTo>
                          <a:pt x="48" y="235"/>
                        </a:lnTo>
                        <a:lnTo>
                          <a:pt x="0" y="233"/>
                        </a:lnTo>
                        <a:lnTo>
                          <a:pt x="26" y="180"/>
                        </a:lnTo>
                        <a:lnTo>
                          <a:pt x="8" y="154"/>
                        </a:lnTo>
                        <a:lnTo>
                          <a:pt x="25" y="143"/>
                        </a:lnTo>
                        <a:lnTo>
                          <a:pt x="24" y="133"/>
                        </a:lnTo>
                        <a:lnTo>
                          <a:pt x="50" y="108"/>
                        </a:lnTo>
                        <a:lnTo>
                          <a:pt x="90" y="83"/>
                        </a:lnTo>
                        <a:lnTo>
                          <a:pt x="79" y="48"/>
                        </a:lnTo>
                        <a:lnTo>
                          <a:pt x="90" y="19"/>
                        </a:lnTo>
                        <a:lnTo>
                          <a:pt x="118" y="0"/>
                        </a:lnTo>
                        <a:lnTo>
                          <a:pt x="116" y="33"/>
                        </a:lnTo>
                        <a:lnTo>
                          <a:pt x="145" y="28"/>
                        </a:lnTo>
                        <a:lnTo>
                          <a:pt x="187" y="40"/>
                        </a:lnTo>
                        <a:lnTo>
                          <a:pt x="280" y="44"/>
                        </a:lnTo>
                        <a:lnTo>
                          <a:pt x="324" y="24"/>
                        </a:lnTo>
                        <a:lnTo>
                          <a:pt x="411" y="5"/>
                        </a:lnTo>
                        <a:lnTo>
                          <a:pt x="441" y="34"/>
                        </a:lnTo>
                        <a:lnTo>
                          <a:pt x="474" y="4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8" name="Bosnia and Herzegovina" descr="{&quot;Key&quot;:&quot;bosnia and herzegovina&quot;,&quot;Name&quot;:&quot;Bosnia and Herzegovina&quot;,&quot;Value&quot;:1.0,&quot;Formula&quot;:&quot;&quot;,&quot;Text&quot;:&quot;&quot;,&quot;OfficeApplication&quot;:1,&quot;HasValue&quot;:true}">
                    <a:extLst>
                      <a:ext uri="{FF2B5EF4-FFF2-40B4-BE49-F238E27FC236}">
                        <a16:creationId xmlns:a16="http://schemas.microsoft.com/office/drawing/2014/main" id="{4045D1A5-3885-2DA7-718A-7E8F0C35A7A9}"/>
                      </a:ext>
                    </a:extLst>
                  </p:cNvPr>
                  <p:cNvSpPr>
                    <a:spLocks/>
                  </p:cNvSpPr>
                  <p:nvPr/>
                </p:nvSpPr>
                <p:spPr bwMode="auto">
                  <a:xfrm>
                    <a:off x="1406" y="1761"/>
                    <a:ext cx="66" cy="58"/>
                  </a:xfrm>
                  <a:custGeom>
                    <a:avLst/>
                    <a:gdLst>
                      <a:gd name="T0" fmla="*/ 212 w 235"/>
                      <a:gd name="T1" fmla="*/ 30 h 207"/>
                      <a:gd name="T2" fmla="*/ 235 w 235"/>
                      <a:gd name="T3" fmla="*/ 30 h 207"/>
                      <a:gd name="T4" fmla="*/ 196 w 235"/>
                      <a:gd name="T5" fmla="*/ 65 h 207"/>
                      <a:gd name="T6" fmla="*/ 209 w 235"/>
                      <a:gd name="T7" fmla="*/ 96 h 207"/>
                      <a:gd name="T8" fmla="*/ 176 w 235"/>
                      <a:gd name="T9" fmla="*/ 133 h 207"/>
                      <a:gd name="T10" fmla="*/ 159 w 235"/>
                      <a:gd name="T11" fmla="*/ 137 h 207"/>
                      <a:gd name="T12" fmla="*/ 143 w 235"/>
                      <a:gd name="T13" fmla="*/ 145 h 207"/>
                      <a:gd name="T14" fmla="*/ 109 w 235"/>
                      <a:gd name="T15" fmla="*/ 162 h 207"/>
                      <a:gd name="T16" fmla="*/ 73 w 235"/>
                      <a:gd name="T17" fmla="*/ 207 h 207"/>
                      <a:gd name="T18" fmla="*/ 34 w 235"/>
                      <a:gd name="T19" fmla="*/ 176 h 207"/>
                      <a:gd name="T20" fmla="*/ 30 w 235"/>
                      <a:gd name="T21" fmla="*/ 143 h 207"/>
                      <a:gd name="T22" fmla="*/ 16 w 235"/>
                      <a:gd name="T23" fmla="*/ 125 h 207"/>
                      <a:gd name="T24" fmla="*/ 5 w 235"/>
                      <a:gd name="T25" fmla="*/ 95 h 207"/>
                      <a:gd name="T26" fmla="*/ 8 w 235"/>
                      <a:gd name="T27" fmla="*/ 71 h 207"/>
                      <a:gd name="T28" fmla="*/ 0 w 235"/>
                      <a:gd name="T29" fmla="*/ 33 h 207"/>
                      <a:gd name="T30" fmla="*/ 35 w 235"/>
                      <a:gd name="T31" fmla="*/ 0 h 207"/>
                      <a:gd name="T32" fmla="*/ 46 w 235"/>
                      <a:gd name="T33" fmla="*/ 18 h 207"/>
                      <a:gd name="T34" fmla="*/ 70 w 235"/>
                      <a:gd name="T35" fmla="*/ 2 h 207"/>
                      <a:gd name="T36" fmla="*/ 101 w 235"/>
                      <a:gd name="T37" fmla="*/ 0 h 207"/>
                      <a:gd name="T38" fmla="*/ 149 w 235"/>
                      <a:gd name="T39" fmla="*/ 13 h 207"/>
                      <a:gd name="T40" fmla="*/ 194 w 235"/>
                      <a:gd name="T41" fmla="*/ 12 h 207"/>
                      <a:gd name="T42" fmla="*/ 212 w 235"/>
                      <a:gd name="T43" fmla="*/ 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207">
                        <a:moveTo>
                          <a:pt x="212" y="30"/>
                        </a:moveTo>
                        <a:lnTo>
                          <a:pt x="235" y="30"/>
                        </a:lnTo>
                        <a:lnTo>
                          <a:pt x="196" y="65"/>
                        </a:lnTo>
                        <a:lnTo>
                          <a:pt x="209" y="96"/>
                        </a:lnTo>
                        <a:lnTo>
                          <a:pt x="176" y="133"/>
                        </a:lnTo>
                        <a:lnTo>
                          <a:pt x="159" y="137"/>
                        </a:lnTo>
                        <a:lnTo>
                          <a:pt x="143" y="145"/>
                        </a:lnTo>
                        <a:lnTo>
                          <a:pt x="109" y="162"/>
                        </a:lnTo>
                        <a:lnTo>
                          <a:pt x="73" y="207"/>
                        </a:lnTo>
                        <a:lnTo>
                          <a:pt x="34" y="176"/>
                        </a:lnTo>
                        <a:lnTo>
                          <a:pt x="30" y="143"/>
                        </a:lnTo>
                        <a:lnTo>
                          <a:pt x="16" y="125"/>
                        </a:lnTo>
                        <a:lnTo>
                          <a:pt x="5" y="95"/>
                        </a:lnTo>
                        <a:lnTo>
                          <a:pt x="8" y="71"/>
                        </a:lnTo>
                        <a:lnTo>
                          <a:pt x="0" y="33"/>
                        </a:lnTo>
                        <a:lnTo>
                          <a:pt x="35" y="0"/>
                        </a:lnTo>
                        <a:lnTo>
                          <a:pt x="46" y="18"/>
                        </a:lnTo>
                        <a:lnTo>
                          <a:pt x="70" y="2"/>
                        </a:lnTo>
                        <a:lnTo>
                          <a:pt x="101" y="0"/>
                        </a:lnTo>
                        <a:lnTo>
                          <a:pt x="149" y="13"/>
                        </a:lnTo>
                        <a:lnTo>
                          <a:pt x="194" y="12"/>
                        </a:lnTo>
                        <a:lnTo>
                          <a:pt x="212" y="3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49" name="Belarus" descr="{&quot;Key&quot;:&quot;belarus&quot;,&quot;Name&quot;:&quot;Belarus&quot;,&quot;Value&quot;:1.0,&quot;Formula&quot;:&quot;&quot;,&quot;Text&quot;:&quot;&quot;,&quot;OfficeApplication&quot;:1,&quot;HasValue&quot;:true}">
                    <a:extLst>
                      <a:ext uri="{FF2B5EF4-FFF2-40B4-BE49-F238E27FC236}">
                        <a16:creationId xmlns:a16="http://schemas.microsoft.com/office/drawing/2014/main" id="{C8B357FB-047E-1CBB-625D-B91A37D77AB2}"/>
                      </a:ext>
                    </a:extLst>
                  </p:cNvPr>
                  <p:cNvSpPr>
                    <a:spLocks/>
                  </p:cNvSpPr>
                  <p:nvPr/>
                </p:nvSpPr>
                <p:spPr bwMode="auto">
                  <a:xfrm>
                    <a:off x="1645" y="1522"/>
                    <a:ext cx="190" cy="105"/>
                  </a:xfrm>
                  <a:custGeom>
                    <a:avLst/>
                    <a:gdLst>
                      <a:gd name="T0" fmla="*/ 538 w 683"/>
                      <a:gd name="T1" fmla="*/ 314 h 375"/>
                      <a:gd name="T2" fmla="*/ 482 w 683"/>
                      <a:gd name="T3" fmla="*/ 319 h 375"/>
                      <a:gd name="T4" fmla="*/ 451 w 683"/>
                      <a:gd name="T5" fmla="*/ 337 h 375"/>
                      <a:gd name="T6" fmla="*/ 419 w 683"/>
                      <a:gd name="T7" fmla="*/ 375 h 375"/>
                      <a:gd name="T8" fmla="*/ 399 w 683"/>
                      <a:gd name="T9" fmla="*/ 368 h 375"/>
                      <a:gd name="T10" fmla="*/ 342 w 683"/>
                      <a:gd name="T11" fmla="*/ 372 h 375"/>
                      <a:gd name="T12" fmla="*/ 338 w 683"/>
                      <a:gd name="T13" fmla="*/ 353 h 375"/>
                      <a:gd name="T14" fmla="*/ 305 w 683"/>
                      <a:gd name="T15" fmla="*/ 367 h 375"/>
                      <a:gd name="T16" fmla="*/ 290 w 683"/>
                      <a:gd name="T17" fmla="*/ 355 h 375"/>
                      <a:gd name="T18" fmla="*/ 243 w 683"/>
                      <a:gd name="T19" fmla="*/ 354 h 375"/>
                      <a:gd name="T20" fmla="*/ 188 w 683"/>
                      <a:gd name="T21" fmla="*/ 335 h 375"/>
                      <a:gd name="T22" fmla="*/ 130 w 683"/>
                      <a:gd name="T23" fmla="*/ 329 h 375"/>
                      <a:gd name="T24" fmla="*/ 82 w 683"/>
                      <a:gd name="T25" fmla="*/ 332 h 375"/>
                      <a:gd name="T26" fmla="*/ 32 w 683"/>
                      <a:gd name="T27" fmla="*/ 352 h 375"/>
                      <a:gd name="T28" fmla="*/ 0 w 683"/>
                      <a:gd name="T29" fmla="*/ 355 h 375"/>
                      <a:gd name="T30" fmla="*/ 25 w 683"/>
                      <a:gd name="T31" fmla="*/ 320 h 375"/>
                      <a:gd name="T32" fmla="*/ 34 w 683"/>
                      <a:gd name="T33" fmla="*/ 284 h 375"/>
                      <a:gd name="T34" fmla="*/ 83 w 683"/>
                      <a:gd name="T35" fmla="*/ 269 h 375"/>
                      <a:gd name="T36" fmla="*/ 107 w 683"/>
                      <a:gd name="T37" fmla="*/ 238 h 375"/>
                      <a:gd name="T38" fmla="*/ 114 w 683"/>
                      <a:gd name="T39" fmla="*/ 208 h 375"/>
                      <a:gd name="T40" fmla="*/ 138 w 683"/>
                      <a:gd name="T41" fmla="*/ 174 h 375"/>
                      <a:gd name="T42" fmla="*/ 197 w 683"/>
                      <a:gd name="T43" fmla="*/ 174 h 375"/>
                      <a:gd name="T44" fmla="*/ 285 w 683"/>
                      <a:gd name="T45" fmla="*/ 145 h 375"/>
                      <a:gd name="T46" fmla="*/ 334 w 683"/>
                      <a:gd name="T47" fmla="*/ 101 h 375"/>
                      <a:gd name="T48" fmla="*/ 403 w 683"/>
                      <a:gd name="T49" fmla="*/ 78 h 375"/>
                      <a:gd name="T50" fmla="*/ 425 w 683"/>
                      <a:gd name="T51" fmla="*/ 43 h 375"/>
                      <a:gd name="T52" fmla="*/ 472 w 683"/>
                      <a:gd name="T53" fmla="*/ 30 h 375"/>
                      <a:gd name="T54" fmla="*/ 560 w 683"/>
                      <a:gd name="T55" fmla="*/ 0 h 375"/>
                      <a:gd name="T56" fmla="*/ 607 w 683"/>
                      <a:gd name="T57" fmla="*/ 20 h 375"/>
                      <a:gd name="T58" fmla="*/ 600 w 683"/>
                      <a:gd name="T59" fmla="*/ 39 h 375"/>
                      <a:gd name="T60" fmla="*/ 639 w 683"/>
                      <a:gd name="T61" fmla="*/ 29 h 375"/>
                      <a:gd name="T62" fmla="*/ 683 w 683"/>
                      <a:gd name="T63" fmla="*/ 48 h 375"/>
                      <a:gd name="T64" fmla="*/ 660 w 683"/>
                      <a:gd name="T65" fmla="*/ 84 h 375"/>
                      <a:gd name="T66" fmla="*/ 632 w 683"/>
                      <a:gd name="T67" fmla="*/ 104 h 375"/>
                      <a:gd name="T68" fmla="*/ 630 w 683"/>
                      <a:gd name="T69" fmla="*/ 155 h 375"/>
                      <a:gd name="T70" fmla="*/ 644 w 683"/>
                      <a:gd name="T71" fmla="*/ 169 h 375"/>
                      <a:gd name="T72" fmla="*/ 630 w 683"/>
                      <a:gd name="T73" fmla="*/ 183 h 375"/>
                      <a:gd name="T74" fmla="*/ 660 w 683"/>
                      <a:gd name="T75" fmla="*/ 196 h 375"/>
                      <a:gd name="T76" fmla="*/ 663 w 683"/>
                      <a:gd name="T77" fmla="*/ 218 h 375"/>
                      <a:gd name="T78" fmla="*/ 627 w 683"/>
                      <a:gd name="T79" fmla="*/ 234 h 375"/>
                      <a:gd name="T80" fmla="*/ 580 w 683"/>
                      <a:gd name="T81" fmla="*/ 231 h 375"/>
                      <a:gd name="T82" fmla="*/ 563 w 683"/>
                      <a:gd name="T83" fmla="*/ 239 h 375"/>
                      <a:gd name="T84" fmla="*/ 558 w 683"/>
                      <a:gd name="T85" fmla="*/ 264 h 375"/>
                      <a:gd name="T86" fmla="*/ 538 w 683"/>
                      <a:gd name="T87" fmla="*/ 31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3" h="375">
                        <a:moveTo>
                          <a:pt x="538" y="314"/>
                        </a:moveTo>
                        <a:lnTo>
                          <a:pt x="482" y="319"/>
                        </a:lnTo>
                        <a:lnTo>
                          <a:pt x="451" y="337"/>
                        </a:lnTo>
                        <a:lnTo>
                          <a:pt x="419" y="375"/>
                        </a:lnTo>
                        <a:lnTo>
                          <a:pt x="399" y="368"/>
                        </a:lnTo>
                        <a:lnTo>
                          <a:pt x="342" y="372"/>
                        </a:lnTo>
                        <a:lnTo>
                          <a:pt x="338" y="353"/>
                        </a:lnTo>
                        <a:lnTo>
                          <a:pt x="305" y="367"/>
                        </a:lnTo>
                        <a:lnTo>
                          <a:pt x="290" y="355"/>
                        </a:lnTo>
                        <a:lnTo>
                          <a:pt x="243" y="354"/>
                        </a:lnTo>
                        <a:lnTo>
                          <a:pt x="188" y="335"/>
                        </a:lnTo>
                        <a:lnTo>
                          <a:pt x="130" y="329"/>
                        </a:lnTo>
                        <a:lnTo>
                          <a:pt x="82" y="332"/>
                        </a:lnTo>
                        <a:lnTo>
                          <a:pt x="32" y="352"/>
                        </a:lnTo>
                        <a:lnTo>
                          <a:pt x="0" y="355"/>
                        </a:lnTo>
                        <a:lnTo>
                          <a:pt x="25" y="320"/>
                        </a:lnTo>
                        <a:lnTo>
                          <a:pt x="34" y="284"/>
                        </a:lnTo>
                        <a:lnTo>
                          <a:pt x="83" y="269"/>
                        </a:lnTo>
                        <a:lnTo>
                          <a:pt x="107" y="238"/>
                        </a:lnTo>
                        <a:lnTo>
                          <a:pt x="114" y="208"/>
                        </a:lnTo>
                        <a:lnTo>
                          <a:pt x="138" y="174"/>
                        </a:lnTo>
                        <a:lnTo>
                          <a:pt x="197" y="174"/>
                        </a:lnTo>
                        <a:lnTo>
                          <a:pt x="285" y="145"/>
                        </a:lnTo>
                        <a:lnTo>
                          <a:pt x="334" y="101"/>
                        </a:lnTo>
                        <a:lnTo>
                          <a:pt x="403" y="78"/>
                        </a:lnTo>
                        <a:lnTo>
                          <a:pt x="425" y="43"/>
                        </a:lnTo>
                        <a:lnTo>
                          <a:pt x="472" y="30"/>
                        </a:lnTo>
                        <a:lnTo>
                          <a:pt x="560" y="0"/>
                        </a:lnTo>
                        <a:lnTo>
                          <a:pt x="607" y="20"/>
                        </a:lnTo>
                        <a:lnTo>
                          <a:pt x="600" y="39"/>
                        </a:lnTo>
                        <a:lnTo>
                          <a:pt x="639" y="29"/>
                        </a:lnTo>
                        <a:lnTo>
                          <a:pt x="683" y="48"/>
                        </a:lnTo>
                        <a:lnTo>
                          <a:pt x="660" y="84"/>
                        </a:lnTo>
                        <a:lnTo>
                          <a:pt x="632" y="104"/>
                        </a:lnTo>
                        <a:lnTo>
                          <a:pt x="630" y="155"/>
                        </a:lnTo>
                        <a:lnTo>
                          <a:pt x="644" y="169"/>
                        </a:lnTo>
                        <a:lnTo>
                          <a:pt x="630" y="183"/>
                        </a:lnTo>
                        <a:lnTo>
                          <a:pt x="660" y="196"/>
                        </a:lnTo>
                        <a:lnTo>
                          <a:pt x="663" y="218"/>
                        </a:lnTo>
                        <a:lnTo>
                          <a:pt x="627" y="234"/>
                        </a:lnTo>
                        <a:lnTo>
                          <a:pt x="580" y="231"/>
                        </a:lnTo>
                        <a:lnTo>
                          <a:pt x="563" y="239"/>
                        </a:lnTo>
                        <a:lnTo>
                          <a:pt x="558" y="264"/>
                        </a:lnTo>
                        <a:lnTo>
                          <a:pt x="538" y="31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0" name="Belize" descr="{&quot;Key&quot;:&quot;belize&quot;,&quot;Name&quot;:&quot;Belize&quot;,&quot;Value&quot;:1.0,&quot;Formula&quot;:&quot;&quot;,&quot;Text&quot;:&quot;&quot;,&quot;OfficeApplication&quot;:1,&quot;HasValue&quot;:true}">
                    <a:extLst>
                      <a:ext uri="{FF2B5EF4-FFF2-40B4-BE49-F238E27FC236}">
                        <a16:creationId xmlns:a16="http://schemas.microsoft.com/office/drawing/2014/main" id="{6FC7ED2D-6CDA-9E51-8ACA-FF5D1EE42266}"/>
                      </a:ext>
                    </a:extLst>
                  </p:cNvPr>
                  <p:cNvSpPr>
                    <a:spLocks/>
                  </p:cNvSpPr>
                  <p:nvPr/>
                </p:nvSpPr>
                <p:spPr bwMode="auto">
                  <a:xfrm>
                    <a:off x="6202" y="2365"/>
                    <a:ext cx="21" cy="60"/>
                  </a:xfrm>
                  <a:custGeom>
                    <a:avLst/>
                    <a:gdLst>
                      <a:gd name="T0" fmla="*/ 44 w 77"/>
                      <a:gd name="T1" fmla="*/ 213 h 213"/>
                      <a:gd name="T2" fmla="*/ 22 w 77"/>
                      <a:gd name="T3" fmla="*/ 213 h 213"/>
                      <a:gd name="T4" fmla="*/ 13 w 77"/>
                      <a:gd name="T5" fmla="*/ 120 h 213"/>
                      <a:gd name="T6" fmla="*/ 2 w 77"/>
                      <a:gd name="T7" fmla="*/ 56 h 213"/>
                      <a:gd name="T8" fmla="*/ 0 w 77"/>
                      <a:gd name="T9" fmla="*/ 44 h 213"/>
                      <a:gd name="T10" fmla="*/ 8 w 77"/>
                      <a:gd name="T11" fmla="*/ 40 h 213"/>
                      <a:gd name="T12" fmla="*/ 22 w 77"/>
                      <a:gd name="T13" fmla="*/ 50 h 213"/>
                      <a:gd name="T14" fmla="*/ 40 w 77"/>
                      <a:gd name="T15" fmla="*/ 1 h 213"/>
                      <a:gd name="T16" fmla="*/ 52 w 77"/>
                      <a:gd name="T17" fmla="*/ 0 h 213"/>
                      <a:gd name="T18" fmla="*/ 55 w 77"/>
                      <a:gd name="T19" fmla="*/ 11 h 213"/>
                      <a:gd name="T20" fmla="*/ 68 w 77"/>
                      <a:gd name="T21" fmla="*/ 11 h 213"/>
                      <a:gd name="T22" fmla="*/ 71 w 77"/>
                      <a:gd name="T23" fmla="*/ 34 h 213"/>
                      <a:gd name="T24" fmla="*/ 66 w 77"/>
                      <a:gd name="T25" fmla="*/ 69 h 213"/>
                      <a:gd name="T26" fmla="*/ 73 w 77"/>
                      <a:gd name="T27" fmla="*/ 81 h 213"/>
                      <a:gd name="T28" fmla="*/ 71 w 77"/>
                      <a:gd name="T29" fmla="*/ 111 h 213"/>
                      <a:gd name="T30" fmla="*/ 77 w 77"/>
                      <a:gd name="T31" fmla="*/ 119 h 213"/>
                      <a:gd name="T32" fmla="*/ 76 w 77"/>
                      <a:gd name="T33" fmla="*/ 160 h 213"/>
                      <a:gd name="T34" fmla="*/ 65 w 77"/>
                      <a:gd name="T35" fmla="*/ 181 h 213"/>
                      <a:gd name="T36" fmla="*/ 53 w 77"/>
                      <a:gd name="T37" fmla="*/ 184 h 213"/>
                      <a:gd name="T38" fmla="*/ 44 w 77"/>
                      <a:gd name="T39" fmla="*/ 21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 h="213">
                        <a:moveTo>
                          <a:pt x="44" y="213"/>
                        </a:moveTo>
                        <a:lnTo>
                          <a:pt x="22" y="213"/>
                        </a:lnTo>
                        <a:lnTo>
                          <a:pt x="13" y="120"/>
                        </a:lnTo>
                        <a:lnTo>
                          <a:pt x="2" y="56"/>
                        </a:lnTo>
                        <a:lnTo>
                          <a:pt x="0" y="44"/>
                        </a:lnTo>
                        <a:lnTo>
                          <a:pt x="8" y="40"/>
                        </a:lnTo>
                        <a:lnTo>
                          <a:pt x="22" y="50"/>
                        </a:lnTo>
                        <a:lnTo>
                          <a:pt x="40" y="1"/>
                        </a:lnTo>
                        <a:lnTo>
                          <a:pt x="52" y="0"/>
                        </a:lnTo>
                        <a:lnTo>
                          <a:pt x="55" y="11"/>
                        </a:lnTo>
                        <a:lnTo>
                          <a:pt x="68" y="11"/>
                        </a:lnTo>
                        <a:lnTo>
                          <a:pt x="71" y="34"/>
                        </a:lnTo>
                        <a:lnTo>
                          <a:pt x="66" y="69"/>
                        </a:lnTo>
                        <a:lnTo>
                          <a:pt x="73" y="81"/>
                        </a:lnTo>
                        <a:lnTo>
                          <a:pt x="71" y="111"/>
                        </a:lnTo>
                        <a:lnTo>
                          <a:pt x="77" y="119"/>
                        </a:lnTo>
                        <a:lnTo>
                          <a:pt x="76" y="160"/>
                        </a:lnTo>
                        <a:lnTo>
                          <a:pt x="65" y="181"/>
                        </a:lnTo>
                        <a:lnTo>
                          <a:pt x="53" y="184"/>
                        </a:lnTo>
                        <a:lnTo>
                          <a:pt x="44" y="21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1" name="Bolivia" descr="{&quot;Key&quot;:&quot;bolivia&quot;,&quot;Name&quot;:&quot;Bolivia&quot;,&quot;Value&quot;:1.0,&quot;Formula&quot;:&quot;&quot;,&quot;Text&quot;:&quot;&quot;,&quot;OfficeApplication&quot;:1,&quot;HasValue&quot;:true}">
                    <a:extLst>
                      <a:ext uri="{FF2B5EF4-FFF2-40B4-BE49-F238E27FC236}">
                        <a16:creationId xmlns:a16="http://schemas.microsoft.com/office/drawing/2014/main" id="{3E6CD2B3-EC09-7F04-3FC8-EF580F17DDC8}"/>
                      </a:ext>
                    </a:extLst>
                  </p:cNvPr>
                  <p:cNvSpPr>
                    <a:spLocks/>
                  </p:cNvSpPr>
                  <p:nvPr/>
                </p:nvSpPr>
                <p:spPr bwMode="auto">
                  <a:xfrm>
                    <a:off x="6589" y="3006"/>
                    <a:ext cx="236" cy="297"/>
                  </a:xfrm>
                  <a:custGeom>
                    <a:avLst/>
                    <a:gdLst>
                      <a:gd name="T0" fmla="*/ 762 w 846"/>
                      <a:gd name="T1" fmla="*/ 848 h 1067"/>
                      <a:gd name="T2" fmla="*/ 767 w 846"/>
                      <a:gd name="T3" fmla="*/ 823 h 1067"/>
                      <a:gd name="T4" fmla="*/ 711 w 846"/>
                      <a:gd name="T5" fmla="*/ 780 h 1067"/>
                      <a:gd name="T6" fmla="*/ 645 w 846"/>
                      <a:gd name="T7" fmla="*/ 779 h 1067"/>
                      <a:gd name="T8" fmla="*/ 517 w 846"/>
                      <a:gd name="T9" fmla="*/ 803 h 1067"/>
                      <a:gd name="T10" fmla="*/ 467 w 846"/>
                      <a:gd name="T11" fmla="*/ 875 h 1067"/>
                      <a:gd name="T12" fmla="*/ 456 w 846"/>
                      <a:gd name="T13" fmla="*/ 919 h 1067"/>
                      <a:gd name="T14" fmla="*/ 406 w 846"/>
                      <a:gd name="T15" fmla="*/ 1015 h 1067"/>
                      <a:gd name="T16" fmla="*/ 399 w 846"/>
                      <a:gd name="T17" fmla="*/ 999 h 1067"/>
                      <a:gd name="T18" fmla="*/ 320 w 846"/>
                      <a:gd name="T19" fmla="*/ 995 h 1067"/>
                      <a:gd name="T20" fmla="*/ 277 w 846"/>
                      <a:gd name="T21" fmla="*/ 1060 h 1067"/>
                      <a:gd name="T22" fmla="*/ 250 w 846"/>
                      <a:gd name="T23" fmla="*/ 1002 h 1067"/>
                      <a:gd name="T24" fmla="*/ 162 w 846"/>
                      <a:gd name="T25" fmla="*/ 982 h 1067"/>
                      <a:gd name="T26" fmla="*/ 87 w 846"/>
                      <a:gd name="T27" fmla="*/ 1055 h 1067"/>
                      <a:gd name="T28" fmla="*/ 34 w 846"/>
                      <a:gd name="T29" fmla="*/ 1067 h 1067"/>
                      <a:gd name="T30" fmla="*/ 31 w 846"/>
                      <a:gd name="T31" fmla="*/ 954 h 1067"/>
                      <a:gd name="T32" fmla="*/ 12 w 846"/>
                      <a:gd name="T33" fmla="*/ 863 h 1067"/>
                      <a:gd name="T34" fmla="*/ 51 w 846"/>
                      <a:gd name="T35" fmla="*/ 785 h 1067"/>
                      <a:gd name="T36" fmla="*/ 21 w 846"/>
                      <a:gd name="T37" fmla="*/ 750 h 1067"/>
                      <a:gd name="T38" fmla="*/ 23 w 846"/>
                      <a:gd name="T39" fmla="*/ 692 h 1067"/>
                      <a:gd name="T40" fmla="*/ 0 w 846"/>
                      <a:gd name="T41" fmla="*/ 637 h 1067"/>
                      <a:gd name="T42" fmla="*/ 62 w 846"/>
                      <a:gd name="T43" fmla="*/ 549 h 1067"/>
                      <a:gd name="T44" fmla="*/ 43 w 846"/>
                      <a:gd name="T45" fmla="*/ 480 h 1067"/>
                      <a:gd name="T46" fmla="*/ 65 w 846"/>
                      <a:gd name="T47" fmla="*/ 453 h 1067"/>
                      <a:gd name="T48" fmla="*/ 57 w 846"/>
                      <a:gd name="T49" fmla="*/ 423 h 1067"/>
                      <a:gd name="T50" fmla="*/ 91 w 846"/>
                      <a:gd name="T51" fmla="*/ 383 h 1067"/>
                      <a:gd name="T52" fmla="*/ 104 w 846"/>
                      <a:gd name="T53" fmla="*/ 313 h 1067"/>
                      <a:gd name="T54" fmla="*/ 116 w 846"/>
                      <a:gd name="T55" fmla="*/ 256 h 1067"/>
                      <a:gd name="T56" fmla="*/ 135 w 846"/>
                      <a:gd name="T57" fmla="*/ 229 h 1067"/>
                      <a:gd name="T58" fmla="*/ 89 w 846"/>
                      <a:gd name="T59" fmla="*/ 98 h 1067"/>
                      <a:gd name="T60" fmla="*/ 141 w 846"/>
                      <a:gd name="T61" fmla="*/ 104 h 1067"/>
                      <a:gd name="T62" fmla="*/ 179 w 846"/>
                      <a:gd name="T63" fmla="*/ 103 h 1067"/>
                      <a:gd name="T64" fmla="*/ 197 w 846"/>
                      <a:gd name="T65" fmla="*/ 78 h 1067"/>
                      <a:gd name="T66" fmla="*/ 264 w 846"/>
                      <a:gd name="T67" fmla="*/ 45 h 1067"/>
                      <a:gd name="T68" fmla="*/ 304 w 846"/>
                      <a:gd name="T69" fmla="*/ 14 h 1067"/>
                      <a:gd name="T70" fmla="*/ 398 w 846"/>
                      <a:gd name="T71" fmla="*/ 0 h 1067"/>
                      <a:gd name="T72" fmla="*/ 385 w 846"/>
                      <a:gd name="T73" fmla="*/ 61 h 1067"/>
                      <a:gd name="T74" fmla="*/ 390 w 846"/>
                      <a:gd name="T75" fmla="*/ 93 h 1067"/>
                      <a:gd name="T76" fmla="*/ 377 w 846"/>
                      <a:gd name="T77" fmla="*/ 148 h 1067"/>
                      <a:gd name="T78" fmla="*/ 446 w 846"/>
                      <a:gd name="T79" fmla="*/ 220 h 1067"/>
                      <a:gd name="T80" fmla="*/ 524 w 846"/>
                      <a:gd name="T81" fmla="*/ 234 h 1067"/>
                      <a:gd name="T82" fmla="*/ 547 w 846"/>
                      <a:gd name="T83" fmla="*/ 264 h 1067"/>
                      <a:gd name="T84" fmla="*/ 594 w 846"/>
                      <a:gd name="T85" fmla="*/ 280 h 1067"/>
                      <a:gd name="T86" fmla="*/ 619 w 846"/>
                      <a:gd name="T87" fmla="*/ 304 h 1067"/>
                      <a:gd name="T88" fmla="*/ 664 w 846"/>
                      <a:gd name="T89" fmla="*/ 303 h 1067"/>
                      <a:gd name="T90" fmla="*/ 701 w 846"/>
                      <a:gd name="T91" fmla="*/ 326 h 1067"/>
                      <a:gd name="T92" fmla="*/ 697 w 846"/>
                      <a:gd name="T93" fmla="*/ 374 h 1067"/>
                      <a:gd name="T94" fmla="*/ 707 w 846"/>
                      <a:gd name="T95" fmla="*/ 398 h 1067"/>
                      <a:gd name="T96" fmla="*/ 701 w 846"/>
                      <a:gd name="T97" fmla="*/ 433 h 1067"/>
                      <a:gd name="T98" fmla="*/ 681 w 846"/>
                      <a:gd name="T99" fmla="*/ 434 h 1067"/>
                      <a:gd name="T100" fmla="*/ 690 w 846"/>
                      <a:gd name="T101" fmla="*/ 529 h 1067"/>
                      <a:gd name="T102" fmla="*/ 825 w 846"/>
                      <a:gd name="T103" fmla="*/ 533 h 1067"/>
                      <a:gd name="T104" fmla="*/ 805 w 846"/>
                      <a:gd name="T105" fmla="*/ 579 h 1067"/>
                      <a:gd name="T106" fmla="*/ 806 w 846"/>
                      <a:gd name="T107" fmla="*/ 611 h 1067"/>
                      <a:gd name="T108" fmla="*/ 840 w 846"/>
                      <a:gd name="T109" fmla="*/ 634 h 1067"/>
                      <a:gd name="T110" fmla="*/ 846 w 846"/>
                      <a:gd name="T111" fmla="*/ 685 h 1067"/>
                      <a:gd name="T112" fmla="*/ 820 w 846"/>
                      <a:gd name="T113" fmla="*/ 749 h 1067"/>
                      <a:gd name="T114" fmla="*/ 792 w 846"/>
                      <a:gd name="T115" fmla="*/ 784 h 1067"/>
                      <a:gd name="T116" fmla="*/ 789 w 846"/>
                      <a:gd name="T117" fmla="*/ 830 h 1067"/>
                      <a:gd name="T118" fmla="*/ 762 w 846"/>
                      <a:gd name="T119" fmla="*/ 848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6" h="1067">
                        <a:moveTo>
                          <a:pt x="762" y="848"/>
                        </a:moveTo>
                        <a:lnTo>
                          <a:pt x="767" y="823"/>
                        </a:lnTo>
                        <a:lnTo>
                          <a:pt x="711" y="780"/>
                        </a:lnTo>
                        <a:lnTo>
                          <a:pt x="645" y="779"/>
                        </a:lnTo>
                        <a:lnTo>
                          <a:pt x="517" y="803"/>
                        </a:lnTo>
                        <a:lnTo>
                          <a:pt x="467" y="875"/>
                        </a:lnTo>
                        <a:lnTo>
                          <a:pt x="456" y="919"/>
                        </a:lnTo>
                        <a:lnTo>
                          <a:pt x="406" y="1015"/>
                        </a:lnTo>
                        <a:lnTo>
                          <a:pt x="399" y="999"/>
                        </a:lnTo>
                        <a:lnTo>
                          <a:pt x="320" y="995"/>
                        </a:lnTo>
                        <a:lnTo>
                          <a:pt x="277" y="1060"/>
                        </a:lnTo>
                        <a:lnTo>
                          <a:pt x="250" y="1002"/>
                        </a:lnTo>
                        <a:lnTo>
                          <a:pt x="162" y="982"/>
                        </a:lnTo>
                        <a:lnTo>
                          <a:pt x="87" y="1055"/>
                        </a:lnTo>
                        <a:lnTo>
                          <a:pt x="34" y="1067"/>
                        </a:lnTo>
                        <a:lnTo>
                          <a:pt x="31" y="954"/>
                        </a:lnTo>
                        <a:lnTo>
                          <a:pt x="12" y="863"/>
                        </a:lnTo>
                        <a:lnTo>
                          <a:pt x="51" y="785"/>
                        </a:lnTo>
                        <a:lnTo>
                          <a:pt x="21" y="750"/>
                        </a:lnTo>
                        <a:lnTo>
                          <a:pt x="23" y="692"/>
                        </a:lnTo>
                        <a:lnTo>
                          <a:pt x="0" y="637"/>
                        </a:lnTo>
                        <a:lnTo>
                          <a:pt x="62" y="549"/>
                        </a:lnTo>
                        <a:lnTo>
                          <a:pt x="43" y="480"/>
                        </a:lnTo>
                        <a:lnTo>
                          <a:pt x="65" y="453"/>
                        </a:lnTo>
                        <a:lnTo>
                          <a:pt x="57" y="423"/>
                        </a:lnTo>
                        <a:lnTo>
                          <a:pt x="91" y="383"/>
                        </a:lnTo>
                        <a:lnTo>
                          <a:pt x="104" y="313"/>
                        </a:lnTo>
                        <a:lnTo>
                          <a:pt x="116" y="256"/>
                        </a:lnTo>
                        <a:lnTo>
                          <a:pt x="135" y="229"/>
                        </a:lnTo>
                        <a:lnTo>
                          <a:pt x="89" y="98"/>
                        </a:lnTo>
                        <a:lnTo>
                          <a:pt x="141" y="104"/>
                        </a:lnTo>
                        <a:lnTo>
                          <a:pt x="179" y="103"/>
                        </a:lnTo>
                        <a:lnTo>
                          <a:pt x="197" y="78"/>
                        </a:lnTo>
                        <a:lnTo>
                          <a:pt x="264" y="45"/>
                        </a:lnTo>
                        <a:lnTo>
                          <a:pt x="304" y="14"/>
                        </a:lnTo>
                        <a:lnTo>
                          <a:pt x="398" y="0"/>
                        </a:lnTo>
                        <a:lnTo>
                          <a:pt x="385" y="61"/>
                        </a:lnTo>
                        <a:lnTo>
                          <a:pt x="390" y="93"/>
                        </a:lnTo>
                        <a:lnTo>
                          <a:pt x="377" y="148"/>
                        </a:lnTo>
                        <a:lnTo>
                          <a:pt x="446" y="220"/>
                        </a:lnTo>
                        <a:lnTo>
                          <a:pt x="524" y="234"/>
                        </a:lnTo>
                        <a:lnTo>
                          <a:pt x="547" y="264"/>
                        </a:lnTo>
                        <a:lnTo>
                          <a:pt x="594" y="280"/>
                        </a:lnTo>
                        <a:lnTo>
                          <a:pt x="619" y="304"/>
                        </a:lnTo>
                        <a:lnTo>
                          <a:pt x="664" y="303"/>
                        </a:lnTo>
                        <a:lnTo>
                          <a:pt x="701" y="326"/>
                        </a:lnTo>
                        <a:lnTo>
                          <a:pt x="697" y="374"/>
                        </a:lnTo>
                        <a:lnTo>
                          <a:pt x="707" y="398"/>
                        </a:lnTo>
                        <a:lnTo>
                          <a:pt x="701" y="433"/>
                        </a:lnTo>
                        <a:lnTo>
                          <a:pt x="681" y="434"/>
                        </a:lnTo>
                        <a:lnTo>
                          <a:pt x="690" y="529"/>
                        </a:lnTo>
                        <a:lnTo>
                          <a:pt x="825" y="533"/>
                        </a:lnTo>
                        <a:lnTo>
                          <a:pt x="805" y="579"/>
                        </a:lnTo>
                        <a:lnTo>
                          <a:pt x="806" y="611"/>
                        </a:lnTo>
                        <a:lnTo>
                          <a:pt x="840" y="634"/>
                        </a:lnTo>
                        <a:lnTo>
                          <a:pt x="846" y="685"/>
                        </a:lnTo>
                        <a:lnTo>
                          <a:pt x="820" y="749"/>
                        </a:lnTo>
                        <a:lnTo>
                          <a:pt x="792" y="784"/>
                        </a:lnTo>
                        <a:lnTo>
                          <a:pt x="789" y="830"/>
                        </a:lnTo>
                        <a:lnTo>
                          <a:pt x="762" y="84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2" name="Brazil" descr="{&quot;Key&quot;:&quot;brazil&quot;,&quot;Name&quot;:&quot;Brazil&quot;,&quot;Value&quot;:1.0,&quot;Formula&quot;:&quot;&quot;,&quot;Text&quot;:&quot;&quot;,&quot;OfficeApplication&quot;:1,&quot;HasValue&quot;:true}">
                    <a:extLst>
                      <a:ext uri="{FF2B5EF4-FFF2-40B4-BE49-F238E27FC236}">
                        <a16:creationId xmlns:a16="http://schemas.microsoft.com/office/drawing/2014/main" id="{4F54CF21-7D3A-79D5-FE75-93A6628EC2C0}"/>
                      </a:ext>
                    </a:extLst>
                  </p:cNvPr>
                  <p:cNvSpPr>
                    <a:spLocks/>
                  </p:cNvSpPr>
                  <p:nvPr/>
                </p:nvSpPr>
                <p:spPr bwMode="auto">
                  <a:xfrm>
                    <a:off x="6532" y="2666"/>
                    <a:ext cx="784" cy="884"/>
                  </a:xfrm>
                  <a:custGeom>
                    <a:avLst/>
                    <a:gdLst>
                      <a:gd name="T0" fmla="*/ 1310 w 2812"/>
                      <a:gd name="T1" fmla="*/ 244 h 3171"/>
                      <a:gd name="T2" fmla="*/ 1421 w 2812"/>
                      <a:gd name="T3" fmla="*/ 237 h 3171"/>
                      <a:gd name="T4" fmla="*/ 1501 w 2812"/>
                      <a:gd name="T5" fmla="*/ 258 h 3171"/>
                      <a:gd name="T6" fmla="*/ 1620 w 2812"/>
                      <a:gd name="T7" fmla="*/ 87 h 3171"/>
                      <a:gd name="T8" fmla="*/ 1750 w 2812"/>
                      <a:gd name="T9" fmla="*/ 285 h 3171"/>
                      <a:gd name="T10" fmla="*/ 1849 w 2812"/>
                      <a:gd name="T11" fmla="*/ 445 h 3171"/>
                      <a:gd name="T12" fmla="*/ 2114 w 2812"/>
                      <a:gd name="T13" fmla="*/ 552 h 3171"/>
                      <a:gd name="T14" fmla="*/ 2356 w 2812"/>
                      <a:gd name="T15" fmla="*/ 662 h 3171"/>
                      <a:gd name="T16" fmla="*/ 2705 w 2812"/>
                      <a:gd name="T17" fmla="*/ 841 h 3171"/>
                      <a:gd name="T18" fmla="*/ 2812 w 2812"/>
                      <a:gd name="T19" fmla="*/ 1022 h 3171"/>
                      <a:gd name="T20" fmla="*/ 2552 w 2812"/>
                      <a:gd name="T21" fmla="*/ 1414 h 3171"/>
                      <a:gd name="T22" fmla="*/ 2414 w 2812"/>
                      <a:gd name="T23" fmla="*/ 1698 h 3171"/>
                      <a:gd name="T24" fmla="*/ 2276 w 2812"/>
                      <a:gd name="T25" fmla="*/ 2018 h 3171"/>
                      <a:gd name="T26" fmla="*/ 2049 w 2812"/>
                      <a:gd name="T27" fmla="*/ 2292 h 3171"/>
                      <a:gd name="T28" fmla="*/ 1709 w 2812"/>
                      <a:gd name="T29" fmla="*/ 2383 h 3171"/>
                      <a:gd name="T30" fmla="*/ 1487 w 2812"/>
                      <a:gd name="T31" fmla="*/ 2634 h 3171"/>
                      <a:gd name="T32" fmla="*/ 1207 w 2812"/>
                      <a:gd name="T33" fmla="*/ 2944 h 3171"/>
                      <a:gd name="T34" fmla="*/ 915 w 2812"/>
                      <a:gd name="T35" fmla="*/ 3171 h 3171"/>
                      <a:gd name="T36" fmla="*/ 923 w 2812"/>
                      <a:gd name="T37" fmla="*/ 2986 h 3171"/>
                      <a:gd name="T38" fmla="*/ 758 w 2812"/>
                      <a:gd name="T39" fmla="*/ 2882 h 3171"/>
                      <a:gd name="T40" fmla="*/ 1135 w 2812"/>
                      <a:gd name="T41" fmla="*/ 2613 h 3171"/>
                      <a:gd name="T42" fmla="*/ 1126 w 2812"/>
                      <a:gd name="T43" fmla="*/ 2471 h 3171"/>
                      <a:gd name="T44" fmla="*/ 1111 w 2812"/>
                      <a:gd name="T45" fmla="*/ 2376 h 3171"/>
                      <a:gd name="T46" fmla="*/ 1091 w 2812"/>
                      <a:gd name="T47" fmla="*/ 2243 h 3171"/>
                      <a:gd name="T48" fmla="*/ 978 w 2812"/>
                      <a:gd name="T49" fmla="*/ 2111 h 3171"/>
                      <a:gd name="T50" fmla="*/ 1024 w 2812"/>
                      <a:gd name="T51" fmla="*/ 1967 h 3171"/>
                      <a:gd name="T52" fmla="*/ 1009 w 2812"/>
                      <a:gd name="T53" fmla="*/ 1797 h 3171"/>
                      <a:gd name="T54" fmla="*/ 905 w 2812"/>
                      <a:gd name="T55" fmla="*/ 1651 h 3171"/>
                      <a:gd name="T56" fmla="*/ 868 w 2812"/>
                      <a:gd name="T57" fmla="*/ 1521 h 3171"/>
                      <a:gd name="T58" fmla="*/ 727 w 2812"/>
                      <a:gd name="T59" fmla="*/ 1452 h 3171"/>
                      <a:gd name="T60" fmla="*/ 589 w 2812"/>
                      <a:gd name="T61" fmla="*/ 1280 h 3171"/>
                      <a:gd name="T62" fmla="*/ 401 w 2812"/>
                      <a:gd name="T63" fmla="*/ 1296 h 3171"/>
                      <a:gd name="T64" fmla="*/ 251 w 2812"/>
                      <a:gd name="T65" fmla="*/ 1330 h 3171"/>
                      <a:gd name="T66" fmla="*/ 111 w 2812"/>
                      <a:gd name="T67" fmla="*/ 1242 h 3171"/>
                      <a:gd name="T68" fmla="*/ 25 w 2812"/>
                      <a:gd name="T69" fmla="*/ 1110 h 3171"/>
                      <a:gd name="T70" fmla="*/ 68 w 2812"/>
                      <a:gd name="T71" fmla="*/ 965 h 3171"/>
                      <a:gd name="T72" fmla="*/ 176 w 2812"/>
                      <a:gd name="T73" fmla="*/ 798 h 3171"/>
                      <a:gd name="T74" fmla="*/ 352 w 2812"/>
                      <a:gd name="T75" fmla="*/ 552 h 3171"/>
                      <a:gd name="T76" fmla="*/ 312 w 2812"/>
                      <a:gd name="T77" fmla="*/ 381 h 3171"/>
                      <a:gd name="T78" fmla="*/ 327 w 2812"/>
                      <a:gd name="T79" fmla="*/ 337 h 3171"/>
                      <a:gd name="T80" fmla="*/ 509 w 2812"/>
                      <a:gd name="T81" fmla="*/ 286 h 3171"/>
                      <a:gd name="T82" fmla="*/ 634 w 2812"/>
                      <a:gd name="T83" fmla="*/ 361 h 3171"/>
                      <a:gd name="T84" fmla="*/ 736 w 2812"/>
                      <a:gd name="T85" fmla="*/ 270 h 3171"/>
                      <a:gd name="T86" fmla="*/ 709 w 2812"/>
                      <a:gd name="T87" fmla="*/ 171 h 3171"/>
                      <a:gd name="T88" fmla="*/ 742 w 2812"/>
                      <a:gd name="T89" fmla="*/ 98 h 3171"/>
                      <a:gd name="T90" fmla="*/ 950 w 2812"/>
                      <a:gd name="T91" fmla="*/ 57 h 3171"/>
                      <a:gd name="T92" fmla="*/ 1019 w 2812"/>
                      <a:gd name="T93" fmla="*/ 18 h 3171"/>
                      <a:gd name="T94" fmla="*/ 1036 w 2812"/>
                      <a:gd name="T95" fmla="*/ 132 h 3171"/>
                      <a:gd name="T96" fmla="*/ 1100 w 2812"/>
                      <a:gd name="T97" fmla="*/ 318 h 3171"/>
                      <a:gd name="T98" fmla="*/ 1197 w 2812"/>
                      <a:gd name="T99" fmla="*/ 288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2" h="3171">
                        <a:moveTo>
                          <a:pt x="1278" y="271"/>
                        </a:moveTo>
                        <a:lnTo>
                          <a:pt x="1318" y="277"/>
                        </a:lnTo>
                        <a:lnTo>
                          <a:pt x="1323" y="261"/>
                        </a:lnTo>
                        <a:lnTo>
                          <a:pt x="1310" y="244"/>
                        </a:lnTo>
                        <a:lnTo>
                          <a:pt x="1316" y="221"/>
                        </a:lnTo>
                        <a:lnTo>
                          <a:pt x="1346" y="228"/>
                        </a:lnTo>
                        <a:lnTo>
                          <a:pt x="1380" y="221"/>
                        </a:lnTo>
                        <a:lnTo>
                          <a:pt x="1421" y="237"/>
                        </a:lnTo>
                        <a:lnTo>
                          <a:pt x="1454" y="255"/>
                        </a:lnTo>
                        <a:lnTo>
                          <a:pt x="1475" y="232"/>
                        </a:lnTo>
                        <a:lnTo>
                          <a:pt x="1491" y="236"/>
                        </a:lnTo>
                        <a:lnTo>
                          <a:pt x="1501" y="258"/>
                        </a:lnTo>
                        <a:lnTo>
                          <a:pt x="1535" y="252"/>
                        </a:lnTo>
                        <a:lnTo>
                          <a:pt x="1563" y="222"/>
                        </a:lnTo>
                        <a:lnTo>
                          <a:pt x="1581" y="162"/>
                        </a:lnTo>
                        <a:lnTo>
                          <a:pt x="1620" y="87"/>
                        </a:lnTo>
                        <a:lnTo>
                          <a:pt x="1644" y="83"/>
                        </a:lnTo>
                        <a:lnTo>
                          <a:pt x="1664" y="128"/>
                        </a:lnTo>
                        <a:lnTo>
                          <a:pt x="1711" y="271"/>
                        </a:lnTo>
                        <a:lnTo>
                          <a:pt x="1750" y="285"/>
                        </a:lnTo>
                        <a:lnTo>
                          <a:pt x="1753" y="341"/>
                        </a:lnTo>
                        <a:lnTo>
                          <a:pt x="1700" y="407"/>
                        </a:lnTo>
                        <a:lnTo>
                          <a:pt x="1723" y="432"/>
                        </a:lnTo>
                        <a:lnTo>
                          <a:pt x="1849" y="445"/>
                        </a:lnTo>
                        <a:lnTo>
                          <a:pt x="1850" y="526"/>
                        </a:lnTo>
                        <a:lnTo>
                          <a:pt x="1906" y="472"/>
                        </a:lnTo>
                        <a:lnTo>
                          <a:pt x="1996" y="502"/>
                        </a:lnTo>
                        <a:lnTo>
                          <a:pt x="2114" y="552"/>
                        </a:lnTo>
                        <a:lnTo>
                          <a:pt x="2148" y="599"/>
                        </a:lnTo>
                        <a:lnTo>
                          <a:pt x="2134" y="644"/>
                        </a:lnTo>
                        <a:lnTo>
                          <a:pt x="2218" y="619"/>
                        </a:lnTo>
                        <a:lnTo>
                          <a:pt x="2356" y="662"/>
                        </a:lnTo>
                        <a:lnTo>
                          <a:pt x="2464" y="658"/>
                        </a:lnTo>
                        <a:lnTo>
                          <a:pt x="2565" y="726"/>
                        </a:lnTo>
                        <a:lnTo>
                          <a:pt x="2651" y="817"/>
                        </a:lnTo>
                        <a:lnTo>
                          <a:pt x="2705" y="841"/>
                        </a:lnTo>
                        <a:lnTo>
                          <a:pt x="2765" y="844"/>
                        </a:lnTo>
                        <a:lnTo>
                          <a:pt x="2790" y="869"/>
                        </a:lnTo>
                        <a:lnTo>
                          <a:pt x="2805" y="973"/>
                        </a:lnTo>
                        <a:lnTo>
                          <a:pt x="2812" y="1022"/>
                        </a:lnTo>
                        <a:lnTo>
                          <a:pt x="2770" y="1157"/>
                        </a:lnTo>
                        <a:lnTo>
                          <a:pt x="2727" y="1209"/>
                        </a:lnTo>
                        <a:lnTo>
                          <a:pt x="2611" y="1323"/>
                        </a:lnTo>
                        <a:lnTo>
                          <a:pt x="2552" y="1414"/>
                        </a:lnTo>
                        <a:lnTo>
                          <a:pt x="2487" y="1486"/>
                        </a:lnTo>
                        <a:lnTo>
                          <a:pt x="2470" y="1487"/>
                        </a:lnTo>
                        <a:lnTo>
                          <a:pt x="2439" y="1547"/>
                        </a:lnTo>
                        <a:lnTo>
                          <a:pt x="2414" y="1698"/>
                        </a:lnTo>
                        <a:lnTo>
                          <a:pt x="2366" y="1824"/>
                        </a:lnTo>
                        <a:lnTo>
                          <a:pt x="2345" y="1878"/>
                        </a:lnTo>
                        <a:lnTo>
                          <a:pt x="2315" y="1909"/>
                        </a:lnTo>
                        <a:lnTo>
                          <a:pt x="2276" y="2018"/>
                        </a:lnTo>
                        <a:lnTo>
                          <a:pt x="2177" y="2124"/>
                        </a:lnTo>
                        <a:lnTo>
                          <a:pt x="2144" y="2208"/>
                        </a:lnTo>
                        <a:lnTo>
                          <a:pt x="2077" y="2243"/>
                        </a:lnTo>
                        <a:lnTo>
                          <a:pt x="2049" y="2292"/>
                        </a:lnTo>
                        <a:lnTo>
                          <a:pt x="1972" y="2292"/>
                        </a:lnTo>
                        <a:lnTo>
                          <a:pt x="1854" y="2323"/>
                        </a:lnTo>
                        <a:lnTo>
                          <a:pt x="1794" y="2359"/>
                        </a:lnTo>
                        <a:lnTo>
                          <a:pt x="1709" y="2383"/>
                        </a:lnTo>
                        <a:lnTo>
                          <a:pt x="1607" y="2448"/>
                        </a:lnTo>
                        <a:lnTo>
                          <a:pt x="1522" y="2528"/>
                        </a:lnTo>
                        <a:lnTo>
                          <a:pt x="1491" y="2589"/>
                        </a:lnTo>
                        <a:lnTo>
                          <a:pt x="1487" y="2634"/>
                        </a:lnTo>
                        <a:lnTo>
                          <a:pt x="1444" y="2717"/>
                        </a:lnTo>
                        <a:lnTo>
                          <a:pt x="1412" y="2756"/>
                        </a:lnTo>
                        <a:lnTo>
                          <a:pt x="1345" y="2801"/>
                        </a:lnTo>
                        <a:lnTo>
                          <a:pt x="1207" y="2944"/>
                        </a:lnTo>
                        <a:lnTo>
                          <a:pt x="1117" y="3008"/>
                        </a:lnTo>
                        <a:lnTo>
                          <a:pt x="1052" y="3047"/>
                        </a:lnTo>
                        <a:lnTo>
                          <a:pt x="984" y="3123"/>
                        </a:lnTo>
                        <a:lnTo>
                          <a:pt x="915" y="3171"/>
                        </a:lnTo>
                        <a:lnTo>
                          <a:pt x="920" y="3124"/>
                        </a:lnTo>
                        <a:lnTo>
                          <a:pt x="969" y="3086"/>
                        </a:lnTo>
                        <a:lnTo>
                          <a:pt x="955" y="3031"/>
                        </a:lnTo>
                        <a:lnTo>
                          <a:pt x="923" y="2986"/>
                        </a:lnTo>
                        <a:lnTo>
                          <a:pt x="875" y="2933"/>
                        </a:lnTo>
                        <a:lnTo>
                          <a:pt x="849" y="2936"/>
                        </a:lnTo>
                        <a:lnTo>
                          <a:pt x="806" y="2873"/>
                        </a:lnTo>
                        <a:lnTo>
                          <a:pt x="758" y="2882"/>
                        </a:lnTo>
                        <a:lnTo>
                          <a:pt x="894" y="2771"/>
                        </a:lnTo>
                        <a:lnTo>
                          <a:pt x="1003" y="2692"/>
                        </a:lnTo>
                        <a:lnTo>
                          <a:pt x="1060" y="2658"/>
                        </a:lnTo>
                        <a:lnTo>
                          <a:pt x="1135" y="2613"/>
                        </a:lnTo>
                        <a:lnTo>
                          <a:pt x="1158" y="2549"/>
                        </a:lnTo>
                        <a:lnTo>
                          <a:pt x="1138" y="2502"/>
                        </a:lnTo>
                        <a:lnTo>
                          <a:pt x="1099" y="2517"/>
                        </a:lnTo>
                        <a:lnTo>
                          <a:pt x="1126" y="2471"/>
                        </a:lnTo>
                        <a:lnTo>
                          <a:pt x="1150" y="2422"/>
                        </a:lnTo>
                        <a:lnTo>
                          <a:pt x="1163" y="2378"/>
                        </a:lnTo>
                        <a:lnTo>
                          <a:pt x="1141" y="2363"/>
                        </a:lnTo>
                        <a:lnTo>
                          <a:pt x="1111" y="2376"/>
                        </a:lnTo>
                        <a:lnTo>
                          <a:pt x="1086" y="2373"/>
                        </a:lnTo>
                        <a:lnTo>
                          <a:pt x="1086" y="2342"/>
                        </a:lnTo>
                        <a:lnTo>
                          <a:pt x="1099" y="2267"/>
                        </a:lnTo>
                        <a:lnTo>
                          <a:pt x="1091" y="2243"/>
                        </a:lnTo>
                        <a:lnTo>
                          <a:pt x="1050" y="2221"/>
                        </a:lnTo>
                        <a:lnTo>
                          <a:pt x="1018" y="2237"/>
                        </a:lnTo>
                        <a:lnTo>
                          <a:pt x="946" y="2221"/>
                        </a:lnTo>
                        <a:lnTo>
                          <a:pt x="978" y="2111"/>
                        </a:lnTo>
                        <a:lnTo>
                          <a:pt x="966" y="2066"/>
                        </a:lnTo>
                        <a:lnTo>
                          <a:pt x="993" y="2048"/>
                        </a:lnTo>
                        <a:lnTo>
                          <a:pt x="996" y="2002"/>
                        </a:lnTo>
                        <a:lnTo>
                          <a:pt x="1024" y="1967"/>
                        </a:lnTo>
                        <a:lnTo>
                          <a:pt x="1050" y="1903"/>
                        </a:lnTo>
                        <a:lnTo>
                          <a:pt x="1044" y="1852"/>
                        </a:lnTo>
                        <a:lnTo>
                          <a:pt x="1010" y="1829"/>
                        </a:lnTo>
                        <a:lnTo>
                          <a:pt x="1009" y="1797"/>
                        </a:lnTo>
                        <a:lnTo>
                          <a:pt x="1029" y="1751"/>
                        </a:lnTo>
                        <a:lnTo>
                          <a:pt x="894" y="1747"/>
                        </a:lnTo>
                        <a:lnTo>
                          <a:pt x="885" y="1652"/>
                        </a:lnTo>
                        <a:lnTo>
                          <a:pt x="905" y="1651"/>
                        </a:lnTo>
                        <a:lnTo>
                          <a:pt x="911" y="1616"/>
                        </a:lnTo>
                        <a:lnTo>
                          <a:pt x="901" y="1592"/>
                        </a:lnTo>
                        <a:lnTo>
                          <a:pt x="905" y="1544"/>
                        </a:lnTo>
                        <a:lnTo>
                          <a:pt x="868" y="1521"/>
                        </a:lnTo>
                        <a:lnTo>
                          <a:pt x="823" y="1522"/>
                        </a:lnTo>
                        <a:lnTo>
                          <a:pt x="798" y="1498"/>
                        </a:lnTo>
                        <a:lnTo>
                          <a:pt x="751" y="1482"/>
                        </a:lnTo>
                        <a:lnTo>
                          <a:pt x="727" y="1452"/>
                        </a:lnTo>
                        <a:lnTo>
                          <a:pt x="650" y="1438"/>
                        </a:lnTo>
                        <a:lnTo>
                          <a:pt x="581" y="1366"/>
                        </a:lnTo>
                        <a:lnTo>
                          <a:pt x="594" y="1311"/>
                        </a:lnTo>
                        <a:lnTo>
                          <a:pt x="589" y="1280"/>
                        </a:lnTo>
                        <a:lnTo>
                          <a:pt x="602" y="1218"/>
                        </a:lnTo>
                        <a:lnTo>
                          <a:pt x="507" y="1232"/>
                        </a:lnTo>
                        <a:lnTo>
                          <a:pt x="467" y="1263"/>
                        </a:lnTo>
                        <a:lnTo>
                          <a:pt x="401" y="1296"/>
                        </a:lnTo>
                        <a:lnTo>
                          <a:pt x="382" y="1321"/>
                        </a:lnTo>
                        <a:lnTo>
                          <a:pt x="345" y="1322"/>
                        </a:lnTo>
                        <a:lnTo>
                          <a:pt x="292" y="1316"/>
                        </a:lnTo>
                        <a:lnTo>
                          <a:pt x="251" y="1330"/>
                        </a:lnTo>
                        <a:lnTo>
                          <a:pt x="220" y="1321"/>
                        </a:lnTo>
                        <a:lnTo>
                          <a:pt x="237" y="1197"/>
                        </a:lnTo>
                        <a:lnTo>
                          <a:pt x="174" y="1245"/>
                        </a:lnTo>
                        <a:lnTo>
                          <a:pt x="111" y="1242"/>
                        </a:lnTo>
                        <a:lnTo>
                          <a:pt x="89" y="1200"/>
                        </a:lnTo>
                        <a:lnTo>
                          <a:pt x="41" y="1195"/>
                        </a:lnTo>
                        <a:lnTo>
                          <a:pt x="60" y="1160"/>
                        </a:lnTo>
                        <a:lnTo>
                          <a:pt x="25" y="1110"/>
                        </a:lnTo>
                        <a:lnTo>
                          <a:pt x="0" y="1037"/>
                        </a:lnTo>
                        <a:lnTo>
                          <a:pt x="20" y="1022"/>
                        </a:lnTo>
                        <a:lnTo>
                          <a:pt x="23" y="988"/>
                        </a:lnTo>
                        <a:lnTo>
                          <a:pt x="68" y="965"/>
                        </a:lnTo>
                        <a:lnTo>
                          <a:pt x="64" y="921"/>
                        </a:lnTo>
                        <a:lnTo>
                          <a:pt x="84" y="892"/>
                        </a:lnTo>
                        <a:lnTo>
                          <a:pt x="91" y="855"/>
                        </a:lnTo>
                        <a:lnTo>
                          <a:pt x="176" y="798"/>
                        </a:lnTo>
                        <a:lnTo>
                          <a:pt x="236" y="783"/>
                        </a:lnTo>
                        <a:lnTo>
                          <a:pt x="246" y="771"/>
                        </a:lnTo>
                        <a:lnTo>
                          <a:pt x="311" y="775"/>
                        </a:lnTo>
                        <a:lnTo>
                          <a:pt x="352" y="552"/>
                        </a:lnTo>
                        <a:lnTo>
                          <a:pt x="355" y="517"/>
                        </a:lnTo>
                        <a:lnTo>
                          <a:pt x="344" y="470"/>
                        </a:lnTo>
                        <a:lnTo>
                          <a:pt x="312" y="441"/>
                        </a:lnTo>
                        <a:lnTo>
                          <a:pt x="312" y="381"/>
                        </a:lnTo>
                        <a:lnTo>
                          <a:pt x="352" y="368"/>
                        </a:lnTo>
                        <a:lnTo>
                          <a:pt x="367" y="376"/>
                        </a:lnTo>
                        <a:lnTo>
                          <a:pt x="370" y="346"/>
                        </a:lnTo>
                        <a:lnTo>
                          <a:pt x="327" y="337"/>
                        </a:lnTo>
                        <a:lnTo>
                          <a:pt x="325" y="286"/>
                        </a:lnTo>
                        <a:lnTo>
                          <a:pt x="465" y="288"/>
                        </a:lnTo>
                        <a:lnTo>
                          <a:pt x="487" y="260"/>
                        </a:lnTo>
                        <a:lnTo>
                          <a:pt x="509" y="286"/>
                        </a:lnTo>
                        <a:lnTo>
                          <a:pt x="524" y="333"/>
                        </a:lnTo>
                        <a:lnTo>
                          <a:pt x="537" y="323"/>
                        </a:lnTo>
                        <a:lnTo>
                          <a:pt x="577" y="367"/>
                        </a:lnTo>
                        <a:lnTo>
                          <a:pt x="634" y="361"/>
                        </a:lnTo>
                        <a:lnTo>
                          <a:pt x="646" y="336"/>
                        </a:lnTo>
                        <a:lnTo>
                          <a:pt x="700" y="317"/>
                        </a:lnTo>
                        <a:lnTo>
                          <a:pt x="729" y="305"/>
                        </a:lnTo>
                        <a:lnTo>
                          <a:pt x="736" y="270"/>
                        </a:lnTo>
                        <a:lnTo>
                          <a:pt x="787" y="247"/>
                        </a:lnTo>
                        <a:lnTo>
                          <a:pt x="782" y="230"/>
                        </a:lnTo>
                        <a:lnTo>
                          <a:pt x="721" y="222"/>
                        </a:lnTo>
                        <a:lnTo>
                          <a:pt x="709" y="171"/>
                        </a:lnTo>
                        <a:lnTo>
                          <a:pt x="710" y="117"/>
                        </a:lnTo>
                        <a:lnTo>
                          <a:pt x="676" y="96"/>
                        </a:lnTo>
                        <a:lnTo>
                          <a:pt x="689" y="88"/>
                        </a:lnTo>
                        <a:lnTo>
                          <a:pt x="742" y="98"/>
                        </a:lnTo>
                        <a:lnTo>
                          <a:pt x="801" y="118"/>
                        </a:lnTo>
                        <a:lnTo>
                          <a:pt x="821" y="100"/>
                        </a:lnTo>
                        <a:lnTo>
                          <a:pt x="871" y="87"/>
                        </a:lnTo>
                        <a:lnTo>
                          <a:pt x="950" y="57"/>
                        </a:lnTo>
                        <a:lnTo>
                          <a:pt x="974" y="26"/>
                        </a:lnTo>
                        <a:lnTo>
                          <a:pt x="964" y="3"/>
                        </a:lnTo>
                        <a:lnTo>
                          <a:pt x="1000" y="0"/>
                        </a:lnTo>
                        <a:lnTo>
                          <a:pt x="1019" y="18"/>
                        </a:lnTo>
                        <a:lnTo>
                          <a:pt x="1011" y="53"/>
                        </a:lnTo>
                        <a:lnTo>
                          <a:pt x="1036" y="66"/>
                        </a:lnTo>
                        <a:lnTo>
                          <a:pt x="1055" y="103"/>
                        </a:lnTo>
                        <a:lnTo>
                          <a:pt x="1036" y="132"/>
                        </a:lnTo>
                        <a:lnTo>
                          <a:pt x="1029" y="202"/>
                        </a:lnTo>
                        <a:lnTo>
                          <a:pt x="1049" y="242"/>
                        </a:lnTo>
                        <a:lnTo>
                          <a:pt x="1055" y="280"/>
                        </a:lnTo>
                        <a:lnTo>
                          <a:pt x="1100" y="318"/>
                        </a:lnTo>
                        <a:lnTo>
                          <a:pt x="1136" y="322"/>
                        </a:lnTo>
                        <a:lnTo>
                          <a:pt x="1144" y="306"/>
                        </a:lnTo>
                        <a:lnTo>
                          <a:pt x="1166" y="303"/>
                        </a:lnTo>
                        <a:lnTo>
                          <a:pt x="1197" y="288"/>
                        </a:lnTo>
                        <a:lnTo>
                          <a:pt x="1220" y="267"/>
                        </a:lnTo>
                        <a:lnTo>
                          <a:pt x="1260" y="273"/>
                        </a:lnTo>
                        <a:lnTo>
                          <a:pt x="1278" y="27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3" name="Brunei" descr="{&quot;Key&quot;:&quot;brunei&quot;,&quot;Name&quot;:&quot;Brunei&quot;,&quot;Value&quot;:1.0,&quot;Formula&quot;:&quot;&quot;,&quot;Text&quot;:&quot;&quot;,&quot;OfficeApplication&quot;:1,&quot;HasValue&quot;:true}">
                    <a:extLst>
                      <a:ext uri="{FF2B5EF4-FFF2-40B4-BE49-F238E27FC236}">
                        <a16:creationId xmlns:a16="http://schemas.microsoft.com/office/drawing/2014/main" id="{235FF11B-138B-4A56-7326-DBDACC163F93}"/>
                      </a:ext>
                    </a:extLst>
                  </p:cNvPr>
                  <p:cNvSpPr>
                    <a:spLocks/>
                  </p:cNvSpPr>
                  <p:nvPr/>
                </p:nvSpPr>
                <p:spPr bwMode="auto">
                  <a:xfrm>
                    <a:off x="3101" y="2661"/>
                    <a:ext cx="26" cy="33"/>
                  </a:xfrm>
                  <a:custGeom>
                    <a:avLst/>
                    <a:gdLst>
                      <a:gd name="T0" fmla="*/ 0 w 90"/>
                      <a:gd name="T1" fmla="*/ 75 h 118"/>
                      <a:gd name="T2" fmla="*/ 29 w 90"/>
                      <a:gd name="T3" fmla="*/ 45 h 118"/>
                      <a:gd name="T4" fmla="*/ 90 w 90"/>
                      <a:gd name="T5" fmla="*/ 0 h 118"/>
                      <a:gd name="T6" fmla="*/ 87 w 90"/>
                      <a:gd name="T7" fmla="*/ 40 h 118"/>
                      <a:gd name="T8" fmla="*/ 82 w 90"/>
                      <a:gd name="T9" fmla="*/ 93 h 118"/>
                      <a:gd name="T10" fmla="*/ 48 w 90"/>
                      <a:gd name="T11" fmla="*/ 90 h 118"/>
                      <a:gd name="T12" fmla="*/ 33 w 90"/>
                      <a:gd name="T13" fmla="*/ 118 h 118"/>
                      <a:gd name="T14" fmla="*/ 0 w 90"/>
                      <a:gd name="T15" fmla="*/ 75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118">
                        <a:moveTo>
                          <a:pt x="0" y="75"/>
                        </a:moveTo>
                        <a:lnTo>
                          <a:pt x="29" y="45"/>
                        </a:lnTo>
                        <a:lnTo>
                          <a:pt x="90" y="0"/>
                        </a:lnTo>
                        <a:lnTo>
                          <a:pt x="87" y="40"/>
                        </a:lnTo>
                        <a:lnTo>
                          <a:pt x="82" y="93"/>
                        </a:lnTo>
                        <a:lnTo>
                          <a:pt x="48" y="90"/>
                        </a:lnTo>
                        <a:lnTo>
                          <a:pt x="33" y="118"/>
                        </a:lnTo>
                        <a:lnTo>
                          <a:pt x="0" y="7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4" name="Bhutan" descr="{&quot;Key&quot;:&quot;bhutan&quot;,&quot;Name&quot;:&quot;Bhutan&quot;,&quot;Value&quot;:1.0,&quot;Formula&quot;:&quot;&quot;,&quot;Text&quot;:&quot;&quot;,&quot;OfficeApplication&quot;:1,&quot;HasValue&quot;:true}">
                    <a:extLst>
                      <a:ext uri="{FF2B5EF4-FFF2-40B4-BE49-F238E27FC236}">
                        <a16:creationId xmlns:a16="http://schemas.microsoft.com/office/drawing/2014/main" id="{F3E3F617-5D40-37A8-82E2-24C2CBC2AC9A}"/>
                      </a:ext>
                    </a:extLst>
                  </p:cNvPr>
                  <p:cNvSpPr>
                    <a:spLocks/>
                  </p:cNvSpPr>
                  <p:nvPr/>
                </p:nvSpPr>
                <p:spPr bwMode="auto">
                  <a:xfrm>
                    <a:off x="2632" y="2144"/>
                    <a:ext cx="64" cy="35"/>
                  </a:xfrm>
                  <a:custGeom>
                    <a:avLst/>
                    <a:gdLst>
                      <a:gd name="T0" fmla="*/ 207 w 232"/>
                      <a:gd name="T1" fmla="*/ 42 h 127"/>
                      <a:gd name="T2" fmla="*/ 232 w 232"/>
                      <a:gd name="T3" fmla="*/ 67 h 127"/>
                      <a:gd name="T4" fmla="*/ 220 w 232"/>
                      <a:gd name="T5" fmla="*/ 117 h 127"/>
                      <a:gd name="T6" fmla="*/ 163 w 232"/>
                      <a:gd name="T7" fmla="*/ 120 h 127"/>
                      <a:gd name="T8" fmla="*/ 105 w 232"/>
                      <a:gd name="T9" fmla="*/ 115 h 127"/>
                      <a:gd name="T10" fmla="*/ 60 w 232"/>
                      <a:gd name="T11" fmla="*/ 127 h 127"/>
                      <a:gd name="T12" fmla="*/ 0 w 232"/>
                      <a:gd name="T13" fmla="*/ 96 h 127"/>
                      <a:gd name="T14" fmla="*/ 2 w 232"/>
                      <a:gd name="T15" fmla="*/ 80 h 127"/>
                      <a:gd name="T16" fmla="*/ 57 w 232"/>
                      <a:gd name="T17" fmla="*/ 20 h 127"/>
                      <a:gd name="T18" fmla="*/ 97 w 232"/>
                      <a:gd name="T19" fmla="*/ 0 h 127"/>
                      <a:gd name="T20" fmla="*/ 143 w 232"/>
                      <a:gd name="T21" fmla="*/ 18 h 127"/>
                      <a:gd name="T22" fmla="*/ 180 w 232"/>
                      <a:gd name="T23" fmla="*/ 20 h 127"/>
                      <a:gd name="T24" fmla="*/ 207 w 232"/>
                      <a:gd name="T25" fmla="*/ 4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127">
                        <a:moveTo>
                          <a:pt x="207" y="42"/>
                        </a:moveTo>
                        <a:lnTo>
                          <a:pt x="232" y="67"/>
                        </a:lnTo>
                        <a:lnTo>
                          <a:pt x="220" y="117"/>
                        </a:lnTo>
                        <a:lnTo>
                          <a:pt x="163" y="120"/>
                        </a:lnTo>
                        <a:lnTo>
                          <a:pt x="105" y="115"/>
                        </a:lnTo>
                        <a:lnTo>
                          <a:pt x="60" y="127"/>
                        </a:lnTo>
                        <a:lnTo>
                          <a:pt x="0" y="96"/>
                        </a:lnTo>
                        <a:lnTo>
                          <a:pt x="2" y="80"/>
                        </a:lnTo>
                        <a:lnTo>
                          <a:pt x="57" y="20"/>
                        </a:lnTo>
                        <a:lnTo>
                          <a:pt x="97" y="0"/>
                        </a:lnTo>
                        <a:lnTo>
                          <a:pt x="143" y="18"/>
                        </a:lnTo>
                        <a:lnTo>
                          <a:pt x="180" y="20"/>
                        </a:lnTo>
                        <a:lnTo>
                          <a:pt x="207" y="4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5" name="Botswana" descr="{&quot;Key&quot;:&quot;botswana&quot;,&quot;Name&quot;:&quot;Botswana&quot;,&quot;Value&quot;:1.0,&quot;Formula&quot;:&quot;&quot;,&quot;Text&quot;:&quot;&quot;,&quot;OfficeApplication&quot;:1,&quot;HasValue&quot;:true}">
                    <a:extLst>
                      <a:ext uri="{FF2B5EF4-FFF2-40B4-BE49-F238E27FC236}">
                        <a16:creationId xmlns:a16="http://schemas.microsoft.com/office/drawing/2014/main" id="{B4A5656F-AE28-6DE5-27C7-E6F1CF02CB8B}"/>
                      </a:ext>
                    </a:extLst>
                  </p:cNvPr>
                  <p:cNvSpPr>
                    <a:spLocks/>
                  </p:cNvSpPr>
                  <p:nvPr/>
                </p:nvSpPr>
                <p:spPr bwMode="auto">
                  <a:xfrm>
                    <a:off x="1267" y="3185"/>
                    <a:ext cx="188" cy="208"/>
                  </a:xfrm>
                  <a:custGeom>
                    <a:avLst/>
                    <a:gdLst>
                      <a:gd name="T0" fmla="*/ 317 w 675"/>
                      <a:gd name="T1" fmla="*/ 6 h 745"/>
                      <a:gd name="T2" fmla="*/ 356 w 675"/>
                      <a:gd name="T3" fmla="*/ 71 h 745"/>
                      <a:gd name="T4" fmla="*/ 373 w 675"/>
                      <a:gd name="T5" fmla="*/ 86 h 745"/>
                      <a:gd name="T6" fmla="*/ 403 w 675"/>
                      <a:gd name="T7" fmla="*/ 132 h 745"/>
                      <a:gd name="T8" fmla="*/ 499 w 675"/>
                      <a:gd name="T9" fmla="*/ 222 h 745"/>
                      <a:gd name="T10" fmla="*/ 530 w 675"/>
                      <a:gd name="T11" fmla="*/ 231 h 745"/>
                      <a:gd name="T12" fmla="*/ 537 w 675"/>
                      <a:gd name="T13" fmla="*/ 260 h 745"/>
                      <a:gd name="T14" fmla="*/ 567 w 675"/>
                      <a:gd name="T15" fmla="*/ 311 h 745"/>
                      <a:gd name="T16" fmla="*/ 623 w 675"/>
                      <a:gd name="T17" fmla="*/ 324 h 745"/>
                      <a:gd name="T18" fmla="*/ 675 w 675"/>
                      <a:gd name="T19" fmla="*/ 360 h 745"/>
                      <a:gd name="T20" fmla="*/ 587 w 675"/>
                      <a:gd name="T21" fmla="*/ 420 h 745"/>
                      <a:gd name="T22" fmla="*/ 537 w 675"/>
                      <a:gd name="T23" fmla="*/ 481 h 745"/>
                      <a:gd name="T24" fmla="*/ 524 w 675"/>
                      <a:gd name="T25" fmla="*/ 535 h 745"/>
                      <a:gd name="T26" fmla="*/ 510 w 675"/>
                      <a:gd name="T27" fmla="*/ 565 h 745"/>
                      <a:gd name="T28" fmla="*/ 474 w 675"/>
                      <a:gd name="T29" fmla="*/ 572 h 745"/>
                      <a:gd name="T30" fmla="*/ 470 w 675"/>
                      <a:gd name="T31" fmla="*/ 611 h 745"/>
                      <a:gd name="T32" fmla="*/ 470 w 675"/>
                      <a:gd name="T33" fmla="*/ 636 h 745"/>
                      <a:gd name="T34" fmla="*/ 430 w 675"/>
                      <a:gd name="T35" fmla="*/ 655 h 745"/>
                      <a:gd name="T36" fmla="*/ 372 w 675"/>
                      <a:gd name="T37" fmla="*/ 651 h 745"/>
                      <a:gd name="T38" fmla="*/ 333 w 675"/>
                      <a:gd name="T39" fmla="*/ 629 h 745"/>
                      <a:gd name="T40" fmla="*/ 302 w 675"/>
                      <a:gd name="T41" fmla="*/ 619 h 745"/>
                      <a:gd name="T42" fmla="*/ 272 w 675"/>
                      <a:gd name="T43" fmla="*/ 637 h 745"/>
                      <a:gd name="T44" fmla="*/ 265 w 675"/>
                      <a:gd name="T45" fmla="*/ 676 h 745"/>
                      <a:gd name="T46" fmla="*/ 238 w 675"/>
                      <a:gd name="T47" fmla="*/ 701 h 745"/>
                      <a:gd name="T48" fmla="*/ 214 w 675"/>
                      <a:gd name="T49" fmla="*/ 737 h 745"/>
                      <a:gd name="T50" fmla="*/ 167 w 675"/>
                      <a:gd name="T51" fmla="*/ 745 h 745"/>
                      <a:gd name="T52" fmla="*/ 143 w 675"/>
                      <a:gd name="T53" fmla="*/ 716 h 745"/>
                      <a:gd name="T54" fmla="*/ 135 w 675"/>
                      <a:gd name="T55" fmla="*/ 667 h 745"/>
                      <a:gd name="T56" fmla="*/ 74 w 675"/>
                      <a:gd name="T57" fmla="*/ 590 h 745"/>
                      <a:gd name="T58" fmla="*/ 53 w 675"/>
                      <a:gd name="T59" fmla="*/ 577 h 745"/>
                      <a:gd name="T60" fmla="*/ 0 w 675"/>
                      <a:gd name="T61" fmla="*/ 340 h 745"/>
                      <a:gd name="T62" fmla="*/ 69 w 675"/>
                      <a:gd name="T63" fmla="*/ 337 h 745"/>
                      <a:gd name="T64" fmla="*/ 17 w 675"/>
                      <a:gd name="T65" fmla="*/ 49 h 745"/>
                      <a:gd name="T66" fmla="*/ 68 w 675"/>
                      <a:gd name="T67" fmla="*/ 45 h 745"/>
                      <a:gd name="T68" fmla="*/ 172 w 675"/>
                      <a:gd name="T69" fmla="*/ 17 h 745"/>
                      <a:gd name="T70" fmla="*/ 206 w 675"/>
                      <a:gd name="T71" fmla="*/ 50 h 745"/>
                      <a:gd name="T72" fmla="*/ 246 w 675"/>
                      <a:gd name="T73" fmla="*/ 19 h 745"/>
                      <a:gd name="T74" fmla="*/ 267 w 675"/>
                      <a:gd name="T75" fmla="*/ 19 h 745"/>
                      <a:gd name="T76" fmla="*/ 303 w 675"/>
                      <a:gd name="T77" fmla="*/ 0 h 745"/>
                      <a:gd name="T78" fmla="*/ 317 w 675"/>
                      <a:gd name="T79" fmla="*/ 6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5" h="745">
                        <a:moveTo>
                          <a:pt x="317" y="6"/>
                        </a:moveTo>
                        <a:lnTo>
                          <a:pt x="356" y="71"/>
                        </a:lnTo>
                        <a:lnTo>
                          <a:pt x="373" y="86"/>
                        </a:lnTo>
                        <a:lnTo>
                          <a:pt x="403" y="132"/>
                        </a:lnTo>
                        <a:lnTo>
                          <a:pt x="499" y="222"/>
                        </a:lnTo>
                        <a:lnTo>
                          <a:pt x="530" y="231"/>
                        </a:lnTo>
                        <a:lnTo>
                          <a:pt x="537" y="260"/>
                        </a:lnTo>
                        <a:lnTo>
                          <a:pt x="567" y="311"/>
                        </a:lnTo>
                        <a:lnTo>
                          <a:pt x="623" y="324"/>
                        </a:lnTo>
                        <a:lnTo>
                          <a:pt x="675" y="360"/>
                        </a:lnTo>
                        <a:lnTo>
                          <a:pt x="587" y="420"/>
                        </a:lnTo>
                        <a:lnTo>
                          <a:pt x="537" y="481"/>
                        </a:lnTo>
                        <a:lnTo>
                          <a:pt x="524" y="535"/>
                        </a:lnTo>
                        <a:lnTo>
                          <a:pt x="510" y="565"/>
                        </a:lnTo>
                        <a:lnTo>
                          <a:pt x="474" y="572"/>
                        </a:lnTo>
                        <a:lnTo>
                          <a:pt x="470" y="611"/>
                        </a:lnTo>
                        <a:lnTo>
                          <a:pt x="470" y="636"/>
                        </a:lnTo>
                        <a:lnTo>
                          <a:pt x="430" y="655"/>
                        </a:lnTo>
                        <a:lnTo>
                          <a:pt x="372" y="651"/>
                        </a:lnTo>
                        <a:lnTo>
                          <a:pt x="333" y="629"/>
                        </a:lnTo>
                        <a:lnTo>
                          <a:pt x="302" y="619"/>
                        </a:lnTo>
                        <a:lnTo>
                          <a:pt x="272" y="637"/>
                        </a:lnTo>
                        <a:lnTo>
                          <a:pt x="265" y="676"/>
                        </a:lnTo>
                        <a:lnTo>
                          <a:pt x="238" y="701"/>
                        </a:lnTo>
                        <a:lnTo>
                          <a:pt x="214" y="737"/>
                        </a:lnTo>
                        <a:lnTo>
                          <a:pt x="167" y="745"/>
                        </a:lnTo>
                        <a:lnTo>
                          <a:pt x="143" y="716"/>
                        </a:lnTo>
                        <a:lnTo>
                          <a:pt x="135" y="667"/>
                        </a:lnTo>
                        <a:lnTo>
                          <a:pt x="74" y="590"/>
                        </a:lnTo>
                        <a:lnTo>
                          <a:pt x="53" y="577"/>
                        </a:lnTo>
                        <a:lnTo>
                          <a:pt x="0" y="340"/>
                        </a:lnTo>
                        <a:lnTo>
                          <a:pt x="69" y="337"/>
                        </a:lnTo>
                        <a:lnTo>
                          <a:pt x="17" y="49"/>
                        </a:lnTo>
                        <a:lnTo>
                          <a:pt x="68" y="45"/>
                        </a:lnTo>
                        <a:lnTo>
                          <a:pt x="172" y="17"/>
                        </a:lnTo>
                        <a:lnTo>
                          <a:pt x="206" y="50"/>
                        </a:lnTo>
                        <a:lnTo>
                          <a:pt x="246" y="19"/>
                        </a:lnTo>
                        <a:lnTo>
                          <a:pt x="267" y="19"/>
                        </a:lnTo>
                        <a:lnTo>
                          <a:pt x="303" y="0"/>
                        </a:lnTo>
                        <a:lnTo>
                          <a:pt x="317" y="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6" name="Central African Republic" descr="{&quot;Key&quot;:&quot;central african republic&quot;,&quot;Name&quot;:&quot;Central African Republic&quot;,&quot;Value&quot;:1.0,&quot;Formula&quot;:&quot;&quot;,&quot;Text&quot;:&quot;&quot;,&quot;OfficeApplication&quot;:1,&quot;HasValue&quot;:true}">
                    <a:extLst>
                      <a:ext uri="{FF2B5EF4-FFF2-40B4-BE49-F238E27FC236}">
                        <a16:creationId xmlns:a16="http://schemas.microsoft.com/office/drawing/2014/main" id="{8C9F2B00-589F-F65F-95D7-28B675A15145}"/>
                      </a:ext>
                    </a:extLst>
                  </p:cNvPr>
                  <p:cNvSpPr>
                    <a:spLocks/>
                  </p:cNvSpPr>
                  <p:nvPr/>
                </p:nvSpPr>
                <p:spPr bwMode="auto">
                  <a:xfrm>
                    <a:off x="1108" y="2532"/>
                    <a:ext cx="258" cy="201"/>
                  </a:xfrm>
                  <a:custGeom>
                    <a:avLst/>
                    <a:gdLst>
                      <a:gd name="T0" fmla="*/ 695 w 927"/>
                      <a:gd name="T1" fmla="*/ 205 h 721"/>
                      <a:gd name="T2" fmla="*/ 742 w 927"/>
                      <a:gd name="T3" fmla="*/ 237 h 721"/>
                      <a:gd name="T4" fmla="*/ 778 w 927"/>
                      <a:gd name="T5" fmla="*/ 270 h 721"/>
                      <a:gd name="T6" fmla="*/ 776 w 927"/>
                      <a:gd name="T7" fmla="*/ 296 h 721"/>
                      <a:gd name="T8" fmla="*/ 821 w 927"/>
                      <a:gd name="T9" fmla="*/ 338 h 721"/>
                      <a:gd name="T10" fmla="*/ 849 w 927"/>
                      <a:gd name="T11" fmla="*/ 373 h 721"/>
                      <a:gd name="T12" fmla="*/ 865 w 927"/>
                      <a:gd name="T13" fmla="*/ 422 h 721"/>
                      <a:gd name="T14" fmla="*/ 917 w 927"/>
                      <a:gd name="T15" fmla="*/ 455 h 721"/>
                      <a:gd name="T16" fmla="*/ 927 w 927"/>
                      <a:gd name="T17" fmla="*/ 480 h 721"/>
                      <a:gd name="T18" fmla="*/ 903 w 927"/>
                      <a:gd name="T19" fmla="*/ 488 h 721"/>
                      <a:gd name="T20" fmla="*/ 857 w 927"/>
                      <a:gd name="T21" fmla="*/ 487 h 721"/>
                      <a:gd name="T22" fmla="*/ 803 w 927"/>
                      <a:gd name="T23" fmla="*/ 478 h 721"/>
                      <a:gd name="T24" fmla="*/ 777 w 927"/>
                      <a:gd name="T25" fmla="*/ 485 h 721"/>
                      <a:gd name="T26" fmla="*/ 764 w 927"/>
                      <a:gd name="T27" fmla="*/ 505 h 721"/>
                      <a:gd name="T28" fmla="*/ 742 w 927"/>
                      <a:gd name="T29" fmla="*/ 507 h 721"/>
                      <a:gd name="T30" fmla="*/ 714 w 927"/>
                      <a:gd name="T31" fmla="*/ 490 h 721"/>
                      <a:gd name="T32" fmla="*/ 632 w 927"/>
                      <a:gd name="T33" fmla="*/ 531 h 721"/>
                      <a:gd name="T34" fmla="*/ 599 w 927"/>
                      <a:gd name="T35" fmla="*/ 522 h 721"/>
                      <a:gd name="T36" fmla="*/ 589 w 927"/>
                      <a:gd name="T37" fmla="*/ 528 h 721"/>
                      <a:gd name="T38" fmla="*/ 565 w 927"/>
                      <a:gd name="T39" fmla="*/ 578 h 721"/>
                      <a:gd name="T40" fmla="*/ 513 w 927"/>
                      <a:gd name="T41" fmla="*/ 562 h 721"/>
                      <a:gd name="T42" fmla="*/ 460 w 927"/>
                      <a:gd name="T43" fmla="*/ 555 h 721"/>
                      <a:gd name="T44" fmla="*/ 417 w 927"/>
                      <a:gd name="T45" fmla="*/ 525 h 721"/>
                      <a:gd name="T46" fmla="*/ 359 w 927"/>
                      <a:gd name="T47" fmla="*/ 496 h 721"/>
                      <a:gd name="T48" fmla="*/ 319 w 927"/>
                      <a:gd name="T49" fmla="*/ 522 h 721"/>
                      <a:gd name="T50" fmla="*/ 289 w 927"/>
                      <a:gd name="T51" fmla="*/ 563 h 721"/>
                      <a:gd name="T52" fmla="*/ 280 w 927"/>
                      <a:gd name="T53" fmla="*/ 621 h 721"/>
                      <a:gd name="T54" fmla="*/ 234 w 927"/>
                      <a:gd name="T55" fmla="*/ 616 h 721"/>
                      <a:gd name="T56" fmla="*/ 187 w 927"/>
                      <a:gd name="T57" fmla="*/ 602 h 721"/>
                      <a:gd name="T58" fmla="*/ 142 w 927"/>
                      <a:gd name="T59" fmla="*/ 646 h 721"/>
                      <a:gd name="T60" fmla="*/ 100 w 927"/>
                      <a:gd name="T61" fmla="*/ 721 h 721"/>
                      <a:gd name="T62" fmla="*/ 94 w 927"/>
                      <a:gd name="T63" fmla="*/ 697 h 721"/>
                      <a:gd name="T64" fmla="*/ 93 w 927"/>
                      <a:gd name="T65" fmla="*/ 661 h 721"/>
                      <a:gd name="T66" fmla="*/ 60 w 927"/>
                      <a:gd name="T67" fmla="*/ 635 h 721"/>
                      <a:gd name="T68" fmla="*/ 37 w 927"/>
                      <a:gd name="T69" fmla="*/ 592 h 721"/>
                      <a:gd name="T70" fmla="*/ 32 w 927"/>
                      <a:gd name="T71" fmla="*/ 563 h 721"/>
                      <a:gd name="T72" fmla="*/ 0 w 927"/>
                      <a:gd name="T73" fmla="*/ 521 h 721"/>
                      <a:gd name="T74" fmla="*/ 7 w 927"/>
                      <a:gd name="T75" fmla="*/ 497 h 721"/>
                      <a:gd name="T76" fmla="*/ 2 w 927"/>
                      <a:gd name="T77" fmla="*/ 462 h 721"/>
                      <a:gd name="T78" fmla="*/ 12 w 927"/>
                      <a:gd name="T79" fmla="*/ 400 h 721"/>
                      <a:gd name="T80" fmla="*/ 29 w 927"/>
                      <a:gd name="T81" fmla="*/ 385 h 721"/>
                      <a:gd name="T82" fmla="*/ 72 w 927"/>
                      <a:gd name="T83" fmla="*/ 302 h 721"/>
                      <a:gd name="T84" fmla="*/ 132 w 927"/>
                      <a:gd name="T85" fmla="*/ 296 h 721"/>
                      <a:gd name="T86" fmla="*/ 145 w 927"/>
                      <a:gd name="T87" fmla="*/ 275 h 721"/>
                      <a:gd name="T88" fmla="*/ 158 w 927"/>
                      <a:gd name="T89" fmla="*/ 277 h 721"/>
                      <a:gd name="T90" fmla="*/ 174 w 927"/>
                      <a:gd name="T91" fmla="*/ 295 h 721"/>
                      <a:gd name="T92" fmla="*/ 267 w 927"/>
                      <a:gd name="T93" fmla="*/ 265 h 721"/>
                      <a:gd name="T94" fmla="*/ 299 w 927"/>
                      <a:gd name="T95" fmla="*/ 232 h 721"/>
                      <a:gd name="T96" fmla="*/ 339 w 927"/>
                      <a:gd name="T97" fmla="*/ 203 h 721"/>
                      <a:gd name="T98" fmla="*/ 334 w 927"/>
                      <a:gd name="T99" fmla="*/ 176 h 721"/>
                      <a:gd name="T100" fmla="*/ 355 w 927"/>
                      <a:gd name="T101" fmla="*/ 168 h 721"/>
                      <a:gd name="T102" fmla="*/ 424 w 927"/>
                      <a:gd name="T103" fmla="*/ 173 h 721"/>
                      <a:gd name="T104" fmla="*/ 494 w 927"/>
                      <a:gd name="T105" fmla="*/ 135 h 721"/>
                      <a:gd name="T106" fmla="*/ 554 w 927"/>
                      <a:gd name="T107" fmla="*/ 47 h 721"/>
                      <a:gd name="T108" fmla="*/ 594 w 927"/>
                      <a:gd name="T109" fmla="*/ 13 h 721"/>
                      <a:gd name="T110" fmla="*/ 640 w 927"/>
                      <a:gd name="T111" fmla="*/ 0 h 721"/>
                      <a:gd name="T112" fmla="*/ 645 w 927"/>
                      <a:gd name="T113" fmla="*/ 35 h 721"/>
                      <a:gd name="T114" fmla="*/ 682 w 927"/>
                      <a:gd name="T115" fmla="*/ 86 h 721"/>
                      <a:gd name="T116" fmla="*/ 679 w 927"/>
                      <a:gd name="T117" fmla="*/ 118 h 721"/>
                      <a:gd name="T118" fmla="*/ 664 w 927"/>
                      <a:gd name="T119" fmla="*/ 152 h 721"/>
                      <a:gd name="T120" fmla="*/ 667 w 927"/>
                      <a:gd name="T121" fmla="*/ 177 h 721"/>
                      <a:gd name="T122" fmla="*/ 689 w 927"/>
                      <a:gd name="T123" fmla="*/ 201 h 721"/>
                      <a:gd name="T124" fmla="*/ 695 w 927"/>
                      <a:gd name="T125" fmla="*/ 205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7" h="721">
                        <a:moveTo>
                          <a:pt x="695" y="205"/>
                        </a:moveTo>
                        <a:lnTo>
                          <a:pt x="742" y="237"/>
                        </a:lnTo>
                        <a:lnTo>
                          <a:pt x="778" y="270"/>
                        </a:lnTo>
                        <a:lnTo>
                          <a:pt x="776" y="296"/>
                        </a:lnTo>
                        <a:lnTo>
                          <a:pt x="821" y="338"/>
                        </a:lnTo>
                        <a:lnTo>
                          <a:pt x="849" y="373"/>
                        </a:lnTo>
                        <a:lnTo>
                          <a:pt x="865" y="422"/>
                        </a:lnTo>
                        <a:lnTo>
                          <a:pt x="917" y="455"/>
                        </a:lnTo>
                        <a:lnTo>
                          <a:pt x="927" y="480"/>
                        </a:lnTo>
                        <a:lnTo>
                          <a:pt x="903" y="488"/>
                        </a:lnTo>
                        <a:lnTo>
                          <a:pt x="857" y="487"/>
                        </a:lnTo>
                        <a:lnTo>
                          <a:pt x="803" y="478"/>
                        </a:lnTo>
                        <a:lnTo>
                          <a:pt x="777" y="485"/>
                        </a:lnTo>
                        <a:lnTo>
                          <a:pt x="764" y="505"/>
                        </a:lnTo>
                        <a:lnTo>
                          <a:pt x="742" y="507"/>
                        </a:lnTo>
                        <a:lnTo>
                          <a:pt x="714" y="490"/>
                        </a:lnTo>
                        <a:lnTo>
                          <a:pt x="632" y="531"/>
                        </a:lnTo>
                        <a:lnTo>
                          <a:pt x="599" y="522"/>
                        </a:lnTo>
                        <a:lnTo>
                          <a:pt x="589" y="528"/>
                        </a:lnTo>
                        <a:lnTo>
                          <a:pt x="565" y="578"/>
                        </a:lnTo>
                        <a:lnTo>
                          <a:pt x="513" y="562"/>
                        </a:lnTo>
                        <a:lnTo>
                          <a:pt x="460" y="555"/>
                        </a:lnTo>
                        <a:lnTo>
                          <a:pt x="417" y="525"/>
                        </a:lnTo>
                        <a:lnTo>
                          <a:pt x="359" y="496"/>
                        </a:lnTo>
                        <a:lnTo>
                          <a:pt x="319" y="522"/>
                        </a:lnTo>
                        <a:lnTo>
                          <a:pt x="289" y="563"/>
                        </a:lnTo>
                        <a:lnTo>
                          <a:pt x="280" y="621"/>
                        </a:lnTo>
                        <a:lnTo>
                          <a:pt x="234" y="616"/>
                        </a:lnTo>
                        <a:lnTo>
                          <a:pt x="187" y="602"/>
                        </a:lnTo>
                        <a:lnTo>
                          <a:pt x="142" y="646"/>
                        </a:lnTo>
                        <a:lnTo>
                          <a:pt x="100" y="721"/>
                        </a:lnTo>
                        <a:lnTo>
                          <a:pt x="94" y="697"/>
                        </a:lnTo>
                        <a:lnTo>
                          <a:pt x="93" y="661"/>
                        </a:lnTo>
                        <a:lnTo>
                          <a:pt x="60" y="635"/>
                        </a:lnTo>
                        <a:lnTo>
                          <a:pt x="37" y="592"/>
                        </a:lnTo>
                        <a:lnTo>
                          <a:pt x="32" y="563"/>
                        </a:lnTo>
                        <a:lnTo>
                          <a:pt x="0" y="521"/>
                        </a:lnTo>
                        <a:lnTo>
                          <a:pt x="7" y="497"/>
                        </a:lnTo>
                        <a:lnTo>
                          <a:pt x="2" y="462"/>
                        </a:lnTo>
                        <a:lnTo>
                          <a:pt x="12" y="400"/>
                        </a:lnTo>
                        <a:lnTo>
                          <a:pt x="29" y="385"/>
                        </a:lnTo>
                        <a:lnTo>
                          <a:pt x="72" y="302"/>
                        </a:lnTo>
                        <a:lnTo>
                          <a:pt x="132" y="296"/>
                        </a:lnTo>
                        <a:lnTo>
                          <a:pt x="145" y="275"/>
                        </a:lnTo>
                        <a:lnTo>
                          <a:pt x="158" y="277"/>
                        </a:lnTo>
                        <a:lnTo>
                          <a:pt x="174" y="295"/>
                        </a:lnTo>
                        <a:lnTo>
                          <a:pt x="267" y="265"/>
                        </a:lnTo>
                        <a:lnTo>
                          <a:pt x="299" y="232"/>
                        </a:lnTo>
                        <a:lnTo>
                          <a:pt x="339" y="203"/>
                        </a:lnTo>
                        <a:lnTo>
                          <a:pt x="334" y="176"/>
                        </a:lnTo>
                        <a:lnTo>
                          <a:pt x="355" y="168"/>
                        </a:lnTo>
                        <a:lnTo>
                          <a:pt x="424" y="173"/>
                        </a:lnTo>
                        <a:lnTo>
                          <a:pt x="494" y="135"/>
                        </a:lnTo>
                        <a:lnTo>
                          <a:pt x="554" y="47"/>
                        </a:lnTo>
                        <a:lnTo>
                          <a:pt x="594" y="13"/>
                        </a:lnTo>
                        <a:lnTo>
                          <a:pt x="640" y="0"/>
                        </a:lnTo>
                        <a:lnTo>
                          <a:pt x="645" y="35"/>
                        </a:lnTo>
                        <a:lnTo>
                          <a:pt x="682" y="86"/>
                        </a:lnTo>
                        <a:lnTo>
                          <a:pt x="679" y="118"/>
                        </a:lnTo>
                        <a:lnTo>
                          <a:pt x="664" y="152"/>
                        </a:lnTo>
                        <a:lnTo>
                          <a:pt x="667" y="177"/>
                        </a:lnTo>
                        <a:lnTo>
                          <a:pt x="689" y="201"/>
                        </a:lnTo>
                        <a:lnTo>
                          <a:pt x="695" y="20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7" name="Canada" descr="{&quot;Key&quot;:&quot;canada&quot;,&quot;Name&quot;:&quot;Canada&quot;,&quot;Value&quot;:1.0,&quot;Formula&quot;:&quot;&quot;,&quot;Text&quot;:&quot;&quot;,&quot;OfficeApplication&quot;:1,&quot;HasValue&quot;:true}">
                    <a:extLst>
                      <a:ext uri="{FF2B5EF4-FFF2-40B4-BE49-F238E27FC236}">
                        <a16:creationId xmlns:a16="http://schemas.microsoft.com/office/drawing/2014/main" id="{73184452-94D2-273B-33CC-73A9A59EC83F}"/>
                      </a:ext>
                    </a:extLst>
                  </p:cNvPr>
                  <p:cNvSpPr>
                    <a:spLocks noEditPoints="1"/>
                  </p:cNvSpPr>
                  <p:nvPr/>
                </p:nvSpPr>
                <p:spPr bwMode="auto">
                  <a:xfrm>
                    <a:off x="4813" y="1022"/>
                    <a:ext cx="1791" cy="811"/>
                  </a:xfrm>
                  <a:custGeom>
                    <a:avLst/>
                    <a:gdLst>
                      <a:gd name="T0" fmla="*/ 5501 w 6424"/>
                      <a:gd name="T1" fmla="*/ 2284 h 2910"/>
                      <a:gd name="T2" fmla="*/ 1487 w 6424"/>
                      <a:gd name="T3" fmla="*/ 2213 h 2910"/>
                      <a:gd name="T4" fmla="*/ 6136 w 6424"/>
                      <a:gd name="T5" fmla="*/ 2328 h 2910"/>
                      <a:gd name="T6" fmla="*/ 6221 w 6424"/>
                      <a:gd name="T7" fmla="*/ 2518 h 2910"/>
                      <a:gd name="T8" fmla="*/ 5958 w 6424"/>
                      <a:gd name="T9" fmla="*/ 2170 h 2910"/>
                      <a:gd name="T10" fmla="*/ 3769 w 6424"/>
                      <a:gd name="T11" fmla="*/ 1348 h 2910"/>
                      <a:gd name="T12" fmla="*/ 3569 w 6424"/>
                      <a:gd name="T13" fmla="*/ 1293 h 2910"/>
                      <a:gd name="T14" fmla="*/ 3414 w 6424"/>
                      <a:gd name="T15" fmla="*/ 1207 h 2910"/>
                      <a:gd name="T16" fmla="*/ 3485 w 6424"/>
                      <a:gd name="T17" fmla="*/ 910 h 2910"/>
                      <a:gd name="T18" fmla="*/ 2303 w 6424"/>
                      <a:gd name="T19" fmla="*/ 815 h 2910"/>
                      <a:gd name="T20" fmla="*/ 5331 w 6424"/>
                      <a:gd name="T21" fmla="*/ 2650 h 2910"/>
                      <a:gd name="T22" fmla="*/ 4895 w 6424"/>
                      <a:gd name="T23" fmla="*/ 2779 h 2910"/>
                      <a:gd name="T24" fmla="*/ 4731 w 6424"/>
                      <a:gd name="T25" fmla="*/ 2904 h 2910"/>
                      <a:gd name="T26" fmla="*/ 4633 w 6424"/>
                      <a:gd name="T27" fmla="*/ 2583 h 2910"/>
                      <a:gd name="T28" fmla="*/ 4210 w 6424"/>
                      <a:gd name="T29" fmla="*/ 2387 h 2910"/>
                      <a:gd name="T30" fmla="*/ 3674 w 6424"/>
                      <a:gd name="T31" fmla="*/ 2365 h 2910"/>
                      <a:gd name="T32" fmla="*/ 1896 w 6424"/>
                      <a:gd name="T33" fmla="*/ 2353 h 2910"/>
                      <a:gd name="T34" fmla="*/ 1060 w 6424"/>
                      <a:gd name="T35" fmla="*/ 1767 h 2910"/>
                      <a:gd name="T36" fmla="*/ 0 w 6424"/>
                      <a:gd name="T37" fmla="*/ 813 h 2910"/>
                      <a:gd name="T38" fmla="*/ 801 w 6424"/>
                      <a:gd name="T39" fmla="*/ 828 h 2910"/>
                      <a:gd name="T40" fmla="*/ 1676 w 6424"/>
                      <a:gd name="T41" fmla="*/ 944 h 2910"/>
                      <a:gd name="T42" fmla="*/ 2333 w 6424"/>
                      <a:gd name="T43" fmla="*/ 945 h 2910"/>
                      <a:gd name="T44" fmla="*/ 2375 w 6424"/>
                      <a:gd name="T45" fmla="*/ 704 h 2910"/>
                      <a:gd name="T46" fmla="*/ 3026 w 6424"/>
                      <a:gd name="T47" fmla="*/ 817 h 2910"/>
                      <a:gd name="T48" fmla="*/ 3044 w 6424"/>
                      <a:gd name="T49" fmla="*/ 1212 h 2910"/>
                      <a:gd name="T50" fmla="*/ 3648 w 6424"/>
                      <a:gd name="T51" fmla="*/ 1773 h 2910"/>
                      <a:gd name="T52" fmla="*/ 4253 w 6424"/>
                      <a:gd name="T53" fmla="*/ 1910 h 2910"/>
                      <a:gd name="T54" fmla="*/ 4051 w 6424"/>
                      <a:gd name="T55" fmla="*/ 1327 h 2910"/>
                      <a:gd name="T56" fmla="*/ 5030 w 6424"/>
                      <a:gd name="T57" fmla="*/ 1644 h 2910"/>
                      <a:gd name="T58" fmla="*/ 5779 w 6424"/>
                      <a:gd name="T59" fmla="*/ 2190 h 2910"/>
                      <a:gd name="T60" fmla="*/ 5507 w 6424"/>
                      <a:gd name="T61" fmla="*/ 2334 h 2910"/>
                      <a:gd name="T62" fmla="*/ 5814 w 6424"/>
                      <a:gd name="T63" fmla="*/ 2787 h 2910"/>
                      <a:gd name="T64" fmla="*/ 1575 w 6424"/>
                      <a:gd name="T65" fmla="*/ 655 h 2910"/>
                      <a:gd name="T66" fmla="*/ 1954 w 6424"/>
                      <a:gd name="T67" fmla="*/ 868 h 2910"/>
                      <a:gd name="T68" fmla="*/ 1440 w 6424"/>
                      <a:gd name="T69" fmla="*/ 768 h 2910"/>
                      <a:gd name="T70" fmla="*/ 1644 w 6424"/>
                      <a:gd name="T71" fmla="*/ 609 h 2910"/>
                      <a:gd name="T72" fmla="*/ 2805 w 6424"/>
                      <a:gd name="T73" fmla="*/ 544 h 2910"/>
                      <a:gd name="T74" fmla="*/ 3327 w 6424"/>
                      <a:gd name="T75" fmla="*/ 704 h 2910"/>
                      <a:gd name="T76" fmla="*/ 4293 w 6424"/>
                      <a:gd name="T77" fmla="*/ 1112 h 2910"/>
                      <a:gd name="T78" fmla="*/ 4523 w 6424"/>
                      <a:gd name="T79" fmla="*/ 1364 h 2910"/>
                      <a:gd name="T80" fmla="*/ 3766 w 6424"/>
                      <a:gd name="T81" fmla="*/ 1084 h 2910"/>
                      <a:gd name="T82" fmla="*/ 2883 w 6424"/>
                      <a:gd name="T83" fmla="*/ 795 h 2910"/>
                      <a:gd name="T84" fmla="*/ 1968 w 6424"/>
                      <a:gd name="T85" fmla="*/ 544 h 2910"/>
                      <a:gd name="T86" fmla="*/ 2250 w 6424"/>
                      <a:gd name="T87" fmla="*/ 608 h 2910"/>
                      <a:gd name="T88" fmla="*/ 813 w 6424"/>
                      <a:gd name="T89" fmla="*/ 703 h 2910"/>
                      <a:gd name="T90" fmla="*/ 946 w 6424"/>
                      <a:gd name="T91" fmla="*/ 672 h 2910"/>
                      <a:gd name="T92" fmla="*/ 1834 w 6424"/>
                      <a:gd name="T93" fmla="*/ 464 h 2910"/>
                      <a:gd name="T94" fmla="*/ 1388 w 6424"/>
                      <a:gd name="T95" fmla="*/ 403 h 2910"/>
                      <a:gd name="T96" fmla="*/ 1182 w 6424"/>
                      <a:gd name="T97" fmla="*/ 430 h 2910"/>
                      <a:gd name="T98" fmla="*/ 2283 w 6424"/>
                      <a:gd name="T99" fmla="*/ 429 h 2910"/>
                      <a:gd name="T100" fmla="*/ 2124 w 6424"/>
                      <a:gd name="T101" fmla="*/ 475 h 2910"/>
                      <a:gd name="T102" fmla="*/ 648 w 6424"/>
                      <a:gd name="T103" fmla="*/ 408 h 2910"/>
                      <a:gd name="T104" fmla="*/ 1054 w 6424"/>
                      <a:gd name="T105" fmla="*/ 298 h 2910"/>
                      <a:gd name="T106" fmla="*/ 1009 w 6424"/>
                      <a:gd name="T107" fmla="*/ 244 h 2910"/>
                      <a:gd name="T108" fmla="*/ 1336 w 6424"/>
                      <a:gd name="T109" fmla="*/ 259 h 2910"/>
                      <a:gd name="T110" fmla="*/ 1799 w 6424"/>
                      <a:gd name="T111" fmla="*/ 259 h 2910"/>
                      <a:gd name="T112" fmla="*/ 1760 w 6424"/>
                      <a:gd name="T113" fmla="*/ 137 h 2910"/>
                      <a:gd name="T114" fmla="*/ 2633 w 6424"/>
                      <a:gd name="T115" fmla="*/ 130 h 2910"/>
                      <a:gd name="T116" fmla="*/ 2616 w 6424"/>
                      <a:gd name="T117" fmla="*/ 338 h 2910"/>
                      <a:gd name="T118" fmla="*/ 2021 w 6424"/>
                      <a:gd name="T119" fmla="*/ 258 h 2910"/>
                      <a:gd name="T120" fmla="*/ 1584 w 6424"/>
                      <a:gd name="T121" fmla="*/ 82 h 2910"/>
                      <a:gd name="T122" fmla="*/ 2226 w 6424"/>
                      <a:gd name="T123" fmla="*/ 0 h 2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4" h="2910">
                        <a:moveTo>
                          <a:pt x="5755" y="2547"/>
                        </a:moveTo>
                        <a:lnTo>
                          <a:pt x="5809" y="2558"/>
                        </a:lnTo>
                        <a:lnTo>
                          <a:pt x="5866" y="2555"/>
                        </a:lnTo>
                        <a:lnTo>
                          <a:pt x="5859" y="2588"/>
                        </a:lnTo>
                        <a:lnTo>
                          <a:pt x="5839" y="2593"/>
                        </a:lnTo>
                        <a:lnTo>
                          <a:pt x="5734" y="2559"/>
                        </a:lnTo>
                        <a:lnTo>
                          <a:pt x="5699" y="2533"/>
                        </a:lnTo>
                        <a:lnTo>
                          <a:pt x="5705" y="2508"/>
                        </a:lnTo>
                        <a:lnTo>
                          <a:pt x="5755" y="2547"/>
                        </a:lnTo>
                        <a:close/>
                        <a:moveTo>
                          <a:pt x="5719" y="2344"/>
                        </a:moveTo>
                        <a:lnTo>
                          <a:pt x="5690" y="2345"/>
                        </a:lnTo>
                        <a:lnTo>
                          <a:pt x="5589" y="2322"/>
                        </a:lnTo>
                        <a:lnTo>
                          <a:pt x="5501" y="2284"/>
                        </a:lnTo>
                        <a:lnTo>
                          <a:pt x="5518" y="2278"/>
                        </a:lnTo>
                        <a:lnTo>
                          <a:pt x="5615" y="2297"/>
                        </a:lnTo>
                        <a:lnTo>
                          <a:pt x="5705" y="2330"/>
                        </a:lnTo>
                        <a:lnTo>
                          <a:pt x="5719" y="2344"/>
                        </a:lnTo>
                        <a:close/>
                        <a:moveTo>
                          <a:pt x="1873" y="2392"/>
                        </a:moveTo>
                        <a:lnTo>
                          <a:pt x="1845" y="2403"/>
                        </a:lnTo>
                        <a:lnTo>
                          <a:pt x="1726" y="2367"/>
                        </a:lnTo>
                        <a:lnTo>
                          <a:pt x="1695" y="2338"/>
                        </a:lnTo>
                        <a:lnTo>
                          <a:pt x="1626" y="2310"/>
                        </a:lnTo>
                        <a:lnTo>
                          <a:pt x="1605" y="2288"/>
                        </a:lnTo>
                        <a:lnTo>
                          <a:pt x="1534" y="2274"/>
                        </a:lnTo>
                        <a:lnTo>
                          <a:pt x="1490" y="2232"/>
                        </a:lnTo>
                        <a:lnTo>
                          <a:pt x="1487" y="2213"/>
                        </a:lnTo>
                        <a:lnTo>
                          <a:pt x="1560" y="2230"/>
                        </a:lnTo>
                        <a:lnTo>
                          <a:pt x="1604" y="2243"/>
                        </a:lnTo>
                        <a:lnTo>
                          <a:pt x="1666" y="2250"/>
                        </a:lnTo>
                        <a:lnTo>
                          <a:pt x="1700" y="2278"/>
                        </a:lnTo>
                        <a:lnTo>
                          <a:pt x="1749" y="2315"/>
                        </a:lnTo>
                        <a:lnTo>
                          <a:pt x="1826" y="2348"/>
                        </a:lnTo>
                        <a:lnTo>
                          <a:pt x="1873" y="2392"/>
                        </a:lnTo>
                        <a:close/>
                        <a:moveTo>
                          <a:pt x="5969" y="2220"/>
                        </a:moveTo>
                        <a:lnTo>
                          <a:pt x="5986" y="2289"/>
                        </a:lnTo>
                        <a:lnTo>
                          <a:pt x="6005" y="2262"/>
                        </a:lnTo>
                        <a:lnTo>
                          <a:pt x="6061" y="2279"/>
                        </a:lnTo>
                        <a:lnTo>
                          <a:pt x="6063" y="2307"/>
                        </a:lnTo>
                        <a:lnTo>
                          <a:pt x="6136" y="2328"/>
                        </a:lnTo>
                        <a:lnTo>
                          <a:pt x="6149" y="2309"/>
                        </a:lnTo>
                        <a:lnTo>
                          <a:pt x="6231" y="2333"/>
                        </a:lnTo>
                        <a:lnTo>
                          <a:pt x="6260" y="2390"/>
                        </a:lnTo>
                        <a:lnTo>
                          <a:pt x="6294" y="2378"/>
                        </a:lnTo>
                        <a:lnTo>
                          <a:pt x="6336" y="2419"/>
                        </a:lnTo>
                        <a:lnTo>
                          <a:pt x="6395" y="2469"/>
                        </a:lnTo>
                        <a:lnTo>
                          <a:pt x="6424" y="2539"/>
                        </a:lnTo>
                        <a:lnTo>
                          <a:pt x="6398" y="2542"/>
                        </a:lnTo>
                        <a:lnTo>
                          <a:pt x="6344" y="2527"/>
                        </a:lnTo>
                        <a:lnTo>
                          <a:pt x="6306" y="2462"/>
                        </a:lnTo>
                        <a:lnTo>
                          <a:pt x="6281" y="2452"/>
                        </a:lnTo>
                        <a:lnTo>
                          <a:pt x="6261" y="2520"/>
                        </a:lnTo>
                        <a:lnTo>
                          <a:pt x="6221" y="2518"/>
                        </a:lnTo>
                        <a:lnTo>
                          <a:pt x="6238" y="2480"/>
                        </a:lnTo>
                        <a:lnTo>
                          <a:pt x="6161" y="2460"/>
                        </a:lnTo>
                        <a:lnTo>
                          <a:pt x="6096" y="2465"/>
                        </a:lnTo>
                        <a:lnTo>
                          <a:pt x="5973" y="2463"/>
                        </a:lnTo>
                        <a:lnTo>
                          <a:pt x="5944" y="2439"/>
                        </a:lnTo>
                        <a:lnTo>
                          <a:pt x="5961" y="2412"/>
                        </a:lnTo>
                        <a:lnTo>
                          <a:pt x="5918" y="2390"/>
                        </a:lnTo>
                        <a:lnTo>
                          <a:pt x="5931" y="2343"/>
                        </a:lnTo>
                        <a:lnTo>
                          <a:pt x="5890" y="2218"/>
                        </a:lnTo>
                        <a:lnTo>
                          <a:pt x="5889" y="2173"/>
                        </a:lnTo>
                        <a:lnTo>
                          <a:pt x="5919" y="2147"/>
                        </a:lnTo>
                        <a:lnTo>
                          <a:pt x="5950" y="2149"/>
                        </a:lnTo>
                        <a:lnTo>
                          <a:pt x="5958" y="2170"/>
                        </a:lnTo>
                        <a:lnTo>
                          <a:pt x="5969" y="2220"/>
                        </a:lnTo>
                        <a:close/>
                        <a:moveTo>
                          <a:pt x="1065" y="1949"/>
                        </a:moveTo>
                        <a:lnTo>
                          <a:pt x="1099" y="1959"/>
                        </a:lnTo>
                        <a:lnTo>
                          <a:pt x="1153" y="1953"/>
                        </a:lnTo>
                        <a:lnTo>
                          <a:pt x="1178" y="2040"/>
                        </a:lnTo>
                        <a:lnTo>
                          <a:pt x="1261" y="2103"/>
                        </a:lnTo>
                        <a:lnTo>
                          <a:pt x="1236" y="2103"/>
                        </a:lnTo>
                        <a:lnTo>
                          <a:pt x="1183" y="2068"/>
                        </a:lnTo>
                        <a:lnTo>
                          <a:pt x="1144" y="2032"/>
                        </a:lnTo>
                        <a:lnTo>
                          <a:pt x="1101" y="2008"/>
                        </a:lnTo>
                        <a:lnTo>
                          <a:pt x="1074" y="1974"/>
                        </a:lnTo>
                        <a:lnTo>
                          <a:pt x="1065" y="1949"/>
                        </a:lnTo>
                        <a:close/>
                        <a:moveTo>
                          <a:pt x="3769" y="1348"/>
                        </a:moveTo>
                        <a:lnTo>
                          <a:pt x="3785" y="1387"/>
                        </a:lnTo>
                        <a:lnTo>
                          <a:pt x="3754" y="1380"/>
                        </a:lnTo>
                        <a:lnTo>
                          <a:pt x="3717" y="1358"/>
                        </a:lnTo>
                        <a:lnTo>
                          <a:pt x="3715" y="1353"/>
                        </a:lnTo>
                        <a:lnTo>
                          <a:pt x="3715" y="1330"/>
                        </a:lnTo>
                        <a:lnTo>
                          <a:pt x="3739" y="1333"/>
                        </a:lnTo>
                        <a:lnTo>
                          <a:pt x="3769" y="1348"/>
                        </a:lnTo>
                        <a:close/>
                        <a:moveTo>
                          <a:pt x="3581" y="1307"/>
                        </a:moveTo>
                        <a:lnTo>
                          <a:pt x="3555" y="1348"/>
                        </a:lnTo>
                        <a:lnTo>
                          <a:pt x="3514" y="1345"/>
                        </a:lnTo>
                        <a:lnTo>
                          <a:pt x="3483" y="1327"/>
                        </a:lnTo>
                        <a:lnTo>
                          <a:pt x="3491" y="1293"/>
                        </a:lnTo>
                        <a:lnTo>
                          <a:pt x="3569" y="1293"/>
                        </a:lnTo>
                        <a:lnTo>
                          <a:pt x="3581" y="1307"/>
                        </a:lnTo>
                        <a:close/>
                        <a:moveTo>
                          <a:pt x="3190" y="1095"/>
                        </a:moveTo>
                        <a:lnTo>
                          <a:pt x="3231" y="1127"/>
                        </a:lnTo>
                        <a:lnTo>
                          <a:pt x="3249" y="1115"/>
                        </a:lnTo>
                        <a:lnTo>
                          <a:pt x="3299" y="1134"/>
                        </a:lnTo>
                        <a:lnTo>
                          <a:pt x="3384" y="1159"/>
                        </a:lnTo>
                        <a:lnTo>
                          <a:pt x="3469" y="1180"/>
                        </a:lnTo>
                        <a:lnTo>
                          <a:pt x="3509" y="1215"/>
                        </a:lnTo>
                        <a:lnTo>
                          <a:pt x="3544" y="1209"/>
                        </a:lnTo>
                        <a:lnTo>
                          <a:pt x="3608" y="1233"/>
                        </a:lnTo>
                        <a:lnTo>
                          <a:pt x="3581" y="1257"/>
                        </a:lnTo>
                        <a:lnTo>
                          <a:pt x="3478" y="1239"/>
                        </a:lnTo>
                        <a:lnTo>
                          <a:pt x="3414" y="1207"/>
                        </a:lnTo>
                        <a:lnTo>
                          <a:pt x="3398" y="1245"/>
                        </a:lnTo>
                        <a:lnTo>
                          <a:pt x="3355" y="1283"/>
                        </a:lnTo>
                        <a:lnTo>
                          <a:pt x="3295" y="1240"/>
                        </a:lnTo>
                        <a:lnTo>
                          <a:pt x="3226" y="1247"/>
                        </a:lnTo>
                        <a:lnTo>
                          <a:pt x="3240" y="1212"/>
                        </a:lnTo>
                        <a:lnTo>
                          <a:pt x="3191" y="1154"/>
                        </a:lnTo>
                        <a:lnTo>
                          <a:pt x="3145" y="1089"/>
                        </a:lnTo>
                        <a:lnTo>
                          <a:pt x="3190" y="1095"/>
                        </a:lnTo>
                        <a:close/>
                        <a:moveTo>
                          <a:pt x="3576" y="989"/>
                        </a:moveTo>
                        <a:lnTo>
                          <a:pt x="3521" y="993"/>
                        </a:lnTo>
                        <a:lnTo>
                          <a:pt x="3470" y="959"/>
                        </a:lnTo>
                        <a:lnTo>
                          <a:pt x="3448" y="920"/>
                        </a:lnTo>
                        <a:lnTo>
                          <a:pt x="3485" y="910"/>
                        </a:lnTo>
                        <a:lnTo>
                          <a:pt x="3549" y="929"/>
                        </a:lnTo>
                        <a:lnTo>
                          <a:pt x="3584" y="959"/>
                        </a:lnTo>
                        <a:lnTo>
                          <a:pt x="3588" y="969"/>
                        </a:lnTo>
                        <a:lnTo>
                          <a:pt x="3576" y="989"/>
                        </a:lnTo>
                        <a:close/>
                        <a:moveTo>
                          <a:pt x="2390" y="854"/>
                        </a:moveTo>
                        <a:lnTo>
                          <a:pt x="2381" y="878"/>
                        </a:lnTo>
                        <a:lnTo>
                          <a:pt x="2290" y="857"/>
                        </a:lnTo>
                        <a:lnTo>
                          <a:pt x="2255" y="864"/>
                        </a:lnTo>
                        <a:lnTo>
                          <a:pt x="2154" y="834"/>
                        </a:lnTo>
                        <a:lnTo>
                          <a:pt x="2179" y="813"/>
                        </a:lnTo>
                        <a:lnTo>
                          <a:pt x="2185" y="783"/>
                        </a:lnTo>
                        <a:lnTo>
                          <a:pt x="2259" y="803"/>
                        </a:lnTo>
                        <a:lnTo>
                          <a:pt x="2303" y="815"/>
                        </a:lnTo>
                        <a:lnTo>
                          <a:pt x="2331" y="828"/>
                        </a:lnTo>
                        <a:lnTo>
                          <a:pt x="2390" y="854"/>
                        </a:lnTo>
                        <a:close/>
                        <a:moveTo>
                          <a:pt x="5613" y="2659"/>
                        </a:moveTo>
                        <a:lnTo>
                          <a:pt x="5539" y="2614"/>
                        </a:lnTo>
                        <a:lnTo>
                          <a:pt x="5463" y="2505"/>
                        </a:lnTo>
                        <a:lnTo>
                          <a:pt x="5419" y="2483"/>
                        </a:lnTo>
                        <a:lnTo>
                          <a:pt x="5385" y="2497"/>
                        </a:lnTo>
                        <a:lnTo>
                          <a:pt x="5350" y="2475"/>
                        </a:lnTo>
                        <a:lnTo>
                          <a:pt x="5344" y="2535"/>
                        </a:lnTo>
                        <a:lnTo>
                          <a:pt x="5366" y="2598"/>
                        </a:lnTo>
                        <a:lnTo>
                          <a:pt x="5369" y="2634"/>
                        </a:lnTo>
                        <a:lnTo>
                          <a:pt x="5350" y="2647"/>
                        </a:lnTo>
                        <a:lnTo>
                          <a:pt x="5331" y="2650"/>
                        </a:lnTo>
                        <a:lnTo>
                          <a:pt x="5339" y="2670"/>
                        </a:lnTo>
                        <a:lnTo>
                          <a:pt x="5220" y="2670"/>
                        </a:lnTo>
                        <a:lnTo>
                          <a:pt x="5123" y="2670"/>
                        </a:lnTo>
                        <a:lnTo>
                          <a:pt x="5103" y="2685"/>
                        </a:lnTo>
                        <a:lnTo>
                          <a:pt x="5073" y="2740"/>
                        </a:lnTo>
                        <a:lnTo>
                          <a:pt x="5071" y="2739"/>
                        </a:lnTo>
                        <a:lnTo>
                          <a:pt x="5054" y="2734"/>
                        </a:lnTo>
                        <a:lnTo>
                          <a:pt x="5040" y="2745"/>
                        </a:lnTo>
                        <a:lnTo>
                          <a:pt x="5034" y="2763"/>
                        </a:lnTo>
                        <a:lnTo>
                          <a:pt x="4995" y="2748"/>
                        </a:lnTo>
                        <a:lnTo>
                          <a:pt x="4948" y="2758"/>
                        </a:lnTo>
                        <a:lnTo>
                          <a:pt x="4909" y="2770"/>
                        </a:lnTo>
                        <a:lnTo>
                          <a:pt x="4895" y="2779"/>
                        </a:lnTo>
                        <a:lnTo>
                          <a:pt x="4893" y="2807"/>
                        </a:lnTo>
                        <a:lnTo>
                          <a:pt x="4923" y="2814"/>
                        </a:lnTo>
                        <a:lnTo>
                          <a:pt x="4940" y="2810"/>
                        </a:lnTo>
                        <a:lnTo>
                          <a:pt x="4943" y="2809"/>
                        </a:lnTo>
                        <a:lnTo>
                          <a:pt x="4963" y="2834"/>
                        </a:lnTo>
                        <a:lnTo>
                          <a:pt x="4913" y="2843"/>
                        </a:lnTo>
                        <a:lnTo>
                          <a:pt x="4886" y="2854"/>
                        </a:lnTo>
                        <a:lnTo>
                          <a:pt x="4876" y="2867"/>
                        </a:lnTo>
                        <a:lnTo>
                          <a:pt x="4836" y="2858"/>
                        </a:lnTo>
                        <a:lnTo>
                          <a:pt x="4819" y="2862"/>
                        </a:lnTo>
                        <a:lnTo>
                          <a:pt x="4804" y="2884"/>
                        </a:lnTo>
                        <a:lnTo>
                          <a:pt x="4770" y="2910"/>
                        </a:lnTo>
                        <a:lnTo>
                          <a:pt x="4731" y="2904"/>
                        </a:lnTo>
                        <a:lnTo>
                          <a:pt x="4729" y="2877"/>
                        </a:lnTo>
                        <a:lnTo>
                          <a:pt x="4734" y="2833"/>
                        </a:lnTo>
                        <a:lnTo>
                          <a:pt x="4760" y="2805"/>
                        </a:lnTo>
                        <a:lnTo>
                          <a:pt x="4753" y="2783"/>
                        </a:lnTo>
                        <a:lnTo>
                          <a:pt x="4725" y="2745"/>
                        </a:lnTo>
                        <a:lnTo>
                          <a:pt x="4729" y="2700"/>
                        </a:lnTo>
                        <a:lnTo>
                          <a:pt x="4690" y="2650"/>
                        </a:lnTo>
                        <a:lnTo>
                          <a:pt x="4753" y="2700"/>
                        </a:lnTo>
                        <a:lnTo>
                          <a:pt x="4813" y="2710"/>
                        </a:lnTo>
                        <a:lnTo>
                          <a:pt x="4816" y="2684"/>
                        </a:lnTo>
                        <a:lnTo>
                          <a:pt x="4736" y="2623"/>
                        </a:lnTo>
                        <a:lnTo>
                          <a:pt x="4700" y="2598"/>
                        </a:lnTo>
                        <a:lnTo>
                          <a:pt x="4633" y="2583"/>
                        </a:lnTo>
                        <a:lnTo>
                          <a:pt x="4576" y="2575"/>
                        </a:lnTo>
                        <a:lnTo>
                          <a:pt x="4526" y="2574"/>
                        </a:lnTo>
                        <a:lnTo>
                          <a:pt x="4473" y="2564"/>
                        </a:lnTo>
                        <a:lnTo>
                          <a:pt x="4449" y="2547"/>
                        </a:lnTo>
                        <a:lnTo>
                          <a:pt x="4445" y="2558"/>
                        </a:lnTo>
                        <a:lnTo>
                          <a:pt x="4426" y="2555"/>
                        </a:lnTo>
                        <a:lnTo>
                          <a:pt x="4423" y="2529"/>
                        </a:lnTo>
                        <a:lnTo>
                          <a:pt x="4390" y="2519"/>
                        </a:lnTo>
                        <a:lnTo>
                          <a:pt x="4381" y="2489"/>
                        </a:lnTo>
                        <a:lnTo>
                          <a:pt x="4341" y="2465"/>
                        </a:lnTo>
                        <a:lnTo>
                          <a:pt x="4338" y="2443"/>
                        </a:lnTo>
                        <a:lnTo>
                          <a:pt x="4260" y="2430"/>
                        </a:lnTo>
                        <a:lnTo>
                          <a:pt x="4210" y="2387"/>
                        </a:lnTo>
                        <a:lnTo>
                          <a:pt x="4188" y="2375"/>
                        </a:lnTo>
                        <a:lnTo>
                          <a:pt x="4143" y="2374"/>
                        </a:lnTo>
                        <a:lnTo>
                          <a:pt x="4074" y="2358"/>
                        </a:lnTo>
                        <a:lnTo>
                          <a:pt x="4066" y="2368"/>
                        </a:lnTo>
                        <a:lnTo>
                          <a:pt x="4065" y="2388"/>
                        </a:lnTo>
                        <a:lnTo>
                          <a:pt x="4038" y="2399"/>
                        </a:lnTo>
                        <a:lnTo>
                          <a:pt x="4031" y="2430"/>
                        </a:lnTo>
                        <a:lnTo>
                          <a:pt x="3941" y="2410"/>
                        </a:lnTo>
                        <a:lnTo>
                          <a:pt x="3896" y="2420"/>
                        </a:lnTo>
                        <a:lnTo>
                          <a:pt x="3820" y="2397"/>
                        </a:lnTo>
                        <a:lnTo>
                          <a:pt x="3748" y="2384"/>
                        </a:lnTo>
                        <a:lnTo>
                          <a:pt x="3701" y="2379"/>
                        </a:lnTo>
                        <a:lnTo>
                          <a:pt x="3674" y="2365"/>
                        </a:lnTo>
                        <a:lnTo>
                          <a:pt x="3635" y="2322"/>
                        </a:lnTo>
                        <a:lnTo>
                          <a:pt x="3615" y="2323"/>
                        </a:lnTo>
                        <a:lnTo>
                          <a:pt x="3633" y="2353"/>
                        </a:lnTo>
                        <a:lnTo>
                          <a:pt x="3504" y="2353"/>
                        </a:lnTo>
                        <a:lnTo>
                          <a:pt x="3289" y="2353"/>
                        </a:lnTo>
                        <a:lnTo>
                          <a:pt x="3075" y="2353"/>
                        </a:lnTo>
                        <a:lnTo>
                          <a:pt x="2888" y="2353"/>
                        </a:lnTo>
                        <a:lnTo>
                          <a:pt x="2699" y="2353"/>
                        </a:lnTo>
                        <a:lnTo>
                          <a:pt x="2514" y="2353"/>
                        </a:lnTo>
                        <a:lnTo>
                          <a:pt x="2323" y="2353"/>
                        </a:lnTo>
                        <a:lnTo>
                          <a:pt x="2261" y="2353"/>
                        </a:lnTo>
                        <a:lnTo>
                          <a:pt x="2075" y="2353"/>
                        </a:lnTo>
                        <a:lnTo>
                          <a:pt x="1896" y="2353"/>
                        </a:lnTo>
                        <a:lnTo>
                          <a:pt x="1888" y="2353"/>
                        </a:lnTo>
                        <a:lnTo>
                          <a:pt x="1730" y="2275"/>
                        </a:lnTo>
                        <a:lnTo>
                          <a:pt x="1670" y="2242"/>
                        </a:lnTo>
                        <a:lnTo>
                          <a:pt x="1543" y="2209"/>
                        </a:lnTo>
                        <a:lnTo>
                          <a:pt x="1475" y="2139"/>
                        </a:lnTo>
                        <a:lnTo>
                          <a:pt x="1460" y="2092"/>
                        </a:lnTo>
                        <a:lnTo>
                          <a:pt x="1365" y="2059"/>
                        </a:lnTo>
                        <a:lnTo>
                          <a:pt x="1323" y="1997"/>
                        </a:lnTo>
                        <a:lnTo>
                          <a:pt x="1221" y="1940"/>
                        </a:lnTo>
                        <a:lnTo>
                          <a:pt x="1200" y="1900"/>
                        </a:lnTo>
                        <a:lnTo>
                          <a:pt x="1214" y="1863"/>
                        </a:lnTo>
                        <a:lnTo>
                          <a:pt x="1186" y="1815"/>
                        </a:lnTo>
                        <a:lnTo>
                          <a:pt x="1060" y="1767"/>
                        </a:lnTo>
                        <a:lnTo>
                          <a:pt x="954" y="1680"/>
                        </a:lnTo>
                        <a:lnTo>
                          <a:pt x="888" y="1625"/>
                        </a:lnTo>
                        <a:lnTo>
                          <a:pt x="816" y="1592"/>
                        </a:lnTo>
                        <a:lnTo>
                          <a:pt x="761" y="1562"/>
                        </a:lnTo>
                        <a:lnTo>
                          <a:pt x="709" y="1523"/>
                        </a:lnTo>
                        <a:lnTo>
                          <a:pt x="665" y="1547"/>
                        </a:lnTo>
                        <a:lnTo>
                          <a:pt x="630" y="1589"/>
                        </a:lnTo>
                        <a:lnTo>
                          <a:pt x="554" y="1539"/>
                        </a:lnTo>
                        <a:lnTo>
                          <a:pt x="496" y="1507"/>
                        </a:lnTo>
                        <a:lnTo>
                          <a:pt x="430" y="1487"/>
                        </a:lnTo>
                        <a:lnTo>
                          <a:pt x="373" y="1484"/>
                        </a:lnTo>
                        <a:lnTo>
                          <a:pt x="153" y="1070"/>
                        </a:lnTo>
                        <a:lnTo>
                          <a:pt x="0" y="813"/>
                        </a:lnTo>
                        <a:lnTo>
                          <a:pt x="108" y="829"/>
                        </a:lnTo>
                        <a:lnTo>
                          <a:pt x="210" y="862"/>
                        </a:lnTo>
                        <a:lnTo>
                          <a:pt x="269" y="868"/>
                        </a:lnTo>
                        <a:lnTo>
                          <a:pt x="296" y="839"/>
                        </a:lnTo>
                        <a:lnTo>
                          <a:pt x="345" y="818"/>
                        </a:lnTo>
                        <a:lnTo>
                          <a:pt x="428" y="827"/>
                        </a:lnTo>
                        <a:lnTo>
                          <a:pt x="484" y="797"/>
                        </a:lnTo>
                        <a:lnTo>
                          <a:pt x="556" y="780"/>
                        </a:lnTo>
                        <a:lnTo>
                          <a:pt x="613" y="808"/>
                        </a:lnTo>
                        <a:lnTo>
                          <a:pt x="639" y="792"/>
                        </a:lnTo>
                        <a:lnTo>
                          <a:pt x="628" y="760"/>
                        </a:lnTo>
                        <a:lnTo>
                          <a:pt x="668" y="768"/>
                        </a:lnTo>
                        <a:lnTo>
                          <a:pt x="801" y="828"/>
                        </a:lnTo>
                        <a:lnTo>
                          <a:pt x="835" y="783"/>
                        </a:lnTo>
                        <a:lnTo>
                          <a:pt x="881" y="834"/>
                        </a:lnTo>
                        <a:lnTo>
                          <a:pt x="936" y="823"/>
                        </a:lnTo>
                        <a:lnTo>
                          <a:pt x="940" y="803"/>
                        </a:lnTo>
                        <a:lnTo>
                          <a:pt x="1006" y="807"/>
                        </a:lnTo>
                        <a:lnTo>
                          <a:pt x="1109" y="835"/>
                        </a:lnTo>
                        <a:lnTo>
                          <a:pt x="1250" y="860"/>
                        </a:lnTo>
                        <a:lnTo>
                          <a:pt x="1331" y="872"/>
                        </a:lnTo>
                        <a:lnTo>
                          <a:pt x="1379" y="868"/>
                        </a:lnTo>
                        <a:lnTo>
                          <a:pt x="1479" y="903"/>
                        </a:lnTo>
                        <a:lnTo>
                          <a:pt x="1433" y="937"/>
                        </a:lnTo>
                        <a:lnTo>
                          <a:pt x="1540" y="952"/>
                        </a:lnTo>
                        <a:lnTo>
                          <a:pt x="1676" y="944"/>
                        </a:lnTo>
                        <a:lnTo>
                          <a:pt x="1711" y="932"/>
                        </a:lnTo>
                        <a:lnTo>
                          <a:pt x="1804" y="973"/>
                        </a:lnTo>
                        <a:lnTo>
                          <a:pt x="1831" y="938"/>
                        </a:lnTo>
                        <a:lnTo>
                          <a:pt x="1751" y="909"/>
                        </a:lnTo>
                        <a:lnTo>
                          <a:pt x="1765" y="885"/>
                        </a:lnTo>
                        <a:lnTo>
                          <a:pt x="1825" y="882"/>
                        </a:lnTo>
                        <a:lnTo>
                          <a:pt x="1861" y="875"/>
                        </a:lnTo>
                        <a:lnTo>
                          <a:pt x="1919" y="892"/>
                        </a:lnTo>
                        <a:lnTo>
                          <a:pt x="2005" y="929"/>
                        </a:lnTo>
                        <a:lnTo>
                          <a:pt x="2059" y="924"/>
                        </a:lnTo>
                        <a:lnTo>
                          <a:pt x="2181" y="955"/>
                        </a:lnTo>
                        <a:lnTo>
                          <a:pt x="2254" y="944"/>
                        </a:lnTo>
                        <a:lnTo>
                          <a:pt x="2333" y="945"/>
                        </a:lnTo>
                        <a:lnTo>
                          <a:pt x="2285" y="903"/>
                        </a:lnTo>
                        <a:lnTo>
                          <a:pt x="2320" y="890"/>
                        </a:lnTo>
                        <a:lnTo>
                          <a:pt x="2424" y="914"/>
                        </a:lnTo>
                        <a:lnTo>
                          <a:pt x="2488" y="979"/>
                        </a:lnTo>
                        <a:lnTo>
                          <a:pt x="2468" y="924"/>
                        </a:lnTo>
                        <a:lnTo>
                          <a:pt x="2511" y="925"/>
                        </a:lnTo>
                        <a:lnTo>
                          <a:pt x="2466" y="857"/>
                        </a:lnTo>
                        <a:lnTo>
                          <a:pt x="2368" y="814"/>
                        </a:lnTo>
                        <a:lnTo>
                          <a:pt x="2279" y="787"/>
                        </a:lnTo>
                        <a:lnTo>
                          <a:pt x="2205" y="713"/>
                        </a:lnTo>
                        <a:lnTo>
                          <a:pt x="2213" y="664"/>
                        </a:lnTo>
                        <a:lnTo>
                          <a:pt x="2291" y="675"/>
                        </a:lnTo>
                        <a:lnTo>
                          <a:pt x="2375" y="704"/>
                        </a:lnTo>
                        <a:lnTo>
                          <a:pt x="2526" y="780"/>
                        </a:lnTo>
                        <a:lnTo>
                          <a:pt x="2516" y="813"/>
                        </a:lnTo>
                        <a:lnTo>
                          <a:pt x="2628" y="828"/>
                        </a:lnTo>
                        <a:lnTo>
                          <a:pt x="2700" y="898"/>
                        </a:lnTo>
                        <a:lnTo>
                          <a:pt x="2714" y="844"/>
                        </a:lnTo>
                        <a:lnTo>
                          <a:pt x="2824" y="888"/>
                        </a:lnTo>
                        <a:lnTo>
                          <a:pt x="2861" y="939"/>
                        </a:lnTo>
                        <a:lnTo>
                          <a:pt x="2961" y="987"/>
                        </a:lnTo>
                        <a:lnTo>
                          <a:pt x="2964" y="935"/>
                        </a:lnTo>
                        <a:lnTo>
                          <a:pt x="2939" y="877"/>
                        </a:lnTo>
                        <a:lnTo>
                          <a:pt x="2859" y="802"/>
                        </a:lnTo>
                        <a:lnTo>
                          <a:pt x="2939" y="807"/>
                        </a:lnTo>
                        <a:lnTo>
                          <a:pt x="3026" y="817"/>
                        </a:lnTo>
                        <a:lnTo>
                          <a:pt x="3134" y="850"/>
                        </a:lnTo>
                        <a:lnTo>
                          <a:pt x="3176" y="884"/>
                        </a:lnTo>
                        <a:lnTo>
                          <a:pt x="3178" y="922"/>
                        </a:lnTo>
                        <a:lnTo>
                          <a:pt x="3255" y="958"/>
                        </a:lnTo>
                        <a:lnTo>
                          <a:pt x="3285" y="993"/>
                        </a:lnTo>
                        <a:lnTo>
                          <a:pt x="3233" y="1042"/>
                        </a:lnTo>
                        <a:lnTo>
                          <a:pt x="3169" y="1053"/>
                        </a:lnTo>
                        <a:lnTo>
                          <a:pt x="3093" y="1032"/>
                        </a:lnTo>
                        <a:lnTo>
                          <a:pt x="3113" y="1067"/>
                        </a:lnTo>
                        <a:lnTo>
                          <a:pt x="3120" y="1127"/>
                        </a:lnTo>
                        <a:lnTo>
                          <a:pt x="3135" y="1158"/>
                        </a:lnTo>
                        <a:lnTo>
                          <a:pt x="3119" y="1207"/>
                        </a:lnTo>
                        <a:lnTo>
                          <a:pt x="3044" y="1212"/>
                        </a:lnTo>
                        <a:lnTo>
                          <a:pt x="3029" y="1242"/>
                        </a:lnTo>
                        <a:lnTo>
                          <a:pt x="3069" y="1289"/>
                        </a:lnTo>
                        <a:lnTo>
                          <a:pt x="3013" y="1298"/>
                        </a:lnTo>
                        <a:lnTo>
                          <a:pt x="2998" y="1358"/>
                        </a:lnTo>
                        <a:lnTo>
                          <a:pt x="3009" y="1440"/>
                        </a:lnTo>
                        <a:lnTo>
                          <a:pt x="3036" y="1499"/>
                        </a:lnTo>
                        <a:lnTo>
                          <a:pt x="3105" y="1585"/>
                        </a:lnTo>
                        <a:lnTo>
                          <a:pt x="3200" y="1598"/>
                        </a:lnTo>
                        <a:lnTo>
                          <a:pt x="3285" y="1668"/>
                        </a:lnTo>
                        <a:lnTo>
                          <a:pt x="3359" y="1725"/>
                        </a:lnTo>
                        <a:lnTo>
                          <a:pt x="3429" y="1710"/>
                        </a:lnTo>
                        <a:lnTo>
                          <a:pt x="3565" y="1744"/>
                        </a:lnTo>
                        <a:lnTo>
                          <a:pt x="3648" y="1773"/>
                        </a:lnTo>
                        <a:lnTo>
                          <a:pt x="3720" y="1809"/>
                        </a:lnTo>
                        <a:lnTo>
                          <a:pt x="3813" y="1829"/>
                        </a:lnTo>
                        <a:lnTo>
                          <a:pt x="3901" y="1862"/>
                        </a:lnTo>
                        <a:lnTo>
                          <a:pt x="4004" y="1867"/>
                        </a:lnTo>
                        <a:lnTo>
                          <a:pt x="4075" y="1874"/>
                        </a:lnTo>
                        <a:lnTo>
                          <a:pt x="4121" y="1940"/>
                        </a:lnTo>
                        <a:lnTo>
                          <a:pt x="4203" y="2018"/>
                        </a:lnTo>
                        <a:lnTo>
                          <a:pt x="4315" y="2105"/>
                        </a:lnTo>
                        <a:lnTo>
                          <a:pt x="4464" y="2179"/>
                        </a:lnTo>
                        <a:lnTo>
                          <a:pt x="4491" y="2154"/>
                        </a:lnTo>
                        <a:lnTo>
                          <a:pt x="4461" y="2074"/>
                        </a:lnTo>
                        <a:lnTo>
                          <a:pt x="4330" y="1952"/>
                        </a:lnTo>
                        <a:lnTo>
                          <a:pt x="4253" y="1910"/>
                        </a:lnTo>
                        <a:lnTo>
                          <a:pt x="4319" y="1874"/>
                        </a:lnTo>
                        <a:lnTo>
                          <a:pt x="4339" y="1822"/>
                        </a:lnTo>
                        <a:lnTo>
                          <a:pt x="4325" y="1768"/>
                        </a:lnTo>
                        <a:lnTo>
                          <a:pt x="4274" y="1717"/>
                        </a:lnTo>
                        <a:lnTo>
                          <a:pt x="4175" y="1653"/>
                        </a:lnTo>
                        <a:lnTo>
                          <a:pt x="4051" y="1597"/>
                        </a:lnTo>
                        <a:lnTo>
                          <a:pt x="4045" y="1518"/>
                        </a:lnTo>
                        <a:lnTo>
                          <a:pt x="3955" y="1450"/>
                        </a:lnTo>
                        <a:lnTo>
                          <a:pt x="3821" y="1335"/>
                        </a:lnTo>
                        <a:lnTo>
                          <a:pt x="3844" y="1319"/>
                        </a:lnTo>
                        <a:lnTo>
                          <a:pt x="3960" y="1339"/>
                        </a:lnTo>
                        <a:lnTo>
                          <a:pt x="4025" y="1345"/>
                        </a:lnTo>
                        <a:lnTo>
                          <a:pt x="4051" y="1327"/>
                        </a:lnTo>
                        <a:lnTo>
                          <a:pt x="4130" y="1352"/>
                        </a:lnTo>
                        <a:lnTo>
                          <a:pt x="4243" y="1394"/>
                        </a:lnTo>
                        <a:lnTo>
                          <a:pt x="4290" y="1423"/>
                        </a:lnTo>
                        <a:lnTo>
                          <a:pt x="4398" y="1428"/>
                        </a:lnTo>
                        <a:lnTo>
                          <a:pt x="4460" y="1490"/>
                        </a:lnTo>
                        <a:lnTo>
                          <a:pt x="4575" y="1585"/>
                        </a:lnTo>
                        <a:lnTo>
                          <a:pt x="4639" y="1597"/>
                        </a:lnTo>
                        <a:lnTo>
                          <a:pt x="4726" y="1640"/>
                        </a:lnTo>
                        <a:lnTo>
                          <a:pt x="4768" y="1599"/>
                        </a:lnTo>
                        <a:lnTo>
                          <a:pt x="4738" y="1517"/>
                        </a:lnTo>
                        <a:lnTo>
                          <a:pt x="4739" y="1482"/>
                        </a:lnTo>
                        <a:lnTo>
                          <a:pt x="4854" y="1549"/>
                        </a:lnTo>
                        <a:lnTo>
                          <a:pt x="5030" y="1644"/>
                        </a:lnTo>
                        <a:lnTo>
                          <a:pt x="5187" y="1735"/>
                        </a:lnTo>
                        <a:lnTo>
                          <a:pt x="5211" y="1783"/>
                        </a:lnTo>
                        <a:lnTo>
                          <a:pt x="5334" y="1825"/>
                        </a:lnTo>
                        <a:lnTo>
                          <a:pt x="5430" y="1869"/>
                        </a:lnTo>
                        <a:lnTo>
                          <a:pt x="5546" y="1889"/>
                        </a:lnTo>
                        <a:lnTo>
                          <a:pt x="5609" y="1914"/>
                        </a:lnTo>
                        <a:lnTo>
                          <a:pt x="5696" y="1979"/>
                        </a:lnTo>
                        <a:lnTo>
                          <a:pt x="5754" y="1989"/>
                        </a:lnTo>
                        <a:lnTo>
                          <a:pt x="5806" y="2019"/>
                        </a:lnTo>
                        <a:lnTo>
                          <a:pt x="5892" y="2105"/>
                        </a:lnTo>
                        <a:lnTo>
                          <a:pt x="5875" y="2135"/>
                        </a:lnTo>
                        <a:lnTo>
                          <a:pt x="5856" y="2163"/>
                        </a:lnTo>
                        <a:lnTo>
                          <a:pt x="5779" y="2190"/>
                        </a:lnTo>
                        <a:lnTo>
                          <a:pt x="5756" y="2255"/>
                        </a:lnTo>
                        <a:lnTo>
                          <a:pt x="5661" y="2268"/>
                        </a:lnTo>
                        <a:lnTo>
                          <a:pt x="5515" y="2252"/>
                        </a:lnTo>
                        <a:lnTo>
                          <a:pt x="5421" y="2250"/>
                        </a:lnTo>
                        <a:lnTo>
                          <a:pt x="5361" y="2255"/>
                        </a:lnTo>
                        <a:lnTo>
                          <a:pt x="5354" y="2313"/>
                        </a:lnTo>
                        <a:lnTo>
                          <a:pt x="5301" y="2348"/>
                        </a:lnTo>
                        <a:lnTo>
                          <a:pt x="5288" y="2452"/>
                        </a:lnTo>
                        <a:lnTo>
                          <a:pt x="5266" y="2525"/>
                        </a:lnTo>
                        <a:lnTo>
                          <a:pt x="5311" y="2512"/>
                        </a:lnTo>
                        <a:lnTo>
                          <a:pt x="5337" y="2408"/>
                        </a:lnTo>
                        <a:lnTo>
                          <a:pt x="5420" y="2342"/>
                        </a:lnTo>
                        <a:lnTo>
                          <a:pt x="5507" y="2334"/>
                        </a:lnTo>
                        <a:lnTo>
                          <a:pt x="5592" y="2373"/>
                        </a:lnTo>
                        <a:lnTo>
                          <a:pt x="5574" y="2427"/>
                        </a:lnTo>
                        <a:lnTo>
                          <a:pt x="5657" y="2512"/>
                        </a:lnTo>
                        <a:lnTo>
                          <a:pt x="5721" y="2572"/>
                        </a:lnTo>
                        <a:lnTo>
                          <a:pt x="5832" y="2612"/>
                        </a:lnTo>
                        <a:lnTo>
                          <a:pt x="5930" y="2600"/>
                        </a:lnTo>
                        <a:lnTo>
                          <a:pt x="5929" y="2510"/>
                        </a:lnTo>
                        <a:lnTo>
                          <a:pt x="5976" y="2568"/>
                        </a:lnTo>
                        <a:lnTo>
                          <a:pt x="6039" y="2597"/>
                        </a:lnTo>
                        <a:lnTo>
                          <a:pt x="5997" y="2649"/>
                        </a:lnTo>
                        <a:lnTo>
                          <a:pt x="5889" y="2697"/>
                        </a:lnTo>
                        <a:lnTo>
                          <a:pt x="5847" y="2729"/>
                        </a:lnTo>
                        <a:lnTo>
                          <a:pt x="5814" y="2787"/>
                        </a:lnTo>
                        <a:lnTo>
                          <a:pt x="5761" y="2782"/>
                        </a:lnTo>
                        <a:lnTo>
                          <a:pt x="5712" y="2713"/>
                        </a:lnTo>
                        <a:lnTo>
                          <a:pt x="5777" y="2647"/>
                        </a:lnTo>
                        <a:lnTo>
                          <a:pt x="5677" y="2650"/>
                        </a:lnTo>
                        <a:lnTo>
                          <a:pt x="5613" y="2659"/>
                        </a:lnTo>
                        <a:close/>
                        <a:moveTo>
                          <a:pt x="1183" y="585"/>
                        </a:moveTo>
                        <a:lnTo>
                          <a:pt x="1188" y="617"/>
                        </a:lnTo>
                        <a:lnTo>
                          <a:pt x="1279" y="597"/>
                        </a:lnTo>
                        <a:lnTo>
                          <a:pt x="1381" y="629"/>
                        </a:lnTo>
                        <a:lnTo>
                          <a:pt x="1404" y="597"/>
                        </a:lnTo>
                        <a:lnTo>
                          <a:pt x="1471" y="618"/>
                        </a:lnTo>
                        <a:lnTo>
                          <a:pt x="1576" y="683"/>
                        </a:lnTo>
                        <a:lnTo>
                          <a:pt x="1575" y="655"/>
                        </a:lnTo>
                        <a:lnTo>
                          <a:pt x="1471" y="588"/>
                        </a:lnTo>
                        <a:lnTo>
                          <a:pt x="1505" y="578"/>
                        </a:lnTo>
                        <a:lnTo>
                          <a:pt x="1565" y="589"/>
                        </a:lnTo>
                        <a:lnTo>
                          <a:pt x="1649" y="615"/>
                        </a:lnTo>
                        <a:lnTo>
                          <a:pt x="1745" y="679"/>
                        </a:lnTo>
                        <a:lnTo>
                          <a:pt x="1808" y="727"/>
                        </a:lnTo>
                        <a:lnTo>
                          <a:pt x="1926" y="759"/>
                        </a:lnTo>
                        <a:lnTo>
                          <a:pt x="2051" y="792"/>
                        </a:lnTo>
                        <a:lnTo>
                          <a:pt x="2074" y="822"/>
                        </a:lnTo>
                        <a:lnTo>
                          <a:pt x="1995" y="827"/>
                        </a:lnTo>
                        <a:lnTo>
                          <a:pt x="2053" y="853"/>
                        </a:lnTo>
                        <a:lnTo>
                          <a:pt x="2059" y="878"/>
                        </a:lnTo>
                        <a:lnTo>
                          <a:pt x="1954" y="868"/>
                        </a:lnTo>
                        <a:lnTo>
                          <a:pt x="1848" y="849"/>
                        </a:lnTo>
                        <a:lnTo>
                          <a:pt x="1790" y="853"/>
                        </a:lnTo>
                        <a:lnTo>
                          <a:pt x="1714" y="877"/>
                        </a:lnTo>
                        <a:lnTo>
                          <a:pt x="1590" y="887"/>
                        </a:lnTo>
                        <a:lnTo>
                          <a:pt x="1501" y="893"/>
                        </a:lnTo>
                        <a:lnTo>
                          <a:pt x="1446" y="860"/>
                        </a:lnTo>
                        <a:lnTo>
                          <a:pt x="1359" y="842"/>
                        </a:lnTo>
                        <a:lnTo>
                          <a:pt x="1320" y="850"/>
                        </a:lnTo>
                        <a:lnTo>
                          <a:pt x="1211" y="795"/>
                        </a:lnTo>
                        <a:lnTo>
                          <a:pt x="1239" y="789"/>
                        </a:lnTo>
                        <a:lnTo>
                          <a:pt x="1309" y="777"/>
                        </a:lnTo>
                        <a:lnTo>
                          <a:pt x="1384" y="780"/>
                        </a:lnTo>
                        <a:lnTo>
                          <a:pt x="1440" y="768"/>
                        </a:lnTo>
                        <a:lnTo>
                          <a:pt x="1328" y="753"/>
                        </a:lnTo>
                        <a:lnTo>
                          <a:pt x="1223" y="758"/>
                        </a:lnTo>
                        <a:lnTo>
                          <a:pt x="1149" y="757"/>
                        </a:lnTo>
                        <a:lnTo>
                          <a:pt x="1101" y="732"/>
                        </a:lnTo>
                        <a:lnTo>
                          <a:pt x="1195" y="705"/>
                        </a:lnTo>
                        <a:lnTo>
                          <a:pt x="1118" y="705"/>
                        </a:lnTo>
                        <a:lnTo>
                          <a:pt x="1015" y="688"/>
                        </a:lnTo>
                        <a:lnTo>
                          <a:pt x="1014" y="639"/>
                        </a:lnTo>
                        <a:lnTo>
                          <a:pt x="1024" y="613"/>
                        </a:lnTo>
                        <a:lnTo>
                          <a:pt x="1120" y="573"/>
                        </a:lnTo>
                        <a:lnTo>
                          <a:pt x="1183" y="585"/>
                        </a:lnTo>
                        <a:close/>
                        <a:moveTo>
                          <a:pt x="1641" y="567"/>
                        </a:moveTo>
                        <a:lnTo>
                          <a:pt x="1644" y="609"/>
                        </a:lnTo>
                        <a:lnTo>
                          <a:pt x="1519" y="564"/>
                        </a:lnTo>
                        <a:lnTo>
                          <a:pt x="1525" y="554"/>
                        </a:lnTo>
                        <a:lnTo>
                          <a:pt x="1589" y="552"/>
                        </a:lnTo>
                        <a:lnTo>
                          <a:pt x="1641" y="567"/>
                        </a:lnTo>
                        <a:close/>
                        <a:moveTo>
                          <a:pt x="3061" y="587"/>
                        </a:moveTo>
                        <a:lnTo>
                          <a:pt x="3090" y="605"/>
                        </a:lnTo>
                        <a:lnTo>
                          <a:pt x="3035" y="603"/>
                        </a:lnTo>
                        <a:lnTo>
                          <a:pt x="2979" y="602"/>
                        </a:lnTo>
                        <a:lnTo>
                          <a:pt x="2936" y="610"/>
                        </a:lnTo>
                        <a:lnTo>
                          <a:pt x="2916" y="607"/>
                        </a:lnTo>
                        <a:lnTo>
                          <a:pt x="2816" y="572"/>
                        </a:lnTo>
                        <a:lnTo>
                          <a:pt x="2788" y="548"/>
                        </a:lnTo>
                        <a:lnTo>
                          <a:pt x="2805" y="544"/>
                        </a:lnTo>
                        <a:lnTo>
                          <a:pt x="2928" y="552"/>
                        </a:lnTo>
                        <a:lnTo>
                          <a:pt x="3061" y="587"/>
                        </a:lnTo>
                        <a:close/>
                        <a:moveTo>
                          <a:pt x="2550" y="583"/>
                        </a:moveTo>
                        <a:lnTo>
                          <a:pt x="2639" y="624"/>
                        </a:lnTo>
                        <a:lnTo>
                          <a:pt x="2619" y="572"/>
                        </a:lnTo>
                        <a:lnTo>
                          <a:pt x="2710" y="544"/>
                        </a:lnTo>
                        <a:lnTo>
                          <a:pt x="2883" y="612"/>
                        </a:lnTo>
                        <a:lnTo>
                          <a:pt x="2930" y="655"/>
                        </a:lnTo>
                        <a:lnTo>
                          <a:pt x="3005" y="635"/>
                        </a:lnTo>
                        <a:lnTo>
                          <a:pt x="3019" y="610"/>
                        </a:lnTo>
                        <a:lnTo>
                          <a:pt x="3172" y="643"/>
                        </a:lnTo>
                        <a:lnTo>
                          <a:pt x="3284" y="674"/>
                        </a:lnTo>
                        <a:lnTo>
                          <a:pt x="3327" y="704"/>
                        </a:lnTo>
                        <a:lnTo>
                          <a:pt x="3402" y="689"/>
                        </a:lnTo>
                        <a:lnTo>
                          <a:pt x="3510" y="732"/>
                        </a:lnTo>
                        <a:lnTo>
                          <a:pt x="3667" y="758"/>
                        </a:lnTo>
                        <a:lnTo>
                          <a:pt x="3747" y="785"/>
                        </a:lnTo>
                        <a:lnTo>
                          <a:pt x="3877" y="849"/>
                        </a:lnTo>
                        <a:lnTo>
                          <a:pt x="3821" y="880"/>
                        </a:lnTo>
                        <a:lnTo>
                          <a:pt x="4001" y="925"/>
                        </a:lnTo>
                        <a:lnTo>
                          <a:pt x="4104" y="940"/>
                        </a:lnTo>
                        <a:lnTo>
                          <a:pt x="4259" y="1005"/>
                        </a:lnTo>
                        <a:lnTo>
                          <a:pt x="4349" y="1010"/>
                        </a:lnTo>
                        <a:lnTo>
                          <a:pt x="4393" y="1059"/>
                        </a:lnTo>
                        <a:lnTo>
                          <a:pt x="4396" y="1142"/>
                        </a:lnTo>
                        <a:lnTo>
                          <a:pt x="4293" y="1112"/>
                        </a:lnTo>
                        <a:lnTo>
                          <a:pt x="4128" y="1043"/>
                        </a:lnTo>
                        <a:lnTo>
                          <a:pt x="4069" y="1052"/>
                        </a:lnTo>
                        <a:lnTo>
                          <a:pt x="4109" y="1093"/>
                        </a:lnTo>
                        <a:lnTo>
                          <a:pt x="4214" y="1134"/>
                        </a:lnTo>
                        <a:lnTo>
                          <a:pt x="4325" y="1167"/>
                        </a:lnTo>
                        <a:lnTo>
                          <a:pt x="4370" y="1187"/>
                        </a:lnTo>
                        <a:lnTo>
                          <a:pt x="4488" y="1258"/>
                        </a:lnTo>
                        <a:lnTo>
                          <a:pt x="4528" y="1310"/>
                        </a:lnTo>
                        <a:lnTo>
                          <a:pt x="4435" y="1290"/>
                        </a:lnTo>
                        <a:lnTo>
                          <a:pt x="4231" y="1232"/>
                        </a:lnTo>
                        <a:lnTo>
                          <a:pt x="4379" y="1294"/>
                        </a:lnTo>
                        <a:lnTo>
                          <a:pt x="4485" y="1339"/>
                        </a:lnTo>
                        <a:lnTo>
                          <a:pt x="4523" y="1364"/>
                        </a:lnTo>
                        <a:lnTo>
                          <a:pt x="4339" y="1335"/>
                        </a:lnTo>
                        <a:lnTo>
                          <a:pt x="4173" y="1293"/>
                        </a:lnTo>
                        <a:lnTo>
                          <a:pt x="4068" y="1257"/>
                        </a:lnTo>
                        <a:lnTo>
                          <a:pt x="4065" y="1237"/>
                        </a:lnTo>
                        <a:lnTo>
                          <a:pt x="3943" y="1199"/>
                        </a:lnTo>
                        <a:lnTo>
                          <a:pt x="3825" y="1165"/>
                        </a:lnTo>
                        <a:lnTo>
                          <a:pt x="3849" y="1185"/>
                        </a:lnTo>
                        <a:lnTo>
                          <a:pt x="3701" y="1197"/>
                        </a:lnTo>
                        <a:lnTo>
                          <a:pt x="3629" y="1173"/>
                        </a:lnTo>
                        <a:lnTo>
                          <a:pt x="3610" y="1119"/>
                        </a:lnTo>
                        <a:lnTo>
                          <a:pt x="3710" y="1118"/>
                        </a:lnTo>
                        <a:lnTo>
                          <a:pt x="3813" y="1109"/>
                        </a:lnTo>
                        <a:lnTo>
                          <a:pt x="3766" y="1084"/>
                        </a:lnTo>
                        <a:lnTo>
                          <a:pt x="3746" y="1049"/>
                        </a:lnTo>
                        <a:lnTo>
                          <a:pt x="3738" y="980"/>
                        </a:lnTo>
                        <a:lnTo>
                          <a:pt x="3688" y="949"/>
                        </a:lnTo>
                        <a:lnTo>
                          <a:pt x="3639" y="925"/>
                        </a:lnTo>
                        <a:lnTo>
                          <a:pt x="3519" y="892"/>
                        </a:lnTo>
                        <a:lnTo>
                          <a:pt x="3385" y="869"/>
                        </a:lnTo>
                        <a:lnTo>
                          <a:pt x="3399" y="851"/>
                        </a:lnTo>
                        <a:lnTo>
                          <a:pt x="3294" y="809"/>
                        </a:lnTo>
                        <a:lnTo>
                          <a:pt x="3244" y="805"/>
                        </a:lnTo>
                        <a:lnTo>
                          <a:pt x="3175" y="781"/>
                        </a:lnTo>
                        <a:lnTo>
                          <a:pt x="3171" y="801"/>
                        </a:lnTo>
                        <a:lnTo>
                          <a:pt x="3088" y="810"/>
                        </a:lnTo>
                        <a:lnTo>
                          <a:pt x="2883" y="795"/>
                        </a:lnTo>
                        <a:lnTo>
                          <a:pt x="2751" y="775"/>
                        </a:lnTo>
                        <a:lnTo>
                          <a:pt x="2656" y="765"/>
                        </a:lnTo>
                        <a:lnTo>
                          <a:pt x="2588" y="741"/>
                        </a:lnTo>
                        <a:lnTo>
                          <a:pt x="2606" y="711"/>
                        </a:lnTo>
                        <a:lnTo>
                          <a:pt x="2534" y="710"/>
                        </a:lnTo>
                        <a:lnTo>
                          <a:pt x="2441" y="644"/>
                        </a:lnTo>
                        <a:lnTo>
                          <a:pt x="2409" y="585"/>
                        </a:lnTo>
                        <a:lnTo>
                          <a:pt x="2428" y="559"/>
                        </a:lnTo>
                        <a:lnTo>
                          <a:pt x="2533" y="541"/>
                        </a:lnTo>
                        <a:lnTo>
                          <a:pt x="2550" y="583"/>
                        </a:lnTo>
                        <a:close/>
                        <a:moveTo>
                          <a:pt x="1815" y="539"/>
                        </a:moveTo>
                        <a:lnTo>
                          <a:pt x="1889" y="553"/>
                        </a:lnTo>
                        <a:lnTo>
                          <a:pt x="1968" y="544"/>
                        </a:lnTo>
                        <a:lnTo>
                          <a:pt x="2003" y="563"/>
                        </a:lnTo>
                        <a:lnTo>
                          <a:pt x="1993" y="594"/>
                        </a:lnTo>
                        <a:lnTo>
                          <a:pt x="2099" y="623"/>
                        </a:lnTo>
                        <a:lnTo>
                          <a:pt x="2155" y="682"/>
                        </a:lnTo>
                        <a:lnTo>
                          <a:pt x="2100" y="708"/>
                        </a:lnTo>
                        <a:lnTo>
                          <a:pt x="2045" y="702"/>
                        </a:lnTo>
                        <a:lnTo>
                          <a:pt x="1984" y="677"/>
                        </a:lnTo>
                        <a:lnTo>
                          <a:pt x="1805" y="625"/>
                        </a:lnTo>
                        <a:lnTo>
                          <a:pt x="1784" y="604"/>
                        </a:lnTo>
                        <a:lnTo>
                          <a:pt x="1894" y="613"/>
                        </a:lnTo>
                        <a:lnTo>
                          <a:pt x="1792" y="570"/>
                        </a:lnTo>
                        <a:lnTo>
                          <a:pt x="1815" y="539"/>
                        </a:lnTo>
                        <a:close/>
                        <a:moveTo>
                          <a:pt x="2250" y="608"/>
                        </a:moveTo>
                        <a:lnTo>
                          <a:pt x="2253" y="658"/>
                        </a:lnTo>
                        <a:lnTo>
                          <a:pt x="2193" y="655"/>
                        </a:lnTo>
                        <a:lnTo>
                          <a:pt x="2096" y="598"/>
                        </a:lnTo>
                        <a:lnTo>
                          <a:pt x="2059" y="565"/>
                        </a:lnTo>
                        <a:lnTo>
                          <a:pt x="2053" y="538"/>
                        </a:lnTo>
                        <a:lnTo>
                          <a:pt x="2080" y="520"/>
                        </a:lnTo>
                        <a:lnTo>
                          <a:pt x="2185" y="522"/>
                        </a:lnTo>
                        <a:lnTo>
                          <a:pt x="2298" y="538"/>
                        </a:lnTo>
                        <a:lnTo>
                          <a:pt x="2295" y="595"/>
                        </a:lnTo>
                        <a:lnTo>
                          <a:pt x="2250" y="608"/>
                        </a:lnTo>
                        <a:close/>
                        <a:moveTo>
                          <a:pt x="971" y="700"/>
                        </a:moveTo>
                        <a:lnTo>
                          <a:pt x="864" y="733"/>
                        </a:lnTo>
                        <a:lnTo>
                          <a:pt x="813" y="703"/>
                        </a:lnTo>
                        <a:lnTo>
                          <a:pt x="668" y="668"/>
                        </a:lnTo>
                        <a:lnTo>
                          <a:pt x="666" y="640"/>
                        </a:lnTo>
                        <a:lnTo>
                          <a:pt x="660" y="592"/>
                        </a:lnTo>
                        <a:lnTo>
                          <a:pt x="666" y="549"/>
                        </a:lnTo>
                        <a:lnTo>
                          <a:pt x="583" y="510"/>
                        </a:lnTo>
                        <a:lnTo>
                          <a:pt x="738" y="500"/>
                        </a:lnTo>
                        <a:lnTo>
                          <a:pt x="820" y="513"/>
                        </a:lnTo>
                        <a:lnTo>
                          <a:pt x="949" y="517"/>
                        </a:lnTo>
                        <a:lnTo>
                          <a:pt x="1014" y="535"/>
                        </a:lnTo>
                        <a:lnTo>
                          <a:pt x="1094" y="563"/>
                        </a:lnTo>
                        <a:lnTo>
                          <a:pt x="1048" y="579"/>
                        </a:lnTo>
                        <a:lnTo>
                          <a:pt x="968" y="625"/>
                        </a:lnTo>
                        <a:lnTo>
                          <a:pt x="946" y="672"/>
                        </a:lnTo>
                        <a:lnTo>
                          <a:pt x="971" y="700"/>
                        </a:lnTo>
                        <a:close/>
                        <a:moveTo>
                          <a:pt x="2055" y="465"/>
                        </a:moveTo>
                        <a:lnTo>
                          <a:pt x="2060" y="490"/>
                        </a:lnTo>
                        <a:lnTo>
                          <a:pt x="1984" y="485"/>
                        </a:lnTo>
                        <a:lnTo>
                          <a:pt x="1904" y="469"/>
                        </a:lnTo>
                        <a:lnTo>
                          <a:pt x="1894" y="440"/>
                        </a:lnTo>
                        <a:lnTo>
                          <a:pt x="1940" y="424"/>
                        </a:lnTo>
                        <a:lnTo>
                          <a:pt x="2011" y="445"/>
                        </a:lnTo>
                        <a:lnTo>
                          <a:pt x="2055" y="465"/>
                        </a:lnTo>
                        <a:close/>
                        <a:moveTo>
                          <a:pt x="1678" y="357"/>
                        </a:moveTo>
                        <a:lnTo>
                          <a:pt x="1751" y="385"/>
                        </a:lnTo>
                        <a:lnTo>
                          <a:pt x="1795" y="418"/>
                        </a:lnTo>
                        <a:lnTo>
                          <a:pt x="1834" y="464"/>
                        </a:lnTo>
                        <a:lnTo>
                          <a:pt x="1761" y="472"/>
                        </a:lnTo>
                        <a:lnTo>
                          <a:pt x="1698" y="462"/>
                        </a:lnTo>
                        <a:lnTo>
                          <a:pt x="1653" y="424"/>
                        </a:lnTo>
                        <a:lnTo>
                          <a:pt x="1580" y="429"/>
                        </a:lnTo>
                        <a:lnTo>
                          <a:pt x="1516" y="380"/>
                        </a:lnTo>
                        <a:lnTo>
                          <a:pt x="1570" y="383"/>
                        </a:lnTo>
                        <a:lnTo>
                          <a:pt x="1614" y="362"/>
                        </a:lnTo>
                        <a:lnTo>
                          <a:pt x="1685" y="365"/>
                        </a:lnTo>
                        <a:lnTo>
                          <a:pt x="1678" y="357"/>
                        </a:lnTo>
                        <a:close/>
                        <a:moveTo>
                          <a:pt x="1259" y="389"/>
                        </a:moveTo>
                        <a:lnTo>
                          <a:pt x="1305" y="412"/>
                        </a:lnTo>
                        <a:lnTo>
                          <a:pt x="1334" y="400"/>
                        </a:lnTo>
                        <a:lnTo>
                          <a:pt x="1388" y="403"/>
                        </a:lnTo>
                        <a:lnTo>
                          <a:pt x="1433" y="434"/>
                        </a:lnTo>
                        <a:lnTo>
                          <a:pt x="1439" y="464"/>
                        </a:lnTo>
                        <a:lnTo>
                          <a:pt x="1286" y="474"/>
                        </a:lnTo>
                        <a:lnTo>
                          <a:pt x="1194" y="502"/>
                        </a:lnTo>
                        <a:lnTo>
                          <a:pt x="1121" y="503"/>
                        </a:lnTo>
                        <a:lnTo>
                          <a:pt x="1092" y="483"/>
                        </a:lnTo>
                        <a:lnTo>
                          <a:pt x="1162" y="454"/>
                        </a:lnTo>
                        <a:lnTo>
                          <a:pt x="954" y="462"/>
                        </a:lnTo>
                        <a:lnTo>
                          <a:pt x="874" y="450"/>
                        </a:lnTo>
                        <a:lnTo>
                          <a:pt x="874" y="389"/>
                        </a:lnTo>
                        <a:lnTo>
                          <a:pt x="899" y="372"/>
                        </a:lnTo>
                        <a:lnTo>
                          <a:pt x="1055" y="393"/>
                        </a:lnTo>
                        <a:lnTo>
                          <a:pt x="1182" y="430"/>
                        </a:lnTo>
                        <a:lnTo>
                          <a:pt x="1272" y="434"/>
                        </a:lnTo>
                        <a:lnTo>
                          <a:pt x="1134" y="375"/>
                        </a:lnTo>
                        <a:lnTo>
                          <a:pt x="1150" y="353"/>
                        </a:lnTo>
                        <a:lnTo>
                          <a:pt x="1207" y="359"/>
                        </a:lnTo>
                        <a:lnTo>
                          <a:pt x="1259" y="389"/>
                        </a:lnTo>
                        <a:close/>
                        <a:moveTo>
                          <a:pt x="1824" y="334"/>
                        </a:moveTo>
                        <a:lnTo>
                          <a:pt x="1904" y="353"/>
                        </a:lnTo>
                        <a:lnTo>
                          <a:pt x="1996" y="353"/>
                        </a:lnTo>
                        <a:lnTo>
                          <a:pt x="2066" y="374"/>
                        </a:lnTo>
                        <a:lnTo>
                          <a:pt x="2089" y="397"/>
                        </a:lnTo>
                        <a:lnTo>
                          <a:pt x="2163" y="412"/>
                        </a:lnTo>
                        <a:lnTo>
                          <a:pt x="2214" y="427"/>
                        </a:lnTo>
                        <a:lnTo>
                          <a:pt x="2283" y="429"/>
                        </a:lnTo>
                        <a:lnTo>
                          <a:pt x="2360" y="434"/>
                        </a:lnTo>
                        <a:lnTo>
                          <a:pt x="2416" y="420"/>
                        </a:lnTo>
                        <a:lnTo>
                          <a:pt x="2506" y="415"/>
                        </a:lnTo>
                        <a:lnTo>
                          <a:pt x="2590" y="419"/>
                        </a:lnTo>
                        <a:lnTo>
                          <a:pt x="2678" y="443"/>
                        </a:lnTo>
                        <a:lnTo>
                          <a:pt x="2726" y="469"/>
                        </a:lnTo>
                        <a:lnTo>
                          <a:pt x="2720" y="487"/>
                        </a:lnTo>
                        <a:lnTo>
                          <a:pt x="2668" y="500"/>
                        </a:lnTo>
                        <a:lnTo>
                          <a:pt x="2594" y="493"/>
                        </a:lnTo>
                        <a:lnTo>
                          <a:pt x="2468" y="503"/>
                        </a:lnTo>
                        <a:lnTo>
                          <a:pt x="2369" y="503"/>
                        </a:lnTo>
                        <a:lnTo>
                          <a:pt x="2280" y="495"/>
                        </a:lnTo>
                        <a:lnTo>
                          <a:pt x="2124" y="475"/>
                        </a:lnTo>
                        <a:lnTo>
                          <a:pt x="2061" y="440"/>
                        </a:lnTo>
                        <a:lnTo>
                          <a:pt x="2014" y="409"/>
                        </a:lnTo>
                        <a:lnTo>
                          <a:pt x="1929" y="382"/>
                        </a:lnTo>
                        <a:lnTo>
                          <a:pt x="1820" y="374"/>
                        </a:lnTo>
                        <a:lnTo>
                          <a:pt x="1740" y="355"/>
                        </a:lnTo>
                        <a:lnTo>
                          <a:pt x="1723" y="330"/>
                        </a:lnTo>
                        <a:lnTo>
                          <a:pt x="1824" y="334"/>
                        </a:lnTo>
                        <a:close/>
                        <a:moveTo>
                          <a:pt x="779" y="300"/>
                        </a:moveTo>
                        <a:lnTo>
                          <a:pt x="826" y="347"/>
                        </a:lnTo>
                        <a:lnTo>
                          <a:pt x="815" y="369"/>
                        </a:lnTo>
                        <a:lnTo>
                          <a:pt x="774" y="372"/>
                        </a:lnTo>
                        <a:lnTo>
                          <a:pt x="714" y="398"/>
                        </a:lnTo>
                        <a:lnTo>
                          <a:pt x="648" y="408"/>
                        </a:lnTo>
                        <a:lnTo>
                          <a:pt x="570" y="394"/>
                        </a:lnTo>
                        <a:lnTo>
                          <a:pt x="601" y="348"/>
                        </a:lnTo>
                        <a:lnTo>
                          <a:pt x="654" y="309"/>
                        </a:lnTo>
                        <a:lnTo>
                          <a:pt x="725" y="309"/>
                        </a:lnTo>
                        <a:lnTo>
                          <a:pt x="779" y="300"/>
                        </a:lnTo>
                        <a:close/>
                        <a:moveTo>
                          <a:pt x="1828" y="308"/>
                        </a:moveTo>
                        <a:lnTo>
                          <a:pt x="1809" y="310"/>
                        </a:lnTo>
                        <a:lnTo>
                          <a:pt x="1715" y="305"/>
                        </a:lnTo>
                        <a:lnTo>
                          <a:pt x="1679" y="289"/>
                        </a:lnTo>
                        <a:lnTo>
                          <a:pt x="1774" y="290"/>
                        </a:lnTo>
                        <a:lnTo>
                          <a:pt x="1823" y="302"/>
                        </a:lnTo>
                        <a:lnTo>
                          <a:pt x="1828" y="308"/>
                        </a:lnTo>
                        <a:close/>
                        <a:moveTo>
                          <a:pt x="1054" y="298"/>
                        </a:moveTo>
                        <a:lnTo>
                          <a:pt x="989" y="315"/>
                        </a:lnTo>
                        <a:lnTo>
                          <a:pt x="896" y="295"/>
                        </a:lnTo>
                        <a:lnTo>
                          <a:pt x="910" y="277"/>
                        </a:lnTo>
                        <a:lnTo>
                          <a:pt x="970" y="270"/>
                        </a:lnTo>
                        <a:lnTo>
                          <a:pt x="1046" y="279"/>
                        </a:lnTo>
                        <a:lnTo>
                          <a:pt x="1054" y="298"/>
                        </a:lnTo>
                        <a:close/>
                        <a:moveTo>
                          <a:pt x="1009" y="244"/>
                        </a:moveTo>
                        <a:lnTo>
                          <a:pt x="969" y="255"/>
                        </a:lnTo>
                        <a:lnTo>
                          <a:pt x="893" y="255"/>
                        </a:lnTo>
                        <a:lnTo>
                          <a:pt x="883" y="247"/>
                        </a:lnTo>
                        <a:lnTo>
                          <a:pt x="908" y="229"/>
                        </a:lnTo>
                        <a:lnTo>
                          <a:pt x="935" y="232"/>
                        </a:lnTo>
                        <a:lnTo>
                          <a:pt x="1009" y="244"/>
                        </a:lnTo>
                        <a:close/>
                        <a:moveTo>
                          <a:pt x="1688" y="275"/>
                        </a:moveTo>
                        <a:lnTo>
                          <a:pt x="1638" y="288"/>
                        </a:lnTo>
                        <a:lnTo>
                          <a:pt x="1580" y="274"/>
                        </a:lnTo>
                        <a:lnTo>
                          <a:pt x="1529" y="252"/>
                        </a:lnTo>
                        <a:lnTo>
                          <a:pt x="1490" y="228"/>
                        </a:lnTo>
                        <a:lnTo>
                          <a:pt x="1553" y="230"/>
                        </a:lnTo>
                        <a:lnTo>
                          <a:pt x="1585" y="234"/>
                        </a:lnTo>
                        <a:lnTo>
                          <a:pt x="1669" y="254"/>
                        </a:lnTo>
                        <a:lnTo>
                          <a:pt x="1688" y="275"/>
                        </a:lnTo>
                        <a:close/>
                        <a:moveTo>
                          <a:pt x="1471" y="260"/>
                        </a:moveTo>
                        <a:lnTo>
                          <a:pt x="1524" y="285"/>
                        </a:lnTo>
                        <a:lnTo>
                          <a:pt x="1439" y="278"/>
                        </a:lnTo>
                        <a:lnTo>
                          <a:pt x="1336" y="259"/>
                        </a:lnTo>
                        <a:lnTo>
                          <a:pt x="1231" y="257"/>
                        </a:lnTo>
                        <a:lnTo>
                          <a:pt x="1253" y="239"/>
                        </a:lnTo>
                        <a:lnTo>
                          <a:pt x="1178" y="225"/>
                        </a:lnTo>
                        <a:lnTo>
                          <a:pt x="1145" y="204"/>
                        </a:lnTo>
                        <a:lnTo>
                          <a:pt x="1244" y="212"/>
                        </a:lnTo>
                        <a:lnTo>
                          <a:pt x="1396" y="233"/>
                        </a:lnTo>
                        <a:lnTo>
                          <a:pt x="1471" y="260"/>
                        </a:lnTo>
                        <a:close/>
                        <a:moveTo>
                          <a:pt x="1945" y="183"/>
                        </a:moveTo>
                        <a:lnTo>
                          <a:pt x="2029" y="202"/>
                        </a:lnTo>
                        <a:lnTo>
                          <a:pt x="1995" y="219"/>
                        </a:lnTo>
                        <a:lnTo>
                          <a:pt x="1980" y="263"/>
                        </a:lnTo>
                        <a:lnTo>
                          <a:pt x="1905" y="267"/>
                        </a:lnTo>
                        <a:lnTo>
                          <a:pt x="1799" y="259"/>
                        </a:lnTo>
                        <a:lnTo>
                          <a:pt x="1714" y="235"/>
                        </a:lnTo>
                        <a:lnTo>
                          <a:pt x="1683" y="214"/>
                        </a:lnTo>
                        <a:lnTo>
                          <a:pt x="1695" y="199"/>
                        </a:lnTo>
                        <a:lnTo>
                          <a:pt x="1613" y="199"/>
                        </a:lnTo>
                        <a:lnTo>
                          <a:pt x="1535" y="180"/>
                        </a:lnTo>
                        <a:lnTo>
                          <a:pt x="1468" y="155"/>
                        </a:lnTo>
                        <a:lnTo>
                          <a:pt x="1461" y="132"/>
                        </a:lnTo>
                        <a:lnTo>
                          <a:pt x="1466" y="115"/>
                        </a:lnTo>
                        <a:lnTo>
                          <a:pt x="1505" y="112"/>
                        </a:lnTo>
                        <a:lnTo>
                          <a:pt x="1466" y="100"/>
                        </a:lnTo>
                        <a:lnTo>
                          <a:pt x="1564" y="97"/>
                        </a:lnTo>
                        <a:lnTo>
                          <a:pt x="1666" y="125"/>
                        </a:lnTo>
                        <a:lnTo>
                          <a:pt x="1760" y="137"/>
                        </a:lnTo>
                        <a:lnTo>
                          <a:pt x="1849" y="147"/>
                        </a:lnTo>
                        <a:lnTo>
                          <a:pt x="1945" y="183"/>
                        </a:lnTo>
                        <a:close/>
                        <a:moveTo>
                          <a:pt x="2421" y="7"/>
                        </a:moveTo>
                        <a:lnTo>
                          <a:pt x="2543" y="10"/>
                        </a:lnTo>
                        <a:lnTo>
                          <a:pt x="2646" y="15"/>
                        </a:lnTo>
                        <a:lnTo>
                          <a:pt x="2753" y="29"/>
                        </a:lnTo>
                        <a:lnTo>
                          <a:pt x="2779" y="42"/>
                        </a:lnTo>
                        <a:lnTo>
                          <a:pt x="2719" y="63"/>
                        </a:lnTo>
                        <a:lnTo>
                          <a:pt x="2636" y="73"/>
                        </a:lnTo>
                        <a:lnTo>
                          <a:pt x="2620" y="84"/>
                        </a:lnTo>
                        <a:lnTo>
                          <a:pt x="2714" y="84"/>
                        </a:lnTo>
                        <a:lnTo>
                          <a:pt x="2674" y="115"/>
                        </a:lnTo>
                        <a:lnTo>
                          <a:pt x="2633" y="130"/>
                        </a:lnTo>
                        <a:lnTo>
                          <a:pt x="2641" y="175"/>
                        </a:lnTo>
                        <a:lnTo>
                          <a:pt x="2565" y="185"/>
                        </a:lnTo>
                        <a:lnTo>
                          <a:pt x="2558" y="197"/>
                        </a:lnTo>
                        <a:lnTo>
                          <a:pt x="2433" y="203"/>
                        </a:lnTo>
                        <a:lnTo>
                          <a:pt x="2508" y="209"/>
                        </a:lnTo>
                        <a:lnTo>
                          <a:pt x="2494" y="219"/>
                        </a:lnTo>
                        <a:lnTo>
                          <a:pt x="2581" y="248"/>
                        </a:lnTo>
                        <a:lnTo>
                          <a:pt x="2573" y="268"/>
                        </a:lnTo>
                        <a:lnTo>
                          <a:pt x="2530" y="285"/>
                        </a:lnTo>
                        <a:lnTo>
                          <a:pt x="2548" y="309"/>
                        </a:lnTo>
                        <a:lnTo>
                          <a:pt x="2511" y="327"/>
                        </a:lnTo>
                        <a:lnTo>
                          <a:pt x="2540" y="340"/>
                        </a:lnTo>
                        <a:lnTo>
                          <a:pt x="2616" y="338"/>
                        </a:lnTo>
                        <a:lnTo>
                          <a:pt x="2641" y="353"/>
                        </a:lnTo>
                        <a:lnTo>
                          <a:pt x="2574" y="390"/>
                        </a:lnTo>
                        <a:lnTo>
                          <a:pt x="2424" y="373"/>
                        </a:lnTo>
                        <a:lnTo>
                          <a:pt x="2299" y="383"/>
                        </a:lnTo>
                        <a:lnTo>
                          <a:pt x="2218" y="375"/>
                        </a:lnTo>
                        <a:lnTo>
                          <a:pt x="2124" y="372"/>
                        </a:lnTo>
                        <a:lnTo>
                          <a:pt x="2075" y="343"/>
                        </a:lnTo>
                        <a:lnTo>
                          <a:pt x="2140" y="329"/>
                        </a:lnTo>
                        <a:lnTo>
                          <a:pt x="2051" y="285"/>
                        </a:lnTo>
                        <a:lnTo>
                          <a:pt x="2073" y="282"/>
                        </a:lnTo>
                        <a:lnTo>
                          <a:pt x="2238" y="307"/>
                        </a:lnTo>
                        <a:lnTo>
                          <a:pt x="2114" y="269"/>
                        </a:lnTo>
                        <a:lnTo>
                          <a:pt x="2021" y="258"/>
                        </a:lnTo>
                        <a:lnTo>
                          <a:pt x="2023" y="234"/>
                        </a:lnTo>
                        <a:lnTo>
                          <a:pt x="2081" y="220"/>
                        </a:lnTo>
                        <a:lnTo>
                          <a:pt x="2061" y="202"/>
                        </a:lnTo>
                        <a:lnTo>
                          <a:pt x="1961" y="179"/>
                        </a:lnTo>
                        <a:lnTo>
                          <a:pt x="1895" y="150"/>
                        </a:lnTo>
                        <a:lnTo>
                          <a:pt x="2020" y="153"/>
                        </a:lnTo>
                        <a:lnTo>
                          <a:pt x="2065" y="159"/>
                        </a:lnTo>
                        <a:lnTo>
                          <a:pt x="2100" y="139"/>
                        </a:lnTo>
                        <a:lnTo>
                          <a:pt x="1990" y="133"/>
                        </a:lnTo>
                        <a:lnTo>
                          <a:pt x="1841" y="137"/>
                        </a:lnTo>
                        <a:lnTo>
                          <a:pt x="1733" y="118"/>
                        </a:lnTo>
                        <a:lnTo>
                          <a:pt x="1660" y="97"/>
                        </a:lnTo>
                        <a:lnTo>
                          <a:pt x="1584" y="82"/>
                        </a:lnTo>
                        <a:lnTo>
                          <a:pt x="1545" y="64"/>
                        </a:lnTo>
                        <a:lnTo>
                          <a:pt x="1593" y="55"/>
                        </a:lnTo>
                        <a:lnTo>
                          <a:pt x="1640" y="54"/>
                        </a:lnTo>
                        <a:lnTo>
                          <a:pt x="1711" y="45"/>
                        </a:lnTo>
                        <a:lnTo>
                          <a:pt x="1741" y="28"/>
                        </a:lnTo>
                        <a:lnTo>
                          <a:pt x="1799" y="30"/>
                        </a:lnTo>
                        <a:lnTo>
                          <a:pt x="1870" y="44"/>
                        </a:lnTo>
                        <a:lnTo>
                          <a:pt x="1854" y="18"/>
                        </a:lnTo>
                        <a:lnTo>
                          <a:pt x="1895" y="10"/>
                        </a:lnTo>
                        <a:lnTo>
                          <a:pt x="1961" y="5"/>
                        </a:lnTo>
                        <a:lnTo>
                          <a:pt x="2088" y="3"/>
                        </a:lnTo>
                        <a:lnTo>
                          <a:pt x="2120" y="8"/>
                        </a:lnTo>
                        <a:lnTo>
                          <a:pt x="2226" y="0"/>
                        </a:lnTo>
                        <a:lnTo>
                          <a:pt x="2324" y="3"/>
                        </a:lnTo>
                        <a:lnTo>
                          <a:pt x="2421" y="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8" name="Switzerland" descr="{&quot;Key&quot;:&quot;switzerland&quot;,&quot;Name&quot;:&quot;Switzerland&quot;,&quot;Value&quot;:1.0,&quot;Formula&quot;:&quot;&quot;,&quot;Text&quot;:&quot;&quot;,&quot;OfficeApplication&quot;:1,&quot;HasValue&quot;:true}">
                    <a:extLst>
                      <a:ext uri="{FF2B5EF4-FFF2-40B4-BE49-F238E27FC236}">
                        <a16:creationId xmlns:a16="http://schemas.microsoft.com/office/drawing/2014/main" id="{75865AE0-F3D3-C360-9F09-ED0864EFD4A9}"/>
                      </a:ext>
                    </a:extLst>
                  </p:cNvPr>
                  <p:cNvSpPr>
                    <a:spLocks/>
                  </p:cNvSpPr>
                  <p:nvPr/>
                </p:nvSpPr>
                <p:spPr bwMode="auto">
                  <a:xfrm>
                    <a:off x="1254" y="1703"/>
                    <a:ext cx="89" cy="46"/>
                  </a:xfrm>
                  <a:custGeom>
                    <a:avLst/>
                    <a:gdLst>
                      <a:gd name="T0" fmla="*/ 299 w 318"/>
                      <a:gd name="T1" fmla="*/ 24 h 163"/>
                      <a:gd name="T2" fmla="*/ 291 w 318"/>
                      <a:gd name="T3" fmla="*/ 39 h 163"/>
                      <a:gd name="T4" fmla="*/ 268 w 318"/>
                      <a:gd name="T5" fmla="*/ 58 h 163"/>
                      <a:gd name="T6" fmla="*/ 286 w 318"/>
                      <a:gd name="T7" fmla="*/ 73 h 163"/>
                      <a:gd name="T8" fmla="*/ 318 w 318"/>
                      <a:gd name="T9" fmla="*/ 74 h 163"/>
                      <a:gd name="T10" fmla="*/ 289 w 318"/>
                      <a:gd name="T11" fmla="*/ 106 h 163"/>
                      <a:gd name="T12" fmla="*/ 251 w 318"/>
                      <a:gd name="T13" fmla="*/ 120 h 163"/>
                      <a:gd name="T14" fmla="*/ 211 w 318"/>
                      <a:gd name="T15" fmla="*/ 110 h 163"/>
                      <a:gd name="T16" fmla="*/ 175 w 318"/>
                      <a:gd name="T17" fmla="*/ 143 h 163"/>
                      <a:gd name="T18" fmla="*/ 144 w 318"/>
                      <a:gd name="T19" fmla="*/ 145 h 163"/>
                      <a:gd name="T20" fmla="*/ 141 w 318"/>
                      <a:gd name="T21" fmla="*/ 133 h 163"/>
                      <a:gd name="T22" fmla="*/ 86 w 318"/>
                      <a:gd name="T23" fmla="*/ 159 h 163"/>
                      <a:gd name="T24" fmla="*/ 53 w 318"/>
                      <a:gd name="T25" fmla="*/ 163 h 163"/>
                      <a:gd name="T26" fmla="*/ 38 w 318"/>
                      <a:gd name="T27" fmla="*/ 146 h 163"/>
                      <a:gd name="T28" fmla="*/ 40 w 318"/>
                      <a:gd name="T29" fmla="*/ 111 h 163"/>
                      <a:gd name="T30" fmla="*/ 0 w 318"/>
                      <a:gd name="T31" fmla="*/ 124 h 163"/>
                      <a:gd name="T32" fmla="*/ 28 w 318"/>
                      <a:gd name="T33" fmla="*/ 88 h 163"/>
                      <a:gd name="T34" fmla="*/ 106 w 318"/>
                      <a:gd name="T35" fmla="*/ 43 h 163"/>
                      <a:gd name="T36" fmla="*/ 119 w 318"/>
                      <a:gd name="T37" fmla="*/ 23 h 163"/>
                      <a:gd name="T38" fmla="*/ 143 w 318"/>
                      <a:gd name="T39" fmla="*/ 30 h 163"/>
                      <a:gd name="T40" fmla="*/ 169 w 318"/>
                      <a:gd name="T41" fmla="*/ 16 h 163"/>
                      <a:gd name="T42" fmla="*/ 223 w 318"/>
                      <a:gd name="T43" fmla="*/ 18 h 163"/>
                      <a:gd name="T44" fmla="*/ 249 w 318"/>
                      <a:gd name="T45" fmla="*/ 0 h 163"/>
                      <a:gd name="T46" fmla="*/ 299 w 318"/>
                      <a:gd name="T47" fmla="*/ 2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8" h="163">
                        <a:moveTo>
                          <a:pt x="299" y="24"/>
                        </a:moveTo>
                        <a:lnTo>
                          <a:pt x="291" y="39"/>
                        </a:lnTo>
                        <a:lnTo>
                          <a:pt x="268" y="58"/>
                        </a:lnTo>
                        <a:lnTo>
                          <a:pt x="286" y="73"/>
                        </a:lnTo>
                        <a:lnTo>
                          <a:pt x="318" y="74"/>
                        </a:lnTo>
                        <a:lnTo>
                          <a:pt x="289" y="106"/>
                        </a:lnTo>
                        <a:lnTo>
                          <a:pt x="251" y="120"/>
                        </a:lnTo>
                        <a:lnTo>
                          <a:pt x="211" y="110"/>
                        </a:lnTo>
                        <a:lnTo>
                          <a:pt x="175" y="143"/>
                        </a:lnTo>
                        <a:lnTo>
                          <a:pt x="144" y="145"/>
                        </a:lnTo>
                        <a:lnTo>
                          <a:pt x="141" y="133"/>
                        </a:lnTo>
                        <a:lnTo>
                          <a:pt x="86" y="159"/>
                        </a:lnTo>
                        <a:lnTo>
                          <a:pt x="53" y="163"/>
                        </a:lnTo>
                        <a:lnTo>
                          <a:pt x="38" y="146"/>
                        </a:lnTo>
                        <a:lnTo>
                          <a:pt x="40" y="111"/>
                        </a:lnTo>
                        <a:lnTo>
                          <a:pt x="0" y="124"/>
                        </a:lnTo>
                        <a:lnTo>
                          <a:pt x="28" y="88"/>
                        </a:lnTo>
                        <a:lnTo>
                          <a:pt x="106" y="43"/>
                        </a:lnTo>
                        <a:lnTo>
                          <a:pt x="119" y="23"/>
                        </a:lnTo>
                        <a:lnTo>
                          <a:pt x="143" y="30"/>
                        </a:lnTo>
                        <a:lnTo>
                          <a:pt x="169" y="16"/>
                        </a:lnTo>
                        <a:lnTo>
                          <a:pt x="223" y="18"/>
                        </a:lnTo>
                        <a:lnTo>
                          <a:pt x="249" y="0"/>
                        </a:lnTo>
                        <a:lnTo>
                          <a:pt x="299" y="2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59" name="China" descr="{&quot;Key&quot;:&quot;china&quot;,&quot;Name&quot;:&quot;China&quot;,&quot;Value&quot;:1.0,&quot;Formula&quot;:&quot;&quot;,&quot;Text&quot;:&quot;&quot;,&quot;OfficeApplication&quot;:1,&quot;HasValue&quot;:true}">
                    <a:extLst>
                      <a:ext uri="{FF2B5EF4-FFF2-40B4-BE49-F238E27FC236}">
                        <a16:creationId xmlns:a16="http://schemas.microsoft.com/office/drawing/2014/main" id="{8E035478-E362-6BF3-1455-5648F0717B45}"/>
                      </a:ext>
                    </a:extLst>
                  </p:cNvPr>
                  <p:cNvSpPr>
                    <a:spLocks noEditPoints="1"/>
                  </p:cNvSpPr>
                  <p:nvPr/>
                </p:nvSpPr>
                <p:spPr bwMode="auto">
                  <a:xfrm>
                    <a:off x="2403" y="1580"/>
                    <a:ext cx="1151" cy="792"/>
                  </a:xfrm>
                  <a:custGeom>
                    <a:avLst/>
                    <a:gdLst>
                      <a:gd name="T0" fmla="*/ 2151 w 4128"/>
                      <a:gd name="T1" fmla="*/ 2744 h 2839"/>
                      <a:gd name="T2" fmla="*/ 2320 w 4128"/>
                      <a:gd name="T3" fmla="*/ 2718 h 2839"/>
                      <a:gd name="T4" fmla="*/ 3768 w 4128"/>
                      <a:gd name="T5" fmla="*/ 828 h 2839"/>
                      <a:gd name="T6" fmla="*/ 3584 w 4128"/>
                      <a:gd name="T7" fmla="*/ 948 h 2839"/>
                      <a:gd name="T8" fmla="*/ 3368 w 4128"/>
                      <a:gd name="T9" fmla="*/ 1074 h 2839"/>
                      <a:gd name="T10" fmla="*/ 3186 w 4128"/>
                      <a:gd name="T11" fmla="*/ 1120 h 2839"/>
                      <a:gd name="T12" fmla="*/ 3143 w 4128"/>
                      <a:gd name="T13" fmla="*/ 1020 h 2839"/>
                      <a:gd name="T14" fmla="*/ 2909 w 4128"/>
                      <a:gd name="T15" fmla="*/ 1170 h 2839"/>
                      <a:gd name="T16" fmla="*/ 3039 w 4128"/>
                      <a:gd name="T17" fmla="*/ 1299 h 2839"/>
                      <a:gd name="T18" fmla="*/ 3227 w 4128"/>
                      <a:gd name="T19" fmla="*/ 1316 h 2839"/>
                      <a:gd name="T20" fmla="*/ 2982 w 4128"/>
                      <a:gd name="T21" fmla="*/ 1481 h 2839"/>
                      <a:gd name="T22" fmla="*/ 3146 w 4128"/>
                      <a:gd name="T23" fmla="*/ 1743 h 2839"/>
                      <a:gd name="T24" fmla="*/ 3147 w 4128"/>
                      <a:gd name="T25" fmla="*/ 1894 h 2839"/>
                      <a:gd name="T26" fmla="*/ 3013 w 4128"/>
                      <a:gd name="T27" fmla="*/ 2119 h 2839"/>
                      <a:gd name="T28" fmla="*/ 2678 w 4128"/>
                      <a:gd name="T29" fmla="*/ 2466 h 2839"/>
                      <a:gd name="T30" fmla="*/ 2488 w 4128"/>
                      <a:gd name="T31" fmla="*/ 2526 h 2839"/>
                      <a:gd name="T32" fmla="*/ 2244 w 4128"/>
                      <a:gd name="T33" fmla="*/ 2670 h 2839"/>
                      <a:gd name="T34" fmla="*/ 2121 w 4128"/>
                      <a:gd name="T35" fmla="*/ 2566 h 2839"/>
                      <a:gd name="T36" fmla="*/ 1972 w 4128"/>
                      <a:gd name="T37" fmla="*/ 2451 h 2839"/>
                      <a:gd name="T38" fmla="*/ 1752 w 4128"/>
                      <a:gd name="T39" fmla="*/ 2473 h 2839"/>
                      <a:gd name="T40" fmla="*/ 1642 w 4128"/>
                      <a:gd name="T41" fmla="*/ 2595 h 2839"/>
                      <a:gd name="T42" fmla="*/ 1554 w 4128"/>
                      <a:gd name="T43" fmla="*/ 2551 h 2839"/>
                      <a:gd name="T44" fmla="*/ 1478 w 4128"/>
                      <a:gd name="T45" fmla="*/ 2363 h 2839"/>
                      <a:gd name="T46" fmla="*/ 1503 w 4128"/>
                      <a:gd name="T47" fmla="*/ 2145 h 2839"/>
                      <a:gd name="T48" fmla="*/ 1422 w 4128"/>
                      <a:gd name="T49" fmla="*/ 2021 h 2839"/>
                      <a:gd name="T50" fmla="*/ 1297 w 4128"/>
                      <a:gd name="T51" fmla="*/ 1959 h 2839"/>
                      <a:gd name="T52" fmla="*/ 1026 w 4128"/>
                      <a:gd name="T53" fmla="*/ 2061 h 2839"/>
                      <a:gd name="T54" fmla="*/ 875 w 4128"/>
                      <a:gd name="T55" fmla="*/ 2039 h 2839"/>
                      <a:gd name="T56" fmla="*/ 699 w 4128"/>
                      <a:gd name="T57" fmla="*/ 2045 h 2839"/>
                      <a:gd name="T58" fmla="*/ 505 w 4128"/>
                      <a:gd name="T59" fmla="*/ 1935 h 2839"/>
                      <a:gd name="T60" fmla="*/ 325 w 4128"/>
                      <a:gd name="T61" fmla="*/ 1865 h 2839"/>
                      <a:gd name="T62" fmla="*/ 230 w 4128"/>
                      <a:gd name="T63" fmla="*/ 1677 h 2839"/>
                      <a:gd name="T64" fmla="*/ 197 w 4128"/>
                      <a:gd name="T65" fmla="*/ 1434 h 2839"/>
                      <a:gd name="T66" fmla="*/ 45 w 4128"/>
                      <a:gd name="T67" fmla="*/ 1277 h 2839"/>
                      <a:gd name="T68" fmla="*/ 0 w 4128"/>
                      <a:gd name="T69" fmla="*/ 1189 h 2839"/>
                      <a:gd name="T70" fmla="*/ 103 w 4128"/>
                      <a:gd name="T71" fmla="*/ 1039 h 2839"/>
                      <a:gd name="T72" fmla="*/ 349 w 4128"/>
                      <a:gd name="T73" fmla="*/ 972 h 2839"/>
                      <a:gd name="T74" fmla="*/ 524 w 4128"/>
                      <a:gd name="T75" fmla="*/ 832 h 2839"/>
                      <a:gd name="T76" fmla="*/ 739 w 4128"/>
                      <a:gd name="T77" fmla="*/ 624 h 2839"/>
                      <a:gd name="T78" fmla="*/ 1027 w 4128"/>
                      <a:gd name="T79" fmla="*/ 391 h 2839"/>
                      <a:gd name="T80" fmla="*/ 1172 w 4128"/>
                      <a:gd name="T81" fmla="*/ 380 h 2839"/>
                      <a:gd name="T82" fmla="*/ 1264 w 4128"/>
                      <a:gd name="T83" fmla="*/ 609 h 2839"/>
                      <a:gd name="T84" fmla="*/ 1498 w 4128"/>
                      <a:gd name="T85" fmla="*/ 719 h 2839"/>
                      <a:gd name="T86" fmla="*/ 1645 w 4128"/>
                      <a:gd name="T87" fmla="*/ 846 h 2839"/>
                      <a:gd name="T88" fmla="*/ 2013 w 4128"/>
                      <a:gd name="T89" fmla="*/ 915 h 2839"/>
                      <a:gd name="T90" fmla="*/ 2312 w 4128"/>
                      <a:gd name="T91" fmla="*/ 869 h 2839"/>
                      <a:gd name="T92" fmla="*/ 2597 w 4128"/>
                      <a:gd name="T93" fmla="*/ 768 h 2839"/>
                      <a:gd name="T94" fmla="*/ 2654 w 4128"/>
                      <a:gd name="T95" fmla="*/ 665 h 2839"/>
                      <a:gd name="T96" fmla="*/ 2948 w 4128"/>
                      <a:gd name="T97" fmla="*/ 556 h 2839"/>
                      <a:gd name="T98" fmla="*/ 3150 w 4128"/>
                      <a:gd name="T99" fmla="*/ 504 h 2839"/>
                      <a:gd name="T100" fmla="*/ 2942 w 4128"/>
                      <a:gd name="T101" fmla="*/ 439 h 2839"/>
                      <a:gd name="T102" fmla="*/ 2993 w 4128"/>
                      <a:gd name="T103" fmla="*/ 279 h 2839"/>
                      <a:gd name="T104" fmla="*/ 3235 w 4128"/>
                      <a:gd name="T105" fmla="*/ 141 h 2839"/>
                      <a:gd name="T106" fmla="*/ 3308 w 4128"/>
                      <a:gd name="T107" fmla="*/ 16 h 2839"/>
                      <a:gd name="T108" fmla="*/ 3603 w 4128"/>
                      <a:gd name="T109" fmla="*/ 51 h 2839"/>
                      <a:gd name="T110" fmla="*/ 3677 w 4128"/>
                      <a:gd name="T111" fmla="*/ 289 h 2839"/>
                      <a:gd name="T112" fmla="*/ 3964 w 4128"/>
                      <a:gd name="T113" fmla="*/ 444 h 2839"/>
                      <a:gd name="T114" fmla="*/ 4063 w 4128"/>
                      <a:gd name="T115" fmla="*/ 490 h 2839"/>
                      <a:gd name="T116" fmla="*/ 3849 w 4128"/>
                      <a:gd name="T117" fmla="*/ 669 h 2839"/>
                      <a:gd name="T118" fmla="*/ 3807 w 4128"/>
                      <a:gd name="T119" fmla="*/ 875 h 2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28" h="2839">
                        <a:moveTo>
                          <a:pt x="2268" y="2800"/>
                        </a:moveTo>
                        <a:lnTo>
                          <a:pt x="2204" y="2839"/>
                        </a:lnTo>
                        <a:lnTo>
                          <a:pt x="2148" y="2814"/>
                        </a:lnTo>
                        <a:lnTo>
                          <a:pt x="2151" y="2744"/>
                        </a:lnTo>
                        <a:lnTo>
                          <a:pt x="2187" y="2708"/>
                        </a:lnTo>
                        <a:lnTo>
                          <a:pt x="2265" y="2685"/>
                        </a:lnTo>
                        <a:lnTo>
                          <a:pt x="2307" y="2686"/>
                        </a:lnTo>
                        <a:lnTo>
                          <a:pt x="2320" y="2718"/>
                        </a:lnTo>
                        <a:lnTo>
                          <a:pt x="2287" y="2753"/>
                        </a:lnTo>
                        <a:lnTo>
                          <a:pt x="2268" y="2800"/>
                        </a:lnTo>
                        <a:close/>
                        <a:moveTo>
                          <a:pt x="3807" y="875"/>
                        </a:moveTo>
                        <a:lnTo>
                          <a:pt x="3768" y="828"/>
                        </a:lnTo>
                        <a:lnTo>
                          <a:pt x="3738" y="873"/>
                        </a:lnTo>
                        <a:lnTo>
                          <a:pt x="3634" y="908"/>
                        </a:lnTo>
                        <a:lnTo>
                          <a:pt x="3641" y="950"/>
                        </a:lnTo>
                        <a:lnTo>
                          <a:pt x="3584" y="948"/>
                        </a:lnTo>
                        <a:lnTo>
                          <a:pt x="3556" y="921"/>
                        </a:lnTo>
                        <a:lnTo>
                          <a:pt x="3504" y="979"/>
                        </a:lnTo>
                        <a:lnTo>
                          <a:pt x="3427" y="1023"/>
                        </a:lnTo>
                        <a:lnTo>
                          <a:pt x="3368" y="1074"/>
                        </a:lnTo>
                        <a:lnTo>
                          <a:pt x="3273" y="1098"/>
                        </a:lnTo>
                        <a:lnTo>
                          <a:pt x="3219" y="1135"/>
                        </a:lnTo>
                        <a:lnTo>
                          <a:pt x="3146" y="1158"/>
                        </a:lnTo>
                        <a:lnTo>
                          <a:pt x="3186" y="1120"/>
                        </a:lnTo>
                        <a:lnTo>
                          <a:pt x="3174" y="1089"/>
                        </a:lnTo>
                        <a:lnTo>
                          <a:pt x="3233" y="1034"/>
                        </a:lnTo>
                        <a:lnTo>
                          <a:pt x="3204" y="991"/>
                        </a:lnTo>
                        <a:lnTo>
                          <a:pt x="3143" y="1020"/>
                        </a:lnTo>
                        <a:lnTo>
                          <a:pt x="3062" y="1076"/>
                        </a:lnTo>
                        <a:lnTo>
                          <a:pt x="3014" y="1129"/>
                        </a:lnTo>
                        <a:lnTo>
                          <a:pt x="2948" y="1133"/>
                        </a:lnTo>
                        <a:lnTo>
                          <a:pt x="2909" y="1170"/>
                        </a:lnTo>
                        <a:lnTo>
                          <a:pt x="2938" y="1225"/>
                        </a:lnTo>
                        <a:lnTo>
                          <a:pt x="2991" y="1239"/>
                        </a:lnTo>
                        <a:lnTo>
                          <a:pt x="2989" y="1275"/>
                        </a:lnTo>
                        <a:lnTo>
                          <a:pt x="3039" y="1299"/>
                        </a:lnTo>
                        <a:lnTo>
                          <a:pt x="3121" y="1240"/>
                        </a:lnTo>
                        <a:lnTo>
                          <a:pt x="3177" y="1273"/>
                        </a:lnTo>
                        <a:lnTo>
                          <a:pt x="3219" y="1274"/>
                        </a:lnTo>
                        <a:lnTo>
                          <a:pt x="3227" y="1316"/>
                        </a:lnTo>
                        <a:lnTo>
                          <a:pt x="3129" y="1339"/>
                        </a:lnTo>
                        <a:lnTo>
                          <a:pt x="3093" y="1383"/>
                        </a:lnTo>
                        <a:lnTo>
                          <a:pt x="3023" y="1424"/>
                        </a:lnTo>
                        <a:lnTo>
                          <a:pt x="2982" y="1481"/>
                        </a:lnTo>
                        <a:lnTo>
                          <a:pt x="3051" y="1525"/>
                        </a:lnTo>
                        <a:lnTo>
                          <a:pt x="3069" y="1605"/>
                        </a:lnTo>
                        <a:lnTo>
                          <a:pt x="3104" y="1680"/>
                        </a:lnTo>
                        <a:lnTo>
                          <a:pt x="3146" y="1743"/>
                        </a:lnTo>
                        <a:lnTo>
                          <a:pt x="3139" y="1803"/>
                        </a:lnTo>
                        <a:lnTo>
                          <a:pt x="3094" y="1825"/>
                        </a:lnTo>
                        <a:lnTo>
                          <a:pt x="3108" y="1869"/>
                        </a:lnTo>
                        <a:lnTo>
                          <a:pt x="3147" y="1894"/>
                        </a:lnTo>
                        <a:lnTo>
                          <a:pt x="3131" y="1960"/>
                        </a:lnTo>
                        <a:lnTo>
                          <a:pt x="3109" y="2024"/>
                        </a:lnTo>
                        <a:lnTo>
                          <a:pt x="3069" y="2031"/>
                        </a:lnTo>
                        <a:lnTo>
                          <a:pt x="3013" y="2119"/>
                        </a:lnTo>
                        <a:lnTo>
                          <a:pt x="2951" y="2226"/>
                        </a:lnTo>
                        <a:lnTo>
                          <a:pt x="2879" y="2323"/>
                        </a:lnTo>
                        <a:lnTo>
                          <a:pt x="2779" y="2398"/>
                        </a:lnTo>
                        <a:lnTo>
                          <a:pt x="2678" y="2466"/>
                        </a:lnTo>
                        <a:lnTo>
                          <a:pt x="2598" y="2476"/>
                        </a:lnTo>
                        <a:lnTo>
                          <a:pt x="2553" y="2511"/>
                        </a:lnTo>
                        <a:lnTo>
                          <a:pt x="2531" y="2485"/>
                        </a:lnTo>
                        <a:lnTo>
                          <a:pt x="2488" y="2526"/>
                        </a:lnTo>
                        <a:lnTo>
                          <a:pt x="2388" y="2566"/>
                        </a:lnTo>
                        <a:lnTo>
                          <a:pt x="2313" y="2579"/>
                        </a:lnTo>
                        <a:lnTo>
                          <a:pt x="2283" y="2665"/>
                        </a:lnTo>
                        <a:lnTo>
                          <a:pt x="2244" y="2670"/>
                        </a:lnTo>
                        <a:lnTo>
                          <a:pt x="2229" y="2611"/>
                        </a:lnTo>
                        <a:lnTo>
                          <a:pt x="2248" y="2579"/>
                        </a:lnTo>
                        <a:lnTo>
                          <a:pt x="2154" y="2554"/>
                        </a:lnTo>
                        <a:lnTo>
                          <a:pt x="2121" y="2566"/>
                        </a:lnTo>
                        <a:lnTo>
                          <a:pt x="2052" y="2545"/>
                        </a:lnTo>
                        <a:lnTo>
                          <a:pt x="2021" y="2513"/>
                        </a:lnTo>
                        <a:lnTo>
                          <a:pt x="2034" y="2465"/>
                        </a:lnTo>
                        <a:lnTo>
                          <a:pt x="1972" y="2451"/>
                        </a:lnTo>
                        <a:lnTo>
                          <a:pt x="1939" y="2420"/>
                        </a:lnTo>
                        <a:lnTo>
                          <a:pt x="1877" y="2464"/>
                        </a:lnTo>
                        <a:lnTo>
                          <a:pt x="1808" y="2473"/>
                        </a:lnTo>
                        <a:lnTo>
                          <a:pt x="1752" y="2473"/>
                        </a:lnTo>
                        <a:lnTo>
                          <a:pt x="1713" y="2493"/>
                        </a:lnTo>
                        <a:lnTo>
                          <a:pt x="1676" y="2504"/>
                        </a:lnTo>
                        <a:lnTo>
                          <a:pt x="1679" y="2598"/>
                        </a:lnTo>
                        <a:lnTo>
                          <a:pt x="1642" y="2595"/>
                        </a:lnTo>
                        <a:lnTo>
                          <a:pt x="1637" y="2576"/>
                        </a:lnTo>
                        <a:lnTo>
                          <a:pt x="1637" y="2543"/>
                        </a:lnTo>
                        <a:lnTo>
                          <a:pt x="1584" y="2566"/>
                        </a:lnTo>
                        <a:lnTo>
                          <a:pt x="1554" y="2551"/>
                        </a:lnTo>
                        <a:lnTo>
                          <a:pt x="1504" y="2520"/>
                        </a:lnTo>
                        <a:lnTo>
                          <a:pt x="1531" y="2453"/>
                        </a:lnTo>
                        <a:lnTo>
                          <a:pt x="1488" y="2438"/>
                        </a:lnTo>
                        <a:lnTo>
                          <a:pt x="1478" y="2363"/>
                        </a:lnTo>
                        <a:lnTo>
                          <a:pt x="1402" y="2376"/>
                        </a:lnTo>
                        <a:lnTo>
                          <a:pt x="1421" y="2280"/>
                        </a:lnTo>
                        <a:lnTo>
                          <a:pt x="1493" y="2211"/>
                        </a:lnTo>
                        <a:lnTo>
                          <a:pt x="1503" y="2145"/>
                        </a:lnTo>
                        <a:lnTo>
                          <a:pt x="1508" y="2083"/>
                        </a:lnTo>
                        <a:lnTo>
                          <a:pt x="1481" y="2063"/>
                        </a:lnTo>
                        <a:lnTo>
                          <a:pt x="1463" y="2015"/>
                        </a:lnTo>
                        <a:lnTo>
                          <a:pt x="1422" y="2021"/>
                        </a:lnTo>
                        <a:lnTo>
                          <a:pt x="1348" y="2009"/>
                        </a:lnTo>
                        <a:lnTo>
                          <a:pt x="1377" y="1975"/>
                        </a:lnTo>
                        <a:lnTo>
                          <a:pt x="1351" y="1924"/>
                        </a:lnTo>
                        <a:lnTo>
                          <a:pt x="1297" y="1959"/>
                        </a:lnTo>
                        <a:lnTo>
                          <a:pt x="1242" y="1939"/>
                        </a:lnTo>
                        <a:lnTo>
                          <a:pt x="1154" y="1990"/>
                        </a:lnTo>
                        <a:lnTo>
                          <a:pt x="1083" y="2051"/>
                        </a:lnTo>
                        <a:lnTo>
                          <a:pt x="1026" y="2061"/>
                        </a:lnTo>
                        <a:lnTo>
                          <a:pt x="999" y="2039"/>
                        </a:lnTo>
                        <a:lnTo>
                          <a:pt x="962" y="2038"/>
                        </a:lnTo>
                        <a:lnTo>
                          <a:pt x="915" y="2019"/>
                        </a:lnTo>
                        <a:lnTo>
                          <a:pt x="875" y="2039"/>
                        </a:lnTo>
                        <a:lnTo>
                          <a:pt x="820" y="2099"/>
                        </a:lnTo>
                        <a:lnTo>
                          <a:pt x="824" y="2035"/>
                        </a:lnTo>
                        <a:lnTo>
                          <a:pt x="779" y="2053"/>
                        </a:lnTo>
                        <a:lnTo>
                          <a:pt x="699" y="2045"/>
                        </a:lnTo>
                        <a:lnTo>
                          <a:pt x="624" y="2026"/>
                        </a:lnTo>
                        <a:lnTo>
                          <a:pt x="573" y="1990"/>
                        </a:lnTo>
                        <a:lnTo>
                          <a:pt x="522" y="1974"/>
                        </a:lnTo>
                        <a:lnTo>
                          <a:pt x="505" y="1935"/>
                        </a:lnTo>
                        <a:lnTo>
                          <a:pt x="469" y="1924"/>
                        </a:lnTo>
                        <a:lnTo>
                          <a:pt x="408" y="1870"/>
                        </a:lnTo>
                        <a:lnTo>
                          <a:pt x="358" y="1845"/>
                        </a:lnTo>
                        <a:lnTo>
                          <a:pt x="325" y="1865"/>
                        </a:lnTo>
                        <a:lnTo>
                          <a:pt x="242" y="1807"/>
                        </a:lnTo>
                        <a:lnTo>
                          <a:pt x="184" y="1756"/>
                        </a:lnTo>
                        <a:lnTo>
                          <a:pt x="184" y="1667"/>
                        </a:lnTo>
                        <a:lnTo>
                          <a:pt x="230" y="1677"/>
                        </a:lnTo>
                        <a:lnTo>
                          <a:pt x="242" y="1636"/>
                        </a:lnTo>
                        <a:lnTo>
                          <a:pt x="224" y="1595"/>
                        </a:lnTo>
                        <a:lnTo>
                          <a:pt x="247" y="1529"/>
                        </a:lnTo>
                        <a:lnTo>
                          <a:pt x="197" y="1434"/>
                        </a:lnTo>
                        <a:lnTo>
                          <a:pt x="94" y="1400"/>
                        </a:lnTo>
                        <a:lnTo>
                          <a:pt x="90" y="1337"/>
                        </a:lnTo>
                        <a:lnTo>
                          <a:pt x="52" y="1300"/>
                        </a:lnTo>
                        <a:lnTo>
                          <a:pt x="45" y="1277"/>
                        </a:lnTo>
                        <a:lnTo>
                          <a:pt x="49" y="1231"/>
                        </a:lnTo>
                        <a:lnTo>
                          <a:pt x="60" y="1199"/>
                        </a:lnTo>
                        <a:lnTo>
                          <a:pt x="25" y="1181"/>
                        </a:lnTo>
                        <a:lnTo>
                          <a:pt x="0" y="1189"/>
                        </a:lnTo>
                        <a:lnTo>
                          <a:pt x="7" y="1114"/>
                        </a:lnTo>
                        <a:lnTo>
                          <a:pt x="32" y="1096"/>
                        </a:lnTo>
                        <a:lnTo>
                          <a:pt x="28" y="1076"/>
                        </a:lnTo>
                        <a:lnTo>
                          <a:pt x="103" y="1039"/>
                        </a:lnTo>
                        <a:lnTo>
                          <a:pt x="154" y="1022"/>
                        </a:lnTo>
                        <a:lnTo>
                          <a:pt x="220" y="1034"/>
                        </a:lnTo>
                        <a:lnTo>
                          <a:pt x="262" y="982"/>
                        </a:lnTo>
                        <a:lnTo>
                          <a:pt x="349" y="972"/>
                        </a:lnTo>
                        <a:lnTo>
                          <a:pt x="382" y="941"/>
                        </a:lnTo>
                        <a:lnTo>
                          <a:pt x="499" y="897"/>
                        </a:lnTo>
                        <a:lnTo>
                          <a:pt x="514" y="879"/>
                        </a:lnTo>
                        <a:lnTo>
                          <a:pt x="524" y="832"/>
                        </a:lnTo>
                        <a:lnTo>
                          <a:pt x="575" y="812"/>
                        </a:lnTo>
                        <a:lnTo>
                          <a:pt x="563" y="672"/>
                        </a:lnTo>
                        <a:lnTo>
                          <a:pt x="700" y="641"/>
                        </a:lnTo>
                        <a:lnTo>
                          <a:pt x="739" y="624"/>
                        </a:lnTo>
                        <a:lnTo>
                          <a:pt x="833" y="481"/>
                        </a:lnTo>
                        <a:lnTo>
                          <a:pt x="950" y="507"/>
                        </a:lnTo>
                        <a:lnTo>
                          <a:pt x="997" y="471"/>
                        </a:lnTo>
                        <a:lnTo>
                          <a:pt x="1027" y="391"/>
                        </a:lnTo>
                        <a:lnTo>
                          <a:pt x="1082" y="384"/>
                        </a:lnTo>
                        <a:lnTo>
                          <a:pt x="1147" y="331"/>
                        </a:lnTo>
                        <a:lnTo>
                          <a:pt x="1173" y="325"/>
                        </a:lnTo>
                        <a:lnTo>
                          <a:pt x="1172" y="380"/>
                        </a:lnTo>
                        <a:lnTo>
                          <a:pt x="1210" y="422"/>
                        </a:lnTo>
                        <a:lnTo>
                          <a:pt x="1292" y="452"/>
                        </a:lnTo>
                        <a:lnTo>
                          <a:pt x="1317" y="516"/>
                        </a:lnTo>
                        <a:lnTo>
                          <a:pt x="1264" y="609"/>
                        </a:lnTo>
                        <a:lnTo>
                          <a:pt x="1278" y="644"/>
                        </a:lnTo>
                        <a:lnTo>
                          <a:pt x="1350" y="657"/>
                        </a:lnTo>
                        <a:lnTo>
                          <a:pt x="1434" y="669"/>
                        </a:lnTo>
                        <a:lnTo>
                          <a:pt x="1498" y="719"/>
                        </a:lnTo>
                        <a:lnTo>
                          <a:pt x="1535" y="727"/>
                        </a:lnTo>
                        <a:lnTo>
                          <a:pt x="1547" y="801"/>
                        </a:lnTo>
                        <a:lnTo>
                          <a:pt x="1573" y="849"/>
                        </a:lnTo>
                        <a:lnTo>
                          <a:pt x="1645" y="846"/>
                        </a:lnTo>
                        <a:lnTo>
                          <a:pt x="1775" y="865"/>
                        </a:lnTo>
                        <a:lnTo>
                          <a:pt x="1865" y="854"/>
                        </a:lnTo>
                        <a:lnTo>
                          <a:pt x="1927" y="865"/>
                        </a:lnTo>
                        <a:lnTo>
                          <a:pt x="2013" y="915"/>
                        </a:lnTo>
                        <a:lnTo>
                          <a:pt x="2092" y="914"/>
                        </a:lnTo>
                        <a:lnTo>
                          <a:pt x="2117" y="940"/>
                        </a:lnTo>
                        <a:lnTo>
                          <a:pt x="2200" y="896"/>
                        </a:lnTo>
                        <a:lnTo>
                          <a:pt x="2312" y="869"/>
                        </a:lnTo>
                        <a:lnTo>
                          <a:pt x="2410" y="865"/>
                        </a:lnTo>
                        <a:lnTo>
                          <a:pt x="2492" y="838"/>
                        </a:lnTo>
                        <a:lnTo>
                          <a:pt x="2547" y="794"/>
                        </a:lnTo>
                        <a:lnTo>
                          <a:pt x="2597" y="768"/>
                        </a:lnTo>
                        <a:lnTo>
                          <a:pt x="2590" y="740"/>
                        </a:lnTo>
                        <a:lnTo>
                          <a:pt x="2575" y="710"/>
                        </a:lnTo>
                        <a:lnTo>
                          <a:pt x="2619" y="659"/>
                        </a:lnTo>
                        <a:lnTo>
                          <a:pt x="2654" y="665"/>
                        </a:lnTo>
                        <a:lnTo>
                          <a:pt x="2718" y="681"/>
                        </a:lnTo>
                        <a:lnTo>
                          <a:pt x="2789" y="639"/>
                        </a:lnTo>
                        <a:lnTo>
                          <a:pt x="2892" y="609"/>
                        </a:lnTo>
                        <a:lnTo>
                          <a:pt x="2948" y="556"/>
                        </a:lnTo>
                        <a:lnTo>
                          <a:pt x="2995" y="533"/>
                        </a:lnTo>
                        <a:lnTo>
                          <a:pt x="3090" y="523"/>
                        </a:lnTo>
                        <a:lnTo>
                          <a:pt x="3139" y="531"/>
                        </a:lnTo>
                        <a:lnTo>
                          <a:pt x="3150" y="504"/>
                        </a:lnTo>
                        <a:lnTo>
                          <a:pt x="3102" y="448"/>
                        </a:lnTo>
                        <a:lnTo>
                          <a:pt x="3055" y="423"/>
                        </a:lnTo>
                        <a:lnTo>
                          <a:pt x="3002" y="451"/>
                        </a:lnTo>
                        <a:lnTo>
                          <a:pt x="2942" y="439"/>
                        </a:lnTo>
                        <a:lnTo>
                          <a:pt x="2904" y="449"/>
                        </a:lnTo>
                        <a:lnTo>
                          <a:pt x="2893" y="418"/>
                        </a:lnTo>
                        <a:lnTo>
                          <a:pt x="2952" y="338"/>
                        </a:lnTo>
                        <a:lnTo>
                          <a:pt x="2993" y="279"/>
                        </a:lnTo>
                        <a:lnTo>
                          <a:pt x="3063" y="309"/>
                        </a:lnTo>
                        <a:lnTo>
                          <a:pt x="3159" y="259"/>
                        </a:lnTo>
                        <a:lnTo>
                          <a:pt x="3164" y="224"/>
                        </a:lnTo>
                        <a:lnTo>
                          <a:pt x="3235" y="141"/>
                        </a:lnTo>
                        <a:lnTo>
                          <a:pt x="3274" y="116"/>
                        </a:lnTo>
                        <a:lnTo>
                          <a:pt x="3280" y="73"/>
                        </a:lnTo>
                        <a:lnTo>
                          <a:pt x="3250" y="55"/>
                        </a:lnTo>
                        <a:lnTo>
                          <a:pt x="3308" y="16"/>
                        </a:lnTo>
                        <a:lnTo>
                          <a:pt x="3386" y="3"/>
                        </a:lnTo>
                        <a:lnTo>
                          <a:pt x="3467" y="0"/>
                        </a:lnTo>
                        <a:lnTo>
                          <a:pt x="3554" y="23"/>
                        </a:lnTo>
                        <a:lnTo>
                          <a:pt x="3603" y="51"/>
                        </a:lnTo>
                        <a:lnTo>
                          <a:pt x="3629" y="130"/>
                        </a:lnTo>
                        <a:lnTo>
                          <a:pt x="3648" y="164"/>
                        </a:lnTo>
                        <a:lnTo>
                          <a:pt x="3663" y="211"/>
                        </a:lnTo>
                        <a:lnTo>
                          <a:pt x="3677" y="289"/>
                        </a:lnTo>
                        <a:lnTo>
                          <a:pt x="3782" y="314"/>
                        </a:lnTo>
                        <a:lnTo>
                          <a:pt x="3851" y="370"/>
                        </a:lnTo>
                        <a:lnTo>
                          <a:pt x="3868" y="444"/>
                        </a:lnTo>
                        <a:lnTo>
                          <a:pt x="3964" y="444"/>
                        </a:lnTo>
                        <a:lnTo>
                          <a:pt x="4022" y="413"/>
                        </a:lnTo>
                        <a:lnTo>
                          <a:pt x="4128" y="390"/>
                        </a:lnTo>
                        <a:lnTo>
                          <a:pt x="4089" y="461"/>
                        </a:lnTo>
                        <a:lnTo>
                          <a:pt x="4063" y="490"/>
                        </a:lnTo>
                        <a:lnTo>
                          <a:pt x="4034" y="578"/>
                        </a:lnTo>
                        <a:lnTo>
                          <a:pt x="3984" y="655"/>
                        </a:lnTo>
                        <a:lnTo>
                          <a:pt x="3908" y="641"/>
                        </a:lnTo>
                        <a:lnTo>
                          <a:pt x="3849" y="669"/>
                        </a:lnTo>
                        <a:lnTo>
                          <a:pt x="3861" y="738"/>
                        </a:lnTo>
                        <a:lnTo>
                          <a:pt x="3843" y="833"/>
                        </a:lnTo>
                        <a:lnTo>
                          <a:pt x="3809" y="835"/>
                        </a:lnTo>
                        <a:lnTo>
                          <a:pt x="3807" y="87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60" name="Côte d'Ivoire" descr="{&quot;Key&quot;:&quot;côte d'ivoire&quot;,&quot;Name&quot;:&quot;Côte d'Ivoire&quot;,&quot;Value&quot;:1.0,&quot;Formula&quot;:&quot;&quot;,&quot;Text&quot;:&quot;&quot;,&quot;OfficeApplication&quot;:1,&quot;HasValue&quot;:true}">
                    <a:extLst>
                      <a:ext uri="{FF2B5EF4-FFF2-40B4-BE49-F238E27FC236}">
                        <a16:creationId xmlns:a16="http://schemas.microsoft.com/office/drawing/2014/main" id="{DCD3E245-4357-D5F0-F9AD-F10624EBEBC5}"/>
                      </a:ext>
                    </a:extLst>
                  </p:cNvPr>
                  <p:cNvSpPr>
                    <a:spLocks/>
                  </p:cNvSpPr>
                  <p:nvPr/>
                </p:nvSpPr>
                <p:spPr bwMode="auto">
                  <a:xfrm>
                    <a:off x="649" y="2546"/>
                    <a:ext cx="124" cy="140"/>
                  </a:xfrm>
                  <a:custGeom>
                    <a:avLst/>
                    <a:gdLst>
                      <a:gd name="T0" fmla="*/ 260 w 444"/>
                      <a:gd name="T1" fmla="*/ 12 h 503"/>
                      <a:gd name="T2" fmla="*/ 290 w 444"/>
                      <a:gd name="T3" fmla="*/ 30 h 503"/>
                      <a:gd name="T4" fmla="*/ 299 w 444"/>
                      <a:gd name="T5" fmla="*/ 57 h 503"/>
                      <a:gd name="T6" fmla="*/ 329 w 444"/>
                      <a:gd name="T7" fmla="*/ 74 h 503"/>
                      <a:gd name="T8" fmla="*/ 357 w 444"/>
                      <a:gd name="T9" fmla="*/ 53 h 503"/>
                      <a:gd name="T10" fmla="*/ 390 w 444"/>
                      <a:gd name="T11" fmla="*/ 51 h 503"/>
                      <a:gd name="T12" fmla="*/ 438 w 444"/>
                      <a:gd name="T13" fmla="*/ 72 h 503"/>
                      <a:gd name="T14" fmla="*/ 444 w 444"/>
                      <a:gd name="T15" fmla="*/ 187 h 503"/>
                      <a:gd name="T16" fmla="*/ 409 w 444"/>
                      <a:gd name="T17" fmla="*/ 256 h 503"/>
                      <a:gd name="T18" fmla="*/ 383 w 444"/>
                      <a:gd name="T19" fmla="*/ 347 h 503"/>
                      <a:gd name="T20" fmla="*/ 409 w 444"/>
                      <a:gd name="T21" fmla="*/ 417 h 503"/>
                      <a:gd name="T22" fmla="*/ 403 w 444"/>
                      <a:gd name="T23" fmla="*/ 450 h 503"/>
                      <a:gd name="T24" fmla="*/ 370 w 444"/>
                      <a:gd name="T25" fmla="*/ 451 h 503"/>
                      <a:gd name="T26" fmla="*/ 322 w 444"/>
                      <a:gd name="T27" fmla="*/ 435 h 503"/>
                      <a:gd name="T28" fmla="*/ 275 w 444"/>
                      <a:gd name="T29" fmla="*/ 436 h 503"/>
                      <a:gd name="T30" fmla="*/ 190 w 444"/>
                      <a:gd name="T31" fmla="*/ 450 h 503"/>
                      <a:gd name="T32" fmla="*/ 138 w 444"/>
                      <a:gd name="T33" fmla="*/ 473 h 503"/>
                      <a:gd name="T34" fmla="*/ 65 w 444"/>
                      <a:gd name="T35" fmla="*/ 503 h 503"/>
                      <a:gd name="T36" fmla="*/ 52 w 444"/>
                      <a:gd name="T37" fmla="*/ 501 h 503"/>
                      <a:gd name="T38" fmla="*/ 62 w 444"/>
                      <a:gd name="T39" fmla="*/ 433 h 503"/>
                      <a:gd name="T40" fmla="*/ 69 w 444"/>
                      <a:gd name="T41" fmla="*/ 423 h 503"/>
                      <a:gd name="T42" fmla="*/ 69 w 444"/>
                      <a:gd name="T43" fmla="*/ 392 h 503"/>
                      <a:gd name="T44" fmla="*/ 42 w 444"/>
                      <a:gd name="T45" fmla="*/ 357 h 503"/>
                      <a:gd name="T46" fmla="*/ 19 w 444"/>
                      <a:gd name="T47" fmla="*/ 352 h 503"/>
                      <a:gd name="T48" fmla="*/ 0 w 444"/>
                      <a:gd name="T49" fmla="*/ 330 h 503"/>
                      <a:gd name="T50" fmla="*/ 19 w 444"/>
                      <a:gd name="T51" fmla="*/ 293 h 503"/>
                      <a:gd name="T52" fmla="*/ 14 w 444"/>
                      <a:gd name="T53" fmla="*/ 255 h 503"/>
                      <a:gd name="T54" fmla="*/ 20 w 444"/>
                      <a:gd name="T55" fmla="*/ 231 h 503"/>
                      <a:gd name="T56" fmla="*/ 32 w 444"/>
                      <a:gd name="T57" fmla="*/ 231 h 503"/>
                      <a:gd name="T58" fmla="*/ 39 w 444"/>
                      <a:gd name="T59" fmla="*/ 195 h 503"/>
                      <a:gd name="T60" fmla="*/ 35 w 444"/>
                      <a:gd name="T61" fmla="*/ 180 h 503"/>
                      <a:gd name="T62" fmla="*/ 43 w 444"/>
                      <a:gd name="T63" fmla="*/ 168 h 503"/>
                      <a:gd name="T64" fmla="*/ 70 w 444"/>
                      <a:gd name="T65" fmla="*/ 158 h 503"/>
                      <a:gd name="T66" fmla="*/ 59 w 444"/>
                      <a:gd name="T67" fmla="*/ 93 h 503"/>
                      <a:gd name="T68" fmla="*/ 47 w 444"/>
                      <a:gd name="T69" fmla="*/ 60 h 503"/>
                      <a:gd name="T70" fmla="*/ 55 w 444"/>
                      <a:gd name="T71" fmla="*/ 32 h 503"/>
                      <a:gd name="T72" fmla="*/ 70 w 444"/>
                      <a:gd name="T73" fmla="*/ 26 h 503"/>
                      <a:gd name="T74" fmla="*/ 80 w 444"/>
                      <a:gd name="T75" fmla="*/ 18 h 503"/>
                      <a:gd name="T76" fmla="*/ 99 w 444"/>
                      <a:gd name="T77" fmla="*/ 31 h 503"/>
                      <a:gd name="T78" fmla="*/ 154 w 444"/>
                      <a:gd name="T79" fmla="*/ 31 h 503"/>
                      <a:gd name="T80" fmla="*/ 170 w 444"/>
                      <a:gd name="T81" fmla="*/ 7 h 503"/>
                      <a:gd name="T82" fmla="*/ 183 w 444"/>
                      <a:gd name="T83" fmla="*/ 10 h 503"/>
                      <a:gd name="T84" fmla="*/ 204 w 444"/>
                      <a:gd name="T85" fmla="*/ 0 h 503"/>
                      <a:gd name="T86" fmla="*/ 212 w 444"/>
                      <a:gd name="T87" fmla="*/ 35 h 503"/>
                      <a:gd name="T88" fmla="*/ 229 w 444"/>
                      <a:gd name="T89" fmla="*/ 25 h 503"/>
                      <a:gd name="T90" fmla="*/ 260 w 444"/>
                      <a:gd name="T91" fmla="*/ 1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4" h="503">
                        <a:moveTo>
                          <a:pt x="260" y="12"/>
                        </a:moveTo>
                        <a:lnTo>
                          <a:pt x="290" y="30"/>
                        </a:lnTo>
                        <a:lnTo>
                          <a:pt x="299" y="57"/>
                        </a:lnTo>
                        <a:lnTo>
                          <a:pt x="329" y="74"/>
                        </a:lnTo>
                        <a:lnTo>
                          <a:pt x="357" y="53"/>
                        </a:lnTo>
                        <a:lnTo>
                          <a:pt x="390" y="51"/>
                        </a:lnTo>
                        <a:lnTo>
                          <a:pt x="438" y="72"/>
                        </a:lnTo>
                        <a:lnTo>
                          <a:pt x="444" y="187"/>
                        </a:lnTo>
                        <a:lnTo>
                          <a:pt x="409" y="256"/>
                        </a:lnTo>
                        <a:lnTo>
                          <a:pt x="383" y="347"/>
                        </a:lnTo>
                        <a:lnTo>
                          <a:pt x="409" y="417"/>
                        </a:lnTo>
                        <a:lnTo>
                          <a:pt x="403" y="450"/>
                        </a:lnTo>
                        <a:lnTo>
                          <a:pt x="370" y="451"/>
                        </a:lnTo>
                        <a:lnTo>
                          <a:pt x="322" y="435"/>
                        </a:lnTo>
                        <a:lnTo>
                          <a:pt x="275" y="436"/>
                        </a:lnTo>
                        <a:lnTo>
                          <a:pt x="190" y="450"/>
                        </a:lnTo>
                        <a:lnTo>
                          <a:pt x="138" y="473"/>
                        </a:lnTo>
                        <a:lnTo>
                          <a:pt x="65" y="503"/>
                        </a:lnTo>
                        <a:lnTo>
                          <a:pt x="52" y="501"/>
                        </a:lnTo>
                        <a:lnTo>
                          <a:pt x="62" y="433"/>
                        </a:lnTo>
                        <a:lnTo>
                          <a:pt x="69" y="423"/>
                        </a:lnTo>
                        <a:lnTo>
                          <a:pt x="69" y="392"/>
                        </a:lnTo>
                        <a:lnTo>
                          <a:pt x="42" y="357"/>
                        </a:lnTo>
                        <a:lnTo>
                          <a:pt x="19" y="352"/>
                        </a:lnTo>
                        <a:lnTo>
                          <a:pt x="0" y="330"/>
                        </a:lnTo>
                        <a:lnTo>
                          <a:pt x="19" y="293"/>
                        </a:lnTo>
                        <a:lnTo>
                          <a:pt x="14" y="255"/>
                        </a:lnTo>
                        <a:lnTo>
                          <a:pt x="20" y="231"/>
                        </a:lnTo>
                        <a:lnTo>
                          <a:pt x="32" y="231"/>
                        </a:lnTo>
                        <a:lnTo>
                          <a:pt x="39" y="195"/>
                        </a:lnTo>
                        <a:lnTo>
                          <a:pt x="35" y="180"/>
                        </a:lnTo>
                        <a:lnTo>
                          <a:pt x="43" y="168"/>
                        </a:lnTo>
                        <a:lnTo>
                          <a:pt x="70" y="158"/>
                        </a:lnTo>
                        <a:lnTo>
                          <a:pt x="59" y="93"/>
                        </a:lnTo>
                        <a:lnTo>
                          <a:pt x="47" y="60"/>
                        </a:lnTo>
                        <a:lnTo>
                          <a:pt x="55" y="32"/>
                        </a:lnTo>
                        <a:lnTo>
                          <a:pt x="70" y="26"/>
                        </a:lnTo>
                        <a:lnTo>
                          <a:pt x="80" y="18"/>
                        </a:lnTo>
                        <a:lnTo>
                          <a:pt x="99" y="31"/>
                        </a:lnTo>
                        <a:lnTo>
                          <a:pt x="154" y="31"/>
                        </a:lnTo>
                        <a:lnTo>
                          <a:pt x="170" y="7"/>
                        </a:lnTo>
                        <a:lnTo>
                          <a:pt x="183" y="10"/>
                        </a:lnTo>
                        <a:lnTo>
                          <a:pt x="204" y="0"/>
                        </a:lnTo>
                        <a:lnTo>
                          <a:pt x="212" y="35"/>
                        </a:lnTo>
                        <a:lnTo>
                          <a:pt x="229" y="25"/>
                        </a:lnTo>
                        <a:lnTo>
                          <a:pt x="260" y="1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61" name="Cameroon" descr="{&quot;Key&quot;:&quot;cameroon&quot;,&quot;Name&quot;:&quot;Cameroon&quot;,&quot;Value&quot;:1.0,&quot;Formula&quot;:&quot;&quot;,&quot;Text&quot;:&quot;&quot;,&quot;OfficeApplication&quot;:1,&quot;HasValue&quot;:true}">
                    <a:extLst>
                      <a:ext uri="{FF2B5EF4-FFF2-40B4-BE49-F238E27FC236}">
                        <a16:creationId xmlns:a16="http://schemas.microsoft.com/office/drawing/2014/main" id="{A25A4189-F36A-C0B1-6C11-A71F2C42A59F}"/>
                      </a:ext>
                    </a:extLst>
                  </p:cNvPr>
                  <p:cNvSpPr>
                    <a:spLocks/>
                  </p:cNvSpPr>
                  <p:nvPr/>
                </p:nvSpPr>
                <p:spPr bwMode="auto">
                  <a:xfrm>
                    <a:off x="988" y="2493"/>
                    <a:ext cx="148" cy="252"/>
                  </a:xfrm>
                  <a:custGeom>
                    <a:avLst/>
                    <a:gdLst>
                      <a:gd name="T0" fmla="*/ 503 w 534"/>
                      <a:gd name="T1" fmla="*/ 443 h 905"/>
                      <a:gd name="T2" fmla="*/ 460 w 534"/>
                      <a:gd name="T3" fmla="*/ 526 h 905"/>
                      <a:gd name="T4" fmla="*/ 443 w 534"/>
                      <a:gd name="T5" fmla="*/ 541 h 905"/>
                      <a:gd name="T6" fmla="*/ 433 w 534"/>
                      <a:gd name="T7" fmla="*/ 603 h 905"/>
                      <a:gd name="T8" fmla="*/ 438 w 534"/>
                      <a:gd name="T9" fmla="*/ 638 h 905"/>
                      <a:gd name="T10" fmla="*/ 431 w 534"/>
                      <a:gd name="T11" fmla="*/ 662 h 905"/>
                      <a:gd name="T12" fmla="*/ 463 w 534"/>
                      <a:gd name="T13" fmla="*/ 704 h 905"/>
                      <a:gd name="T14" fmla="*/ 468 w 534"/>
                      <a:gd name="T15" fmla="*/ 733 h 905"/>
                      <a:gd name="T16" fmla="*/ 491 w 534"/>
                      <a:gd name="T17" fmla="*/ 776 h 905"/>
                      <a:gd name="T18" fmla="*/ 524 w 534"/>
                      <a:gd name="T19" fmla="*/ 802 h 905"/>
                      <a:gd name="T20" fmla="*/ 525 w 534"/>
                      <a:gd name="T21" fmla="*/ 838 h 905"/>
                      <a:gd name="T22" fmla="*/ 531 w 534"/>
                      <a:gd name="T23" fmla="*/ 862 h 905"/>
                      <a:gd name="T24" fmla="*/ 525 w 534"/>
                      <a:gd name="T25" fmla="*/ 905 h 905"/>
                      <a:gd name="T26" fmla="*/ 469 w 534"/>
                      <a:gd name="T27" fmla="*/ 887 h 905"/>
                      <a:gd name="T28" fmla="*/ 411 w 534"/>
                      <a:gd name="T29" fmla="*/ 865 h 905"/>
                      <a:gd name="T30" fmla="*/ 321 w 534"/>
                      <a:gd name="T31" fmla="*/ 862 h 905"/>
                      <a:gd name="T32" fmla="*/ 313 w 534"/>
                      <a:gd name="T33" fmla="*/ 858 h 905"/>
                      <a:gd name="T34" fmla="*/ 269 w 534"/>
                      <a:gd name="T35" fmla="*/ 868 h 905"/>
                      <a:gd name="T36" fmla="*/ 226 w 534"/>
                      <a:gd name="T37" fmla="*/ 857 h 905"/>
                      <a:gd name="T38" fmla="*/ 191 w 534"/>
                      <a:gd name="T39" fmla="*/ 863 h 905"/>
                      <a:gd name="T40" fmla="*/ 75 w 534"/>
                      <a:gd name="T41" fmla="*/ 861 h 905"/>
                      <a:gd name="T42" fmla="*/ 88 w 534"/>
                      <a:gd name="T43" fmla="*/ 797 h 905"/>
                      <a:gd name="T44" fmla="*/ 63 w 534"/>
                      <a:gd name="T45" fmla="*/ 743 h 905"/>
                      <a:gd name="T46" fmla="*/ 30 w 534"/>
                      <a:gd name="T47" fmla="*/ 729 h 905"/>
                      <a:gd name="T48" fmla="*/ 18 w 534"/>
                      <a:gd name="T49" fmla="*/ 693 h 905"/>
                      <a:gd name="T50" fmla="*/ 0 w 534"/>
                      <a:gd name="T51" fmla="*/ 680 h 905"/>
                      <a:gd name="T52" fmla="*/ 2 w 534"/>
                      <a:gd name="T53" fmla="*/ 658 h 905"/>
                      <a:gd name="T54" fmla="*/ 24 w 534"/>
                      <a:gd name="T55" fmla="*/ 600 h 905"/>
                      <a:gd name="T56" fmla="*/ 64 w 534"/>
                      <a:gd name="T57" fmla="*/ 523 h 905"/>
                      <a:gd name="T58" fmla="*/ 84 w 534"/>
                      <a:gd name="T59" fmla="*/ 522 h 905"/>
                      <a:gd name="T60" fmla="*/ 130 w 534"/>
                      <a:gd name="T61" fmla="*/ 474 h 905"/>
                      <a:gd name="T62" fmla="*/ 157 w 534"/>
                      <a:gd name="T63" fmla="*/ 473 h 905"/>
                      <a:gd name="T64" fmla="*/ 195 w 534"/>
                      <a:gd name="T65" fmla="*/ 507 h 905"/>
                      <a:gd name="T66" fmla="*/ 246 w 534"/>
                      <a:gd name="T67" fmla="*/ 479 h 905"/>
                      <a:gd name="T68" fmla="*/ 256 w 534"/>
                      <a:gd name="T69" fmla="*/ 445 h 905"/>
                      <a:gd name="T70" fmla="*/ 275 w 534"/>
                      <a:gd name="T71" fmla="*/ 412 h 905"/>
                      <a:gd name="T72" fmla="*/ 289 w 534"/>
                      <a:gd name="T73" fmla="*/ 372 h 905"/>
                      <a:gd name="T74" fmla="*/ 330 w 534"/>
                      <a:gd name="T75" fmla="*/ 338 h 905"/>
                      <a:gd name="T76" fmla="*/ 350 w 534"/>
                      <a:gd name="T77" fmla="*/ 280 h 905"/>
                      <a:gd name="T78" fmla="*/ 366 w 534"/>
                      <a:gd name="T79" fmla="*/ 263 h 905"/>
                      <a:gd name="T80" fmla="*/ 381 w 534"/>
                      <a:gd name="T81" fmla="*/ 220 h 905"/>
                      <a:gd name="T82" fmla="*/ 405 w 534"/>
                      <a:gd name="T83" fmla="*/ 168 h 905"/>
                      <a:gd name="T84" fmla="*/ 472 w 534"/>
                      <a:gd name="T85" fmla="*/ 105 h 905"/>
                      <a:gd name="T86" fmla="*/ 480 w 534"/>
                      <a:gd name="T87" fmla="*/ 79 h 905"/>
                      <a:gd name="T88" fmla="*/ 489 w 534"/>
                      <a:gd name="T89" fmla="*/ 64 h 905"/>
                      <a:gd name="T90" fmla="*/ 465 w 534"/>
                      <a:gd name="T91" fmla="*/ 32 h 905"/>
                      <a:gd name="T92" fmla="*/ 470 w 534"/>
                      <a:gd name="T93" fmla="*/ 5 h 905"/>
                      <a:gd name="T94" fmla="*/ 491 w 534"/>
                      <a:gd name="T95" fmla="*/ 0 h 905"/>
                      <a:gd name="T96" fmla="*/ 512 w 534"/>
                      <a:gd name="T97" fmla="*/ 53 h 905"/>
                      <a:gd name="T98" fmla="*/ 511 w 534"/>
                      <a:gd name="T99" fmla="*/ 107 h 905"/>
                      <a:gd name="T100" fmla="*/ 502 w 534"/>
                      <a:gd name="T101" fmla="*/ 160 h 905"/>
                      <a:gd name="T102" fmla="*/ 534 w 534"/>
                      <a:gd name="T103" fmla="*/ 235 h 905"/>
                      <a:gd name="T104" fmla="*/ 494 w 534"/>
                      <a:gd name="T105" fmla="*/ 234 h 905"/>
                      <a:gd name="T106" fmla="*/ 472 w 534"/>
                      <a:gd name="T107" fmla="*/ 240 h 905"/>
                      <a:gd name="T108" fmla="*/ 441 w 534"/>
                      <a:gd name="T109" fmla="*/ 232 h 905"/>
                      <a:gd name="T110" fmla="*/ 422 w 534"/>
                      <a:gd name="T111" fmla="*/ 270 h 905"/>
                      <a:gd name="T112" fmla="*/ 460 w 534"/>
                      <a:gd name="T113" fmla="*/ 318 h 905"/>
                      <a:gd name="T114" fmla="*/ 490 w 534"/>
                      <a:gd name="T115" fmla="*/ 332 h 905"/>
                      <a:gd name="T116" fmla="*/ 497 w 534"/>
                      <a:gd name="T117" fmla="*/ 365 h 905"/>
                      <a:gd name="T118" fmla="*/ 515 w 534"/>
                      <a:gd name="T119" fmla="*/ 420 h 905"/>
                      <a:gd name="T120" fmla="*/ 503 w 534"/>
                      <a:gd name="T121" fmla="*/ 443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4" h="905">
                        <a:moveTo>
                          <a:pt x="503" y="443"/>
                        </a:moveTo>
                        <a:lnTo>
                          <a:pt x="460" y="526"/>
                        </a:lnTo>
                        <a:lnTo>
                          <a:pt x="443" y="541"/>
                        </a:lnTo>
                        <a:lnTo>
                          <a:pt x="433" y="603"/>
                        </a:lnTo>
                        <a:lnTo>
                          <a:pt x="438" y="638"/>
                        </a:lnTo>
                        <a:lnTo>
                          <a:pt x="431" y="662"/>
                        </a:lnTo>
                        <a:lnTo>
                          <a:pt x="463" y="704"/>
                        </a:lnTo>
                        <a:lnTo>
                          <a:pt x="468" y="733"/>
                        </a:lnTo>
                        <a:lnTo>
                          <a:pt x="491" y="776"/>
                        </a:lnTo>
                        <a:lnTo>
                          <a:pt x="524" y="802"/>
                        </a:lnTo>
                        <a:lnTo>
                          <a:pt x="525" y="838"/>
                        </a:lnTo>
                        <a:lnTo>
                          <a:pt x="531" y="862"/>
                        </a:lnTo>
                        <a:lnTo>
                          <a:pt x="525" y="905"/>
                        </a:lnTo>
                        <a:lnTo>
                          <a:pt x="469" y="887"/>
                        </a:lnTo>
                        <a:lnTo>
                          <a:pt x="411" y="865"/>
                        </a:lnTo>
                        <a:lnTo>
                          <a:pt x="321" y="862"/>
                        </a:lnTo>
                        <a:lnTo>
                          <a:pt x="313" y="858"/>
                        </a:lnTo>
                        <a:lnTo>
                          <a:pt x="269" y="868"/>
                        </a:lnTo>
                        <a:lnTo>
                          <a:pt x="226" y="857"/>
                        </a:lnTo>
                        <a:lnTo>
                          <a:pt x="191" y="863"/>
                        </a:lnTo>
                        <a:lnTo>
                          <a:pt x="75" y="861"/>
                        </a:lnTo>
                        <a:lnTo>
                          <a:pt x="88" y="797"/>
                        </a:lnTo>
                        <a:lnTo>
                          <a:pt x="63" y="743"/>
                        </a:lnTo>
                        <a:lnTo>
                          <a:pt x="30" y="729"/>
                        </a:lnTo>
                        <a:lnTo>
                          <a:pt x="18" y="693"/>
                        </a:lnTo>
                        <a:lnTo>
                          <a:pt x="0" y="680"/>
                        </a:lnTo>
                        <a:lnTo>
                          <a:pt x="2" y="658"/>
                        </a:lnTo>
                        <a:lnTo>
                          <a:pt x="24" y="600"/>
                        </a:lnTo>
                        <a:lnTo>
                          <a:pt x="64" y="523"/>
                        </a:lnTo>
                        <a:lnTo>
                          <a:pt x="84" y="522"/>
                        </a:lnTo>
                        <a:lnTo>
                          <a:pt x="130" y="474"/>
                        </a:lnTo>
                        <a:lnTo>
                          <a:pt x="157" y="473"/>
                        </a:lnTo>
                        <a:lnTo>
                          <a:pt x="195" y="507"/>
                        </a:lnTo>
                        <a:lnTo>
                          <a:pt x="246" y="479"/>
                        </a:lnTo>
                        <a:lnTo>
                          <a:pt x="256" y="445"/>
                        </a:lnTo>
                        <a:lnTo>
                          <a:pt x="275" y="412"/>
                        </a:lnTo>
                        <a:lnTo>
                          <a:pt x="289" y="372"/>
                        </a:lnTo>
                        <a:lnTo>
                          <a:pt x="330" y="338"/>
                        </a:lnTo>
                        <a:lnTo>
                          <a:pt x="350" y="280"/>
                        </a:lnTo>
                        <a:lnTo>
                          <a:pt x="366" y="263"/>
                        </a:lnTo>
                        <a:lnTo>
                          <a:pt x="381" y="220"/>
                        </a:lnTo>
                        <a:lnTo>
                          <a:pt x="405" y="168"/>
                        </a:lnTo>
                        <a:lnTo>
                          <a:pt x="472" y="105"/>
                        </a:lnTo>
                        <a:lnTo>
                          <a:pt x="480" y="79"/>
                        </a:lnTo>
                        <a:lnTo>
                          <a:pt x="489" y="64"/>
                        </a:lnTo>
                        <a:lnTo>
                          <a:pt x="465" y="32"/>
                        </a:lnTo>
                        <a:lnTo>
                          <a:pt x="470" y="5"/>
                        </a:lnTo>
                        <a:lnTo>
                          <a:pt x="491" y="0"/>
                        </a:lnTo>
                        <a:lnTo>
                          <a:pt x="512" y="53"/>
                        </a:lnTo>
                        <a:lnTo>
                          <a:pt x="511" y="107"/>
                        </a:lnTo>
                        <a:lnTo>
                          <a:pt x="502" y="160"/>
                        </a:lnTo>
                        <a:lnTo>
                          <a:pt x="534" y="235"/>
                        </a:lnTo>
                        <a:lnTo>
                          <a:pt x="494" y="234"/>
                        </a:lnTo>
                        <a:lnTo>
                          <a:pt x="472" y="240"/>
                        </a:lnTo>
                        <a:lnTo>
                          <a:pt x="441" y="232"/>
                        </a:lnTo>
                        <a:lnTo>
                          <a:pt x="422" y="270"/>
                        </a:lnTo>
                        <a:lnTo>
                          <a:pt x="460" y="318"/>
                        </a:lnTo>
                        <a:lnTo>
                          <a:pt x="490" y="332"/>
                        </a:lnTo>
                        <a:lnTo>
                          <a:pt x="497" y="365"/>
                        </a:lnTo>
                        <a:lnTo>
                          <a:pt x="515" y="420"/>
                        </a:lnTo>
                        <a:lnTo>
                          <a:pt x="503" y="44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62" name="Democratic Republic of the Congo" descr="{&quot;Key&quot;:&quot;democratic republic of the congo&quot;,&quot;Name&quot;:&quot;Democratic Republic of the Congo&quot;,&quot;Value&quot;:1.0,&quot;Formula&quot;:&quot;&quot;,&quot;Text&quot;:&quot;&quot;,&quot;OfficeApplication&quot;:1,&quot;HasValue&quot;:true}">
                    <a:extLst>
                      <a:ext uri="{FF2B5EF4-FFF2-40B4-BE49-F238E27FC236}">
                        <a16:creationId xmlns:a16="http://schemas.microsoft.com/office/drawing/2014/main" id="{2D8A1C93-ED84-07A9-FA6B-81BBE728E145}"/>
                      </a:ext>
                    </a:extLst>
                  </p:cNvPr>
                  <p:cNvSpPr>
                    <a:spLocks/>
                  </p:cNvSpPr>
                  <p:nvPr/>
                </p:nvSpPr>
                <p:spPr bwMode="auto">
                  <a:xfrm>
                    <a:off x="1063" y="2666"/>
                    <a:ext cx="376" cy="419"/>
                  </a:xfrm>
                  <a:custGeom>
                    <a:avLst/>
                    <a:gdLst>
                      <a:gd name="T0" fmla="*/ 1127 w 1349"/>
                      <a:gd name="T1" fmla="*/ 69 h 1505"/>
                      <a:gd name="T2" fmla="*/ 1178 w 1349"/>
                      <a:gd name="T3" fmla="*/ 65 h 1505"/>
                      <a:gd name="T4" fmla="*/ 1252 w 1349"/>
                      <a:gd name="T5" fmla="*/ 53 h 1505"/>
                      <a:gd name="T6" fmla="*/ 1328 w 1349"/>
                      <a:gd name="T7" fmla="*/ 142 h 1505"/>
                      <a:gd name="T8" fmla="*/ 1349 w 1349"/>
                      <a:gd name="T9" fmla="*/ 248 h 1505"/>
                      <a:gd name="T10" fmla="*/ 1297 w 1349"/>
                      <a:gd name="T11" fmla="*/ 299 h 1505"/>
                      <a:gd name="T12" fmla="*/ 1253 w 1349"/>
                      <a:gd name="T13" fmla="*/ 379 h 1505"/>
                      <a:gd name="T14" fmla="*/ 1233 w 1349"/>
                      <a:gd name="T15" fmla="*/ 475 h 1505"/>
                      <a:gd name="T16" fmla="*/ 1213 w 1349"/>
                      <a:gd name="T17" fmla="*/ 559 h 1505"/>
                      <a:gd name="T18" fmla="*/ 1201 w 1349"/>
                      <a:gd name="T19" fmla="*/ 614 h 1505"/>
                      <a:gd name="T20" fmla="*/ 1215 w 1349"/>
                      <a:gd name="T21" fmla="*/ 695 h 1505"/>
                      <a:gd name="T22" fmla="*/ 1209 w 1349"/>
                      <a:gd name="T23" fmla="*/ 838 h 1505"/>
                      <a:gd name="T24" fmla="*/ 1220 w 1349"/>
                      <a:gd name="T25" fmla="*/ 918 h 1505"/>
                      <a:gd name="T26" fmla="*/ 1295 w 1349"/>
                      <a:gd name="T27" fmla="*/ 1020 h 1505"/>
                      <a:gd name="T28" fmla="*/ 1330 w 1349"/>
                      <a:gd name="T29" fmla="*/ 1087 h 1505"/>
                      <a:gd name="T30" fmla="*/ 1315 w 1349"/>
                      <a:gd name="T31" fmla="*/ 1097 h 1505"/>
                      <a:gd name="T32" fmla="*/ 1202 w 1349"/>
                      <a:gd name="T33" fmla="*/ 1120 h 1505"/>
                      <a:gd name="T34" fmla="*/ 1204 w 1349"/>
                      <a:gd name="T35" fmla="*/ 1208 h 1505"/>
                      <a:gd name="T36" fmla="*/ 1199 w 1349"/>
                      <a:gd name="T37" fmla="*/ 1387 h 1505"/>
                      <a:gd name="T38" fmla="*/ 1274 w 1349"/>
                      <a:gd name="T39" fmla="*/ 1432 h 1505"/>
                      <a:gd name="T40" fmla="*/ 1308 w 1349"/>
                      <a:gd name="T41" fmla="*/ 1505 h 1505"/>
                      <a:gd name="T42" fmla="*/ 1219 w 1349"/>
                      <a:gd name="T43" fmla="*/ 1459 h 1505"/>
                      <a:gd name="T44" fmla="*/ 1133 w 1349"/>
                      <a:gd name="T45" fmla="*/ 1414 h 1505"/>
                      <a:gd name="T46" fmla="*/ 1070 w 1349"/>
                      <a:gd name="T47" fmla="*/ 1397 h 1505"/>
                      <a:gd name="T48" fmla="*/ 984 w 1349"/>
                      <a:gd name="T49" fmla="*/ 1348 h 1505"/>
                      <a:gd name="T50" fmla="*/ 905 w 1349"/>
                      <a:gd name="T51" fmla="*/ 1343 h 1505"/>
                      <a:gd name="T52" fmla="*/ 874 w 1349"/>
                      <a:gd name="T53" fmla="*/ 1315 h 1505"/>
                      <a:gd name="T54" fmla="*/ 798 w 1349"/>
                      <a:gd name="T55" fmla="*/ 1323 h 1505"/>
                      <a:gd name="T56" fmla="*/ 749 w 1349"/>
                      <a:gd name="T57" fmla="*/ 1328 h 1505"/>
                      <a:gd name="T58" fmla="*/ 718 w 1349"/>
                      <a:gd name="T59" fmla="*/ 1202 h 1505"/>
                      <a:gd name="T60" fmla="*/ 714 w 1349"/>
                      <a:gd name="T61" fmla="*/ 1103 h 1505"/>
                      <a:gd name="T62" fmla="*/ 693 w 1349"/>
                      <a:gd name="T63" fmla="*/ 1020 h 1505"/>
                      <a:gd name="T64" fmla="*/ 610 w 1349"/>
                      <a:gd name="T65" fmla="*/ 992 h 1505"/>
                      <a:gd name="T66" fmla="*/ 570 w 1349"/>
                      <a:gd name="T67" fmla="*/ 1005 h 1505"/>
                      <a:gd name="T68" fmla="*/ 512 w 1349"/>
                      <a:gd name="T69" fmla="*/ 1057 h 1505"/>
                      <a:gd name="T70" fmla="*/ 462 w 1349"/>
                      <a:gd name="T71" fmla="*/ 1065 h 1505"/>
                      <a:gd name="T72" fmla="*/ 393 w 1349"/>
                      <a:gd name="T73" fmla="*/ 1083 h 1505"/>
                      <a:gd name="T74" fmla="*/ 343 w 1349"/>
                      <a:gd name="T75" fmla="*/ 1014 h 1505"/>
                      <a:gd name="T76" fmla="*/ 298 w 1349"/>
                      <a:gd name="T77" fmla="*/ 905 h 1505"/>
                      <a:gd name="T78" fmla="*/ 62 w 1349"/>
                      <a:gd name="T79" fmla="*/ 914 h 1505"/>
                      <a:gd name="T80" fmla="*/ 12 w 1349"/>
                      <a:gd name="T81" fmla="*/ 923 h 1505"/>
                      <a:gd name="T82" fmla="*/ 18 w 1349"/>
                      <a:gd name="T83" fmla="*/ 889 h 1505"/>
                      <a:gd name="T84" fmla="*/ 29 w 1349"/>
                      <a:gd name="T85" fmla="*/ 833 h 1505"/>
                      <a:gd name="T86" fmla="*/ 73 w 1349"/>
                      <a:gd name="T87" fmla="*/ 824 h 1505"/>
                      <a:gd name="T88" fmla="*/ 135 w 1349"/>
                      <a:gd name="T89" fmla="*/ 794 h 1505"/>
                      <a:gd name="T90" fmla="*/ 168 w 1349"/>
                      <a:gd name="T91" fmla="*/ 832 h 1505"/>
                      <a:gd name="T92" fmla="*/ 248 w 1349"/>
                      <a:gd name="T93" fmla="*/ 740 h 1505"/>
                      <a:gd name="T94" fmla="*/ 259 w 1349"/>
                      <a:gd name="T95" fmla="*/ 648 h 1505"/>
                      <a:gd name="T96" fmla="*/ 320 w 1349"/>
                      <a:gd name="T97" fmla="*/ 527 h 1505"/>
                      <a:gd name="T98" fmla="*/ 374 w 1349"/>
                      <a:gd name="T99" fmla="*/ 462 h 1505"/>
                      <a:gd name="T100" fmla="*/ 388 w 1349"/>
                      <a:gd name="T101" fmla="*/ 404 h 1505"/>
                      <a:gd name="T102" fmla="*/ 395 w 1349"/>
                      <a:gd name="T103" fmla="*/ 285 h 1505"/>
                      <a:gd name="T104" fmla="*/ 434 w 1349"/>
                      <a:gd name="T105" fmla="*/ 192 h 1505"/>
                      <a:gd name="T106" fmla="*/ 449 w 1349"/>
                      <a:gd name="T107" fmla="*/ 85 h 1505"/>
                      <a:gd name="T108" fmla="*/ 519 w 1349"/>
                      <a:gd name="T109" fmla="*/ 18 h 1505"/>
                      <a:gd name="T110" fmla="*/ 620 w 1349"/>
                      <a:gd name="T111" fmla="*/ 77 h 1505"/>
                      <a:gd name="T112" fmla="*/ 725 w 1349"/>
                      <a:gd name="T113" fmla="*/ 100 h 1505"/>
                      <a:gd name="T114" fmla="*/ 759 w 1349"/>
                      <a:gd name="T115" fmla="*/ 44 h 1505"/>
                      <a:gd name="T116" fmla="*/ 874 w 1349"/>
                      <a:gd name="T117" fmla="*/ 12 h 1505"/>
                      <a:gd name="T118" fmla="*/ 924 w 1349"/>
                      <a:gd name="T119" fmla="*/ 27 h 1505"/>
                      <a:gd name="T120" fmla="*/ 963 w 1349"/>
                      <a:gd name="T121" fmla="*/ 0 h 1505"/>
                      <a:gd name="T122" fmla="*/ 1063 w 1349"/>
                      <a:gd name="T123" fmla="*/ 10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49" h="1505">
                        <a:moveTo>
                          <a:pt x="1087" y="2"/>
                        </a:moveTo>
                        <a:lnTo>
                          <a:pt x="1127" y="69"/>
                        </a:lnTo>
                        <a:lnTo>
                          <a:pt x="1158" y="79"/>
                        </a:lnTo>
                        <a:lnTo>
                          <a:pt x="1178" y="65"/>
                        </a:lnTo>
                        <a:lnTo>
                          <a:pt x="1212" y="70"/>
                        </a:lnTo>
                        <a:lnTo>
                          <a:pt x="1252" y="53"/>
                        </a:lnTo>
                        <a:lnTo>
                          <a:pt x="1268" y="88"/>
                        </a:lnTo>
                        <a:lnTo>
                          <a:pt x="1328" y="142"/>
                        </a:lnTo>
                        <a:lnTo>
                          <a:pt x="1320" y="238"/>
                        </a:lnTo>
                        <a:lnTo>
                          <a:pt x="1349" y="248"/>
                        </a:lnTo>
                        <a:lnTo>
                          <a:pt x="1325" y="277"/>
                        </a:lnTo>
                        <a:lnTo>
                          <a:pt x="1297" y="299"/>
                        </a:lnTo>
                        <a:lnTo>
                          <a:pt x="1269" y="342"/>
                        </a:lnTo>
                        <a:lnTo>
                          <a:pt x="1253" y="379"/>
                        </a:lnTo>
                        <a:lnTo>
                          <a:pt x="1249" y="444"/>
                        </a:lnTo>
                        <a:lnTo>
                          <a:pt x="1233" y="475"/>
                        </a:lnTo>
                        <a:lnTo>
                          <a:pt x="1233" y="536"/>
                        </a:lnTo>
                        <a:lnTo>
                          <a:pt x="1213" y="559"/>
                        </a:lnTo>
                        <a:lnTo>
                          <a:pt x="1211" y="608"/>
                        </a:lnTo>
                        <a:lnTo>
                          <a:pt x="1201" y="614"/>
                        </a:lnTo>
                        <a:lnTo>
                          <a:pt x="1196" y="658"/>
                        </a:lnTo>
                        <a:lnTo>
                          <a:pt x="1215" y="695"/>
                        </a:lnTo>
                        <a:lnTo>
                          <a:pt x="1217" y="709"/>
                        </a:lnTo>
                        <a:lnTo>
                          <a:pt x="1209" y="838"/>
                        </a:lnTo>
                        <a:lnTo>
                          <a:pt x="1231" y="884"/>
                        </a:lnTo>
                        <a:lnTo>
                          <a:pt x="1220" y="918"/>
                        </a:lnTo>
                        <a:lnTo>
                          <a:pt x="1249" y="976"/>
                        </a:lnTo>
                        <a:lnTo>
                          <a:pt x="1295" y="1020"/>
                        </a:lnTo>
                        <a:lnTo>
                          <a:pt x="1308" y="1065"/>
                        </a:lnTo>
                        <a:lnTo>
                          <a:pt x="1330" y="1087"/>
                        </a:lnTo>
                        <a:lnTo>
                          <a:pt x="1328" y="1100"/>
                        </a:lnTo>
                        <a:lnTo>
                          <a:pt x="1315" y="1097"/>
                        </a:lnTo>
                        <a:lnTo>
                          <a:pt x="1219" y="1110"/>
                        </a:lnTo>
                        <a:lnTo>
                          <a:pt x="1202" y="1120"/>
                        </a:lnTo>
                        <a:lnTo>
                          <a:pt x="1185" y="1173"/>
                        </a:lnTo>
                        <a:lnTo>
                          <a:pt x="1204" y="1208"/>
                        </a:lnTo>
                        <a:lnTo>
                          <a:pt x="1200" y="1304"/>
                        </a:lnTo>
                        <a:lnTo>
                          <a:pt x="1199" y="1387"/>
                        </a:lnTo>
                        <a:lnTo>
                          <a:pt x="1220" y="1400"/>
                        </a:lnTo>
                        <a:lnTo>
                          <a:pt x="1274" y="1432"/>
                        </a:lnTo>
                        <a:lnTo>
                          <a:pt x="1292" y="1418"/>
                        </a:lnTo>
                        <a:lnTo>
                          <a:pt x="1308" y="1505"/>
                        </a:lnTo>
                        <a:lnTo>
                          <a:pt x="1253" y="1504"/>
                        </a:lnTo>
                        <a:lnTo>
                          <a:pt x="1219" y="1459"/>
                        </a:lnTo>
                        <a:lnTo>
                          <a:pt x="1188" y="1425"/>
                        </a:lnTo>
                        <a:lnTo>
                          <a:pt x="1133" y="1414"/>
                        </a:lnTo>
                        <a:lnTo>
                          <a:pt x="1112" y="1372"/>
                        </a:lnTo>
                        <a:lnTo>
                          <a:pt x="1070" y="1397"/>
                        </a:lnTo>
                        <a:lnTo>
                          <a:pt x="1013" y="1385"/>
                        </a:lnTo>
                        <a:lnTo>
                          <a:pt x="984" y="1348"/>
                        </a:lnTo>
                        <a:lnTo>
                          <a:pt x="939" y="1342"/>
                        </a:lnTo>
                        <a:lnTo>
                          <a:pt x="905" y="1343"/>
                        </a:lnTo>
                        <a:lnTo>
                          <a:pt x="899" y="1318"/>
                        </a:lnTo>
                        <a:lnTo>
                          <a:pt x="874" y="1315"/>
                        </a:lnTo>
                        <a:lnTo>
                          <a:pt x="840" y="1310"/>
                        </a:lnTo>
                        <a:lnTo>
                          <a:pt x="798" y="1323"/>
                        </a:lnTo>
                        <a:lnTo>
                          <a:pt x="767" y="1322"/>
                        </a:lnTo>
                        <a:lnTo>
                          <a:pt x="749" y="1328"/>
                        </a:lnTo>
                        <a:lnTo>
                          <a:pt x="744" y="1232"/>
                        </a:lnTo>
                        <a:lnTo>
                          <a:pt x="718" y="1202"/>
                        </a:lnTo>
                        <a:lnTo>
                          <a:pt x="708" y="1152"/>
                        </a:lnTo>
                        <a:lnTo>
                          <a:pt x="714" y="1103"/>
                        </a:lnTo>
                        <a:lnTo>
                          <a:pt x="698" y="1072"/>
                        </a:lnTo>
                        <a:lnTo>
                          <a:pt x="693" y="1020"/>
                        </a:lnTo>
                        <a:lnTo>
                          <a:pt x="605" y="1020"/>
                        </a:lnTo>
                        <a:lnTo>
                          <a:pt x="610" y="992"/>
                        </a:lnTo>
                        <a:lnTo>
                          <a:pt x="573" y="992"/>
                        </a:lnTo>
                        <a:lnTo>
                          <a:pt x="570" y="1005"/>
                        </a:lnTo>
                        <a:lnTo>
                          <a:pt x="527" y="1009"/>
                        </a:lnTo>
                        <a:lnTo>
                          <a:pt x="512" y="1057"/>
                        </a:lnTo>
                        <a:lnTo>
                          <a:pt x="503" y="1077"/>
                        </a:lnTo>
                        <a:lnTo>
                          <a:pt x="462" y="1065"/>
                        </a:lnTo>
                        <a:lnTo>
                          <a:pt x="439" y="1077"/>
                        </a:lnTo>
                        <a:lnTo>
                          <a:pt x="393" y="1083"/>
                        </a:lnTo>
                        <a:lnTo>
                          <a:pt x="362" y="1040"/>
                        </a:lnTo>
                        <a:lnTo>
                          <a:pt x="343" y="1014"/>
                        </a:lnTo>
                        <a:lnTo>
                          <a:pt x="319" y="965"/>
                        </a:lnTo>
                        <a:lnTo>
                          <a:pt x="298" y="905"/>
                        </a:lnTo>
                        <a:lnTo>
                          <a:pt x="87" y="904"/>
                        </a:lnTo>
                        <a:lnTo>
                          <a:pt x="62" y="914"/>
                        </a:lnTo>
                        <a:lnTo>
                          <a:pt x="40" y="913"/>
                        </a:lnTo>
                        <a:lnTo>
                          <a:pt x="12" y="923"/>
                        </a:lnTo>
                        <a:lnTo>
                          <a:pt x="0" y="898"/>
                        </a:lnTo>
                        <a:lnTo>
                          <a:pt x="18" y="889"/>
                        </a:lnTo>
                        <a:lnTo>
                          <a:pt x="18" y="854"/>
                        </a:lnTo>
                        <a:lnTo>
                          <a:pt x="29" y="833"/>
                        </a:lnTo>
                        <a:lnTo>
                          <a:pt x="54" y="817"/>
                        </a:lnTo>
                        <a:lnTo>
                          <a:pt x="73" y="824"/>
                        </a:lnTo>
                        <a:lnTo>
                          <a:pt x="95" y="793"/>
                        </a:lnTo>
                        <a:lnTo>
                          <a:pt x="135" y="794"/>
                        </a:lnTo>
                        <a:lnTo>
                          <a:pt x="140" y="817"/>
                        </a:lnTo>
                        <a:lnTo>
                          <a:pt x="168" y="832"/>
                        </a:lnTo>
                        <a:lnTo>
                          <a:pt x="208" y="780"/>
                        </a:lnTo>
                        <a:lnTo>
                          <a:pt x="248" y="740"/>
                        </a:lnTo>
                        <a:lnTo>
                          <a:pt x="264" y="715"/>
                        </a:lnTo>
                        <a:lnTo>
                          <a:pt x="259" y="648"/>
                        </a:lnTo>
                        <a:lnTo>
                          <a:pt x="288" y="569"/>
                        </a:lnTo>
                        <a:lnTo>
                          <a:pt x="320" y="527"/>
                        </a:lnTo>
                        <a:lnTo>
                          <a:pt x="367" y="488"/>
                        </a:lnTo>
                        <a:lnTo>
                          <a:pt x="374" y="462"/>
                        </a:lnTo>
                        <a:lnTo>
                          <a:pt x="377" y="432"/>
                        </a:lnTo>
                        <a:lnTo>
                          <a:pt x="388" y="404"/>
                        </a:lnTo>
                        <a:lnTo>
                          <a:pt x="384" y="358"/>
                        </a:lnTo>
                        <a:lnTo>
                          <a:pt x="395" y="285"/>
                        </a:lnTo>
                        <a:lnTo>
                          <a:pt x="410" y="235"/>
                        </a:lnTo>
                        <a:lnTo>
                          <a:pt x="434" y="192"/>
                        </a:lnTo>
                        <a:lnTo>
                          <a:pt x="440" y="143"/>
                        </a:lnTo>
                        <a:lnTo>
                          <a:pt x="449" y="85"/>
                        </a:lnTo>
                        <a:lnTo>
                          <a:pt x="479" y="44"/>
                        </a:lnTo>
                        <a:lnTo>
                          <a:pt x="519" y="18"/>
                        </a:lnTo>
                        <a:lnTo>
                          <a:pt x="577" y="47"/>
                        </a:lnTo>
                        <a:lnTo>
                          <a:pt x="620" y="77"/>
                        </a:lnTo>
                        <a:lnTo>
                          <a:pt x="673" y="84"/>
                        </a:lnTo>
                        <a:lnTo>
                          <a:pt x="725" y="100"/>
                        </a:lnTo>
                        <a:lnTo>
                          <a:pt x="749" y="50"/>
                        </a:lnTo>
                        <a:lnTo>
                          <a:pt x="759" y="44"/>
                        </a:lnTo>
                        <a:lnTo>
                          <a:pt x="792" y="53"/>
                        </a:lnTo>
                        <a:lnTo>
                          <a:pt x="874" y="12"/>
                        </a:lnTo>
                        <a:lnTo>
                          <a:pt x="902" y="29"/>
                        </a:lnTo>
                        <a:lnTo>
                          <a:pt x="924" y="27"/>
                        </a:lnTo>
                        <a:lnTo>
                          <a:pt x="937" y="7"/>
                        </a:lnTo>
                        <a:lnTo>
                          <a:pt x="963" y="0"/>
                        </a:lnTo>
                        <a:lnTo>
                          <a:pt x="1017" y="9"/>
                        </a:lnTo>
                        <a:lnTo>
                          <a:pt x="1063" y="10"/>
                        </a:lnTo>
                        <a:lnTo>
                          <a:pt x="1087"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63" name="Congo" descr="{&quot;Key&quot;:&quot;congo&quot;,&quot;Name&quot;:&quot;Congo&quot;,&quot;Value&quot;:1.0,&quot;Formula&quot;:&quot;&quot;,&quot;Text&quot;:&quot;&quot;,&quot;OfficeApplication&quot;:1,&quot;HasValue&quot;:true}">
                    <a:extLst>
                      <a:ext uri="{FF2B5EF4-FFF2-40B4-BE49-F238E27FC236}">
                        <a16:creationId xmlns:a16="http://schemas.microsoft.com/office/drawing/2014/main" id="{77537635-736E-98C2-0DB0-3A7C7F17F718}"/>
                      </a:ext>
                    </a:extLst>
                  </p:cNvPr>
                  <p:cNvSpPr>
                    <a:spLocks/>
                  </p:cNvSpPr>
                  <p:nvPr/>
                </p:nvSpPr>
                <p:spPr bwMode="auto">
                  <a:xfrm>
                    <a:off x="1039" y="2700"/>
                    <a:ext cx="147" cy="199"/>
                  </a:xfrm>
                  <a:custGeom>
                    <a:avLst/>
                    <a:gdLst>
                      <a:gd name="T0" fmla="*/ 526 w 526"/>
                      <a:gd name="T1" fmla="*/ 19 h 712"/>
                      <a:gd name="T2" fmla="*/ 520 w 526"/>
                      <a:gd name="T3" fmla="*/ 68 h 712"/>
                      <a:gd name="T4" fmla="*/ 496 w 526"/>
                      <a:gd name="T5" fmla="*/ 111 h 712"/>
                      <a:gd name="T6" fmla="*/ 481 w 526"/>
                      <a:gd name="T7" fmla="*/ 161 h 712"/>
                      <a:gd name="T8" fmla="*/ 470 w 526"/>
                      <a:gd name="T9" fmla="*/ 234 h 712"/>
                      <a:gd name="T10" fmla="*/ 474 w 526"/>
                      <a:gd name="T11" fmla="*/ 280 h 712"/>
                      <a:gd name="T12" fmla="*/ 463 w 526"/>
                      <a:gd name="T13" fmla="*/ 308 h 712"/>
                      <a:gd name="T14" fmla="*/ 460 w 526"/>
                      <a:gd name="T15" fmla="*/ 337 h 712"/>
                      <a:gd name="T16" fmla="*/ 453 w 526"/>
                      <a:gd name="T17" fmla="*/ 364 h 712"/>
                      <a:gd name="T18" fmla="*/ 406 w 526"/>
                      <a:gd name="T19" fmla="*/ 402 h 712"/>
                      <a:gd name="T20" fmla="*/ 374 w 526"/>
                      <a:gd name="T21" fmla="*/ 445 h 712"/>
                      <a:gd name="T22" fmla="*/ 345 w 526"/>
                      <a:gd name="T23" fmla="*/ 524 h 712"/>
                      <a:gd name="T24" fmla="*/ 350 w 526"/>
                      <a:gd name="T25" fmla="*/ 591 h 712"/>
                      <a:gd name="T26" fmla="*/ 334 w 526"/>
                      <a:gd name="T27" fmla="*/ 616 h 712"/>
                      <a:gd name="T28" fmla="*/ 294 w 526"/>
                      <a:gd name="T29" fmla="*/ 656 h 712"/>
                      <a:gd name="T30" fmla="*/ 254 w 526"/>
                      <a:gd name="T31" fmla="*/ 707 h 712"/>
                      <a:gd name="T32" fmla="*/ 226 w 526"/>
                      <a:gd name="T33" fmla="*/ 692 h 712"/>
                      <a:gd name="T34" fmla="*/ 221 w 526"/>
                      <a:gd name="T35" fmla="*/ 670 h 712"/>
                      <a:gd name="T36" fmla="*/ 181 w 526"/>
                      <a:gd name="T37" fmla="*/ 669 h 712"/>
                      <a:gd name="T38" fmla="*/ 159 w 526"/>
                      <a:gd name="T39" fmla="*/ 700 h 712"/>
                      <a:gd name="T40" fmla="*/ 140 w 526"/>
                      <a:gd name="T41" fmla="*/ 692 h 712"/>
                      <a:gd name="T42" fmla="*/ 111 w 526"/>
                      <a:gd name="T43" fmla="*/ 664 h 712"/>
                      <a:gd name="T44" fmla="*/ 90 w 526"/>
                      <a:gd name="T45" fmla="*/ 677 h 712"/>
                      <a:gd name="T46" fmla="*/ 64 w 526"/>
                      <a:gd name="T47" fmla="*/ 712 h 712"/>
                      <a:gd name="T48" fmla="*/ 0 w 526"/>
                      <a:gd name="T49" fmla="*/ 626 h 712"/>
                      <a:gd name="T50" fmla="*/ 53 w 526"/>
                      <a:gd name="T51" fmla="*/ 582 h 712"/>
                      <a:gd name="T52" fmla="*/ 23 w 526"/>
                      <a:gd name="T53" fmla="*/ 529 h 712"/>
                      <a:gd name="T54" fmla="*/ 46 w 526"/>
                      <a:gd name="T55" fmla="*/ 507 h 712"/>
                      <a:gd name="T56" fmla="*/ 95 w 526"/>
                      <a:gd name="T57" fmla="*/ 497 h 712"/>
                      <a:gd name="T58" fmla="*/ 99 w 526"/>
                      <a:gd name="T59" fmla="*/ 461 h 712"/>
                      <a:gd name="T60" fmla="*/ 139 w 526"/>
                      <a:gd name="T61" fmla="*/ 501 h 712"/>
                      <a:gd name="T62" fmla="*/ 203 w 526"/>
                      <a:gd name="T63" fmla="*/ 504 h 712"/>
                      <a:gd name="T64" fmla="*/ 223 w 526"/>
                      <a:gd name="T65" fmla="*/ 466 h 712"/>
                      <a:gd name="T66" fmla="*/ 231 w 526"/>
                      <a:gd name="T67" fmla="*/ 411 h 712"/>
                      <a:gd name="T68" fmla="*/ 223 w 526"/>
                      <a:gd name="T69" fmla="*/ 349 h 712"/>
                      <a:gd name="T70" fmla="*/ 188 w 526"/>
                      <a:gd name="T71" fmla="*/ 300 h 712"/>
                      <a:gd name="T72" fmla="*/ 220 w 526"/>
                      <a:gd name="T73" fmla="*/ 206 h 712"/>
                      <a:gd name="T74" fmla="*/ 203 w 526"/>
                      <a:gd name="T75" fmla="*/ 190 h 712"/>
                      <a:gd name="T76" fmla="*/ 149 w 526"/>
                      <a:gd name="T77" fmla="*/ 196 h 712"/>
                      <a:gd name="T78" fmla="*/ 130 w 526"/>
                      <a:gd name="T79" fmla="*/ 155 h 712"/>
                      <a:gd name="T80" fmla="*/ 136 w 526"/>
                      <a:gd name="T81" fmla="*/ 119 h 712"/>
                      <a:gd name="T82" fmla="*/ 226 w 526"/>
                      <a:gd name="T83" fmla="*/ 123 h 712"/>
                      <a:gd name="T84" fmla="*/ 284 w 526"/>
                      <a:gd name="T85" fmla="*/ 144 h 712"/>
                      <a:gd name="T86" fmla="*/ 340 w 526"/>
                      <a:gd name="T87" fmla="*/ 163 h 712"/>
                      <a:gd name="T88" fmla="*/ 346 w 526"/>
                      <a:gd name="T89" fmla="*/ 119 h 712"/>
                      <a:gd name="T90" fmla="*/ 388 w 526"/>
                      <a:gd name="T91" fmla="*/ 44 h 712"/>
                      <a:gd name="T92" fmla="*/ 433 w 526"/>
                      <a:gd name="T93" fmla="*/ 0 h 712"/>
                      <a:gd name="T94" fmla="*/ 480 w 526"/>
                      <a:gd name="T95" fmla="*/ 14 h 712"/>
                      <a:gd name="T96" fmla="*/ 526 w 526"/>
                      <a:gd name="T97" fmla="*/ 19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6" h="712">
                        <a:moveTo>
                          <a:pt x="526" y="19"/>
                        </a:moveTo>
                        <a:lnTo>
                          <a:pt x="520" y="68"/>
                        </a:lnTo>
                        <a:lnTo>
                          <a:pt x="496" y="111"/>
                        </a:lnTo>
                        <a:lnTo>
                          <a:pt x="481" y="161"/>
                        </a:lnTo>
                        <a:lnTo>
                          <a:pt x="470" y="234"/>
                        </a:lnTo>
                        <a:lnTo>
                          <a:pt x="474" y="280"/>
                        </a:lnTo>
                        <a:lnTo>
                          <a:pt x="463" y="308"/>
                        </a:lnTo>
                        <a:lnTo>
                          <a:pt x="460" y="337"/>
                        </a:lnTo>
                        <a:lnTo>
                          <a:pt x="453" y="364"/>
                        </a:lnTo>
                        <a:lnTo>
                          <a:pt x="406" y="402"/>
                        </a:lnTo>
                        <a:lnTo>
                          <a:pt x="374" y="445"/>
                        </a:lnTo>
                        <a:lnTo>
                          <a:pt x="345" y="524"/>
                        </a:lnTo>
                        <a:lnTo>
                          <a:pt x="350" y="591"/>
                        </a:lnTo>
                        <a:lnTo>
                          <a:pt x="334" y="616"/>
                        </a:lnTo>
                        <a:lnTo>
                          <a:pt x="294" y="656"/>
                        </a:lnTo>
                        <a:lnTo>
                          <a:pt x="254" y="707"/>
                        </a:lnTo>
                        <a:lnTo>
                          <a:pt x="226" y="692"/>
                        </a:lnTo>
                        <a:lnTo>
                          <a:pt x="221" y="670"/>
                        </a:lnTo>
                        <a:lnTo>
                          <a:pt x="181" y="669"/>
                        </a:lnTo>
                        <a:lnTo>
                          <a:pt x="159" y="700"/>
                        </a:lnTo>
                        <a:lnTo>
                          <a:pt x="140" y="692"/>
                        </a:lnTo>
                        <a:lnTo>
                          <a:pt x="111" y="664"/>
                        </a:lnTo>
                        <a:lnTo>
                          <a:pt x="90" y="677"/>
                        </a:lnTo>
                        <a:lnTo>
                          <a:pt x="64" y="712"/>
                        </a:lnTo>
                        <a:lnTo>
                          <a:pt x="0" y="626"/>
                        </a:lnTo>
                        <a:lnTo>
                          <a:pt x="53" y="582"/>
                        </a:lnTo>
                        <a:lnTo>
                          <a:pt x="23" y="529"/>
                        </a:lnTo>
                        <a:lnTo>
                          <a:pt x="46" y="507"/>
                        </a:lnTo>
                        <a:lnTo>
                          <a:pt x="95" y="497"/>
                        </a:lnTo>
                        <a:lnTo>
                          <a:pt x="99" y="461"/>
                        </a:lnTo>
                        <a:lnTo>
                          <a:pt x="139" y="501"/>
                        </a:lnTo>
                        <a:lnTo>
                          <a:pt x="203" y="504"/>
                        </a:lnTo>
                        <a:lnTo>
                          <a:pt x="223" y="466"/>
                        </a:lnTo>
                        <a:lnTo>
                          <a:pt x="231" y="411"/>
                        </a:lnTo>
                        <a:lnTo>
                          <a:pt x="223" y="349"/>
                        </a:lnTo>
                        <a:lnTo>
                          <a:pt x="188" y="300"/>
                        </a:lnTo>
                        <a:lnTo>
                          <a:pt x="220" y="206"/>
                        </a:lnTo>
                        <a:lnTo>
                          <a:pt x="203" y="190"/>
                        </a:lnTo>
                        <a:lnTo>
                          <a:pt x="149" y="196"/>
                        </a:lnTo>
                        <a:lnTo>
                          <a:pt x="130" y="155"/>
                        </a:lnTo>
                        <a:lnTo>
                          <a:pt x="136" y="119"/>
                        </a:lnTo>
                        <a:lnTo>
                          <a:pt x="226" y="123"/>
                        </a:lnTo>
                        <a:lnTo>
                          <a:pt x="284" y="144"/>
                        </a:lnTo>
                        <a:lnTo>
                          <a:pt x="340" y="163"/>
                        </a:lnTo>
                        <a:lnTo>
                          <a:pt x="346" y="119"/>
                        </a:lnTo>
                        <a:lnTo>
                          <a:pt x="388" y="44"/>
                        </a:lnTo>
                        <a:lnTo>
                          <a:pt x="433" y="0"/>
                        </a:lnTo>
                        <a:lnTo>
                          <a:pt x="480" y="14"/>
                        </a:lnTo>
                        <a:lnTo>
                          <a:pt x="526" y="1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64" name="Colombia" descr="{&quot;Key&quot;:&quot;colombia&quot;,&quot;Name&quot;:&quot;Colombia&quot;,&quot;Value&quot;:1.0,&quot;Formula&quot;:&quot;&quot;,&quot;Text&quot;:&quot;&quot;,&quot;OfficeApplication&quot;:1,&quot;HasValue&quot;:true}">
                    <a:extLst>
                      <a:ext uri="{FF2B5EF4-FFF2-40B4-BE49-F238E27FC236}">
                        <a16:creationId xmlns:a16="http://schemas.microsoft.com/office/drawing/2014/main" id="{73339104-9A5B-71EF-49C6-D54CF789F7AD}"/>
                      </a:ext>
                    </a:extLst>
                  </p:cNvPr>
                  <p:cNvSpPr>
                    <a:spLocks/>
                  </p:cNvSpPr>
                  <p:nvPr/>
                </p:nvSpPr>
                <p:spPr bwMode="auto">
                  <a:xfrm>
                    <a:off x="6439" y="2503"/>
                    <a:ext cx="243" cy="379"/>
                  </a:xfrm>
                  <a:custGeom>
                    <a:avLst/>
                    <a:gdLst>
                      <a:gd name="T0" fmla="*/ 447 w 872"/>
                      <a:gd name="T1" fmla="*/ 68 h 1360"/>
                      <a:gd name="T2" fmla="*/ 408 w 872"/>
                      <a:gd name="T3" fmla="*/ 132 h 1360"/>
                      <a:gd name="T4" fmla="*/ 388 w 872"/>
                      <a:gd name="T5" fmla="*/ 220 h 1360"/>
                      <a:gd name="T6" fmla="*/ 410 w 872"/>
                      <a:gd name="T7" fmla="*/ 273 h 1360"/>
                      <a:gd name="T8" fmla="*/ 439 w 872"/>
                      <a:gd name="T9" fmla="*/ 328 h 1360"/>
                      <a:gd name="T10" fmla="*/ 442 w 872"/>
                      <a:gd name="T11" fmla="*/ 390 h 1360"/>
                      <a:gd name="T12" fmla="*/ 464 w 872"/>
                      <a:gd name="T13" fmla="*/ 414 h 1360"/>
                      <a:gd name="T14" fmla="*/ 574 w 872"/>
                      <a:gd name="T15" fmla="*/ 435 h 1360"/>
                      <a:gd name="T16" fmla="*/ 673 w 872"/>
                      <a:gd name="T17" fmla="*/ 515 h 1360"/>
                      <a:gd name="T18" fmla="*/ 753 w 872"/>
                      <a:gd name="T19" fmla="*/ 512 h 1360"/>
                      <a:gd name="T20" fmla="*/ 819 w 872"/>
                      <a:gd name="T21" fmla="*/ 515 h 1360"/>
                      <a:gd name="T22" fmla="*/ 794 w 872"/>
                      <a:gd name="T23" fmla="*/ 587 h 1360"/>
                      <a:gd name="T24" fmla="*/ 810 w 872"/>
                      <a:gd name="T25" fmla="*/ 699 h 1360"/>
                      <a:gd name="T26" fmla="*/ 835 w 872"/>
                      <a:gd name="T27" fmla="*/ 742 h 1360"/>
                      <a:gd name="T28" fmla="*/ 827 w 872"/>
                      <a:gd name="T29" fmla="*/ 800 h 1360"/>
                      <a:gd name="T30" fmla="*/ 872 w 872"/>
                      <a:gd name="T31" fmla="*/ 909 h 1360"/>
                      <a:gd name="T32" fmla="*/ 843 w 872"/>
                      <a:gd name="T33" fmla="*/ 872 h 1360"/>
                      <a:gd name="T34" fmla="*/ 799 w 872"/>
                      <a:gd name="T35" fmla="*/ 874 h 1360"/>
                      <a:gd name="T36" fmla="*/ 662 w 872"/>
                      <a:gd name="T37" fmla="*/ 923 h 1360"/>
                      <a:gd name="T38" fmla="*/ 702 w 872"/>
                      <a:gd name="T39" fmla="*/ 962 h 1360"/>
                      <a:gd name="T40" fmla="*/ 647 w 872"/>
                      <a:gd name="T41" fmla="*/ 967 h 1360"/>
                      <a:gd name="T42" fmla="*/ 678 w 872"/>
                      <a:gd name="T43" fmla="*/ 1055 h 1360"/>
                      <a:gd name="T44" fmla="*/ 687 w 872"/>
                      <a:gd name="T45" fmla="*/ 1138 h 1360"/>
                      <a:gd name="T46" fmla="*/ 612 w 872"/>
                      <a:gd name="T47" fmla="*/ 1318 h 1360"/>
                      <a:gd name="T48" fmla="*/ 640 w 872"/>
                      <a:gd name="T49" fmla="*/ 1233 h 1360"/>
                      <a:gd name="T50" fmla="*/ 543 w 872"/>
                      <a:gd name="T51" fmla="*/ 1202 h 1360"/>
                      <a:gd name="T52" fmla="*/ 478 w 872"/>
                      <a:gd name="T53" fmla="*/ 1209 h 1360"/>
                      <a:gd name="T54" fmla="*/ 384 w 872"/>
                      <a:gd name="T55" fmla="*/ 1114 h 1360"/>
                      <a:gd name="T56" fmla="*/ 329 w 872"/>
                      <a:gd name="T57" fmla="*/ 1054 h 1360"/>
                      <a:gd name="T58" fmla="*/ 263 w 872"/>
                      <a:gd name="T59" fmla="*/ 1024 h 1360"/>
                      <a:gd name="T60" fmla="*/ 197 w 872"/>
                      <a:gd name="T61" fmla="*/ 978 h 1360"/>
                      <a:gd name="T62" fmla="*/ 115 w 872"/>
                      <a:gd name="T63" fmla="*/ 979 h 1360"/>
                      <a:gd name="T64" fmla="*/ 84 w 872"/>
                      <a:gd name="T65" fmla="*/ 945 h 1360"/>
                      <a:gd name="T66" fmla="*/ 0 w 872"/>
                      <a:gd name="T67" fmla="*/ 874 h 1360"/>
                      <a:gd name="T68" fmla="*/ 23 w 872"/>
                      <a:gd name="T69" fmla="*/ 827 h 1360"/>
                      <a:gd name="T70" fmla="*/ 74 w 872"/>
                      <a:gd name="T71" fmla="*/ 792 h 1360"/>
                      <a:gd name="T72" fmla="*/ 128 w 872"/>
                      <a:gd name="T73" fmla="*/ 698 h 1360"/>
                      <a:gd name="T74" fmla="*/ 112 w 872"/>
                      <a:gd name="T75" fmla="*/ 632 h 1360"/>
                      <a:gd name="T76" fmla="*/ 105 w 872"/>
                      <a:gd name="T77" fmla="*/ 537 h 1360"/>
                      <a:gd name="T78" fmla="*/ 58 w 872"/>
                      <a:gd name="T79" fmla="*/ 424 h 1360"/>
                      <a:gd name="T80" fmla="*/ 88 w 872"/>
                      <a:gd name="T81" fmla="*/ 390 h 1360"/>
                      <a:gd name="T82" fmla="*/ 79 w 872"/>
                      <a:gd name="T83" fmla="*/ 318 h 1360"/>
                      <a:gd name="T84" fmla="*/ 123 w 872"/>
                      <a:gd name="T85" fmla="*/ 309 h 1360"/>
                      <a:gd name="T86" fmla="*/ 200 w 872"/>
                      <a:gd name="T87" fmla="*/ 244 h 1360"/>
                      <a:gd name="T88" fmla="*/ 205 w 872"/>
                      <a:gd name="T89" fmla="*/ 148 h 1360"/>
                      <a:gd name="T90" fmla="*/ 287 w 872"/>
                      <a:gd name="T91" fmla="*/ 109 h 1360"/>
                      <a:gd name="T92" fmla="*/ 348 w 872"/>
                      <a:gd name="T93" fmla="*/ 99 h 1360"/>
                      <a:gd name="T94" fmla="*/ 424 w 872"/>
                      <a:gd name="T95" fmla="*/ 39 h 1360"/>
                      <a:gd name="T96" fmla="*/ 479 w 872"/>
                      <a:gd name="T97" fmla="*/ 5 h 1360"/>
                      <a:gd name="T98" fmla="*/ 490 w 872"/>
                      <a:gd name="T99" fmla="*/ 54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2" h="1360">
                        <a:moveTo>
                          <a:pt x="490" y="54"/>
                        </a:moveTo>
                        <a:lnTo>
                          <a:pt x="447" y="68"/>
                        </a:lnTo>
                        <a:lnTo>
                          <a:pt x="433" y="108"/>
                        </a:lnTo>
                        <a:lnTo>
                          <a:pt x="408" y="132"/>
                        </a:lnTo>
                        <a:lnTo>
                          <a:pt x="390" y="162"/>
                        </a:lnTo>
                        <a:lnTo>
                          <a:pt x="388" y="220"/>
                        </a:lnTo>
                        <a:lnTo>
                          <a:pt x="373" y="268"/>
                        </a:lnTo>
                        <a:lnTo>
                          <a:pt x="410" y="273"/>
                        </a:lnTo>
                        <a:lnTo>
                          <a:pt x="423" y="310"/>
                        </a:lnTo>
                        <a:lnTo>
                          <a:pt x="439" y="328"/>
                        </a:lnTo>
                        <a:lnTo>
                          <a:pt x="448" y="360"/>
                        </a:lnTo>
                        <a:lnTo>
                          <a:pt x="442" y="390"/>
                        </a:lnTo>
                        <a:lnTo>
                          <a:pt x="445" y="408"/>
                        </a:lnTo>
                        <a:lnTo>
                          <a:pt x="464" y="414"/>
                        </a:lnTo>
                        <a:lnTo>
                          <a:pt x="483" y="443"/>
                        </a:lnTo>
                        <a:lnTo>
                          <a:pt x="574" y="435"/>
                        </a:lnTo>
                        <a:lnTo>
                          <a:pt x="617" y="445"/>
                        </a:lnTo>
                        <a:lnTo>
                          <a:pt x="673" y="515"/>
                        </a:lnTo>
                        <a:lnTo>
                          <a:pt x="700" y="507"/>
                        </a:lnTo>
                        <a:lnTo>
                          <a:pt x="753" y="512"/>
                        </a:lnTo>
                        <a:lnTo>
                          <a:pt x="793" y="502"/>
                        </a:lnTo>
                        <a:lnTo>
                          <a:pt x="819" y="515"/>
                        </a:lnTo>
                        <a:lnTo>
                          <a:pt x="809" y="559"/>
                        </a:lnTo>
                        <a:lnTo>
                          <a:pt x="794" y="587"/>
                        </a:lnTo>
                        <a:lnTo>
                          <a:pt x="793" y="645"/>
                        </a:lnTo>
                        <a:lnTo>
                          <a:pt x="810" y="699"/>
                        </a:lnTo>
                        <a:lnTo>
                          <a:pt x="832" y="723"/>
                        </a:lnTo>
                        <a:lnTo>
                          <a:pt x="835" y="742"/>
                        </a:lnTo>
                        <a:lnTo>
                          <a:pt x="800" y="782"/>
                        </a:lnTo>
                        <a:lnTo>
                          <a:pt x="827" y="800"/>
                        </a:lnTo>
                        <a:lnTo>
                          <a:pt x="847" y="828"/>
                        </a:lnTo>
                        <a:lnTo>
                          <a:pt x="872" y="909"/>
                        </a:lnTo>
                        <a:lnTo>
                          <a:pt x="858" y="919"/>
                        </a:lnTo>
                        <a:lnTo>
                          <a:pt x="843" y="872"/>
                        </a:lnTo>
                        <a:lnTo>
                          <a:pt x="822" y="845"/>
                        </a:lnTo>
                        <a:lnTo>
                          <a:pt x="799" y="874"/>
                        </a:lnTo>
                        <a:lnTo>
                          <a:pt x="659" y="872"/>
                        </a:lnTo>
                        <a:lnTo>
                          <a:pt x="662" y="923"/>
                        </a:lnTo>
                        <a:lnTo>
                          <a:pt x="704" y="932"/>
                        </a:lnTo>
                        <a:lnTo>
                          <a:pt x="702" y="962"/>
                        </a:lnTo>
                        <a:lnTo>
                          <a:pt x="687" y="954"/>
                        </a:lnTo>
                        <a:lnTo>
                          <a:pt x="647" y="967"/>
                        </a:lnTo>
                        <a:lnTo>
                          <a:pt x="647" y="1027"/>
                        </a:lnTo>
                        <a:lnTo>
                          <a:pt x="678" y="1055"/>
                        </a:lnTo>
                        <a:lnTo>
                          <a:pt x="689" y="1103"/>
                        </a:lnTo>
                        <a:lnTo>
                          <a:pt x="687" y="1138"/>
                        </a:lnTo>
                        <a:lnTo>
                          <a:pt x="645" y="1360"/>
                        </a:lnTo>
                        <a:lnTo>
                          <a:pt x="612" y="1318"/>
                        </a:lnTo>
                        <a:lnTo>
                          <a:pt x="590" y="1315"/>
                        </a:lnTo>
                        <a:lnTo>
                          <a:pt x="640" y="1233"/>
                        </a:lnTo>
                        <a:lnTo>
                          <a:pt x="587" y="1194"/>
                        </a:lnTo>
                        <a:lnTo>
                          <a:pt x="543" y="1202"/>
                        </a:lnTo>
                        <a:lnTo>
                          <a:pt x="518" y="1188"/>
                        </a:lnTo>
                        <a:lnTo>
                          <a:pt x="478" y="1209"/>
                        </a:lnTo>
                        <a:lnTo>
                          <a:pt x="424" y="1199"/>
                        </a:lnTo>
                        <a:lnTo>
                          <a:pt x="384" y="1114"/>
                        </a:lnTo>
                        <a:lnTo>
                          <a:pt x="352" y="1093"/>
                        </a:lnTo>
                        <a:lnTo>
                          <a:pt x="329" y="1054"/>
                        </a:lnTo>
                        <a:lnTo>
                          <a:pt x="282" y="1015"/>
                        </a:lnTo>
                        <a:lnTo>
                          <a:pt x="263" y="1024"/>
                        </a:lnTo>
                        <a:lnTo>
                          <a:pt x="232" y="1004"/>
                        </a:lnTo>
                        <a:lnTo>
                          <a:pt x="197" y="978"/>
                        </a:lnTo>
                        <a:lnTo>
                          <a:pt x="177" y="990"/>
                        </a:lnTo>
                        <a:lnTo>
                          <a:pt x="115" y="979"/>
                        </a:lnTo>
                        <a:lnTo>
                          <a:pt x="97" y="944"/>
                        </a:lnTo>
                        <a:lnTo>
                          <a:pt x="84" y="945"/>
                        </a:lnTo>
                        <a:lnTo>
                          <a:pt x="12" y="899"/>
                        </a:lnTo>
                        <a:lnTo>
                          <a:pt x="0" y="874"/>
                        </a:lnTo>
                        <a:lnTo>
                          <a:pt x="28" y="868"/>
                        </a:lnTo>
                        <a:lnTo>
                          <a:pt x="23" y="827"/>
                        </a:lnTo>
                        <a:lnTo>
                          <a:pt x="39" y="798"/>
                        </a:lnTo>
                        <a:lnTo>
                          <a:pt x="74" y="792"/>
                        </a:lnTo>
                        <a:lnTo>
                          <a:pt x="103" y="740"/>
                        </a:lnTo>
                        <a:lnTo>
                          <a:pt x="128" y="698"/>
                        </a:lnTo>
                        <a:lnTo>
                          <a:pt x="100" y="679"/>
                        </a:lnTo>
                        <a:lnTo>
                          <a:pt x="112" y="632"/>
                        </a:lnTo>
                        <a:lnTo>
                          <a:pt x="92" y="558"/>
                        </a:lnTo>
                        <a:lnTo>
                          <a:pt x="105" y="537"/>
                        </a:lnTo>
                        <a:lnTo>
                          <a:pt x="89" y="468"/>
                        </a:lnTo>
                        <a:lnTo>
                          <a:pt x="58" y="424"/>
                        </a:lnTo>
                        <a:lnTo>
                          <a:pt x="64" y="384"/>
                        </a:lnTo>
                        <a:lnTo>
                          <a:pt x="88" y="390"/>
                        </a:lnTo>
                        <a:lnTo>
                          <a:pt x="99" y="367"/>
                        </a:lnTo>
                        <a:lnTo>
                          <a:pt x="79" y="318"/>
                        </a:lnTo>
                        <a:lnTo>
                          <a:pt x="87" y="307"/>
                        </a:lnTo>
                        <a:lnTo>
                          <a:pt x="123" y="309"/>
                        </a:lnTo>
                        <a:lnTo>
                          <a:pt x="172" y="253"/>
                        </a:lnTo>
                        <a:lnTo>
                          <a:pt x="200" y="244"/>
                        </a:lnTo>
                        <a:lnTo>
                          <a:pt x="199" y="217"/>
                        </a:lnTo>
                        <a:lnTo>
                          <a:pt x="205" y="148"/>
                        </a:lnTo>
                        <a:lnTo>
                          <a:pt x="242" y="110"/>
                        </a:lnTo>
                        <a:lnTo>
                          <a:pt x="287" y="109"/>
                        </a:lnTo>
                        <a:lnTo>
                          <a:pt x="290" y="92"/>
                        </a:lnTo>
                        <a:lnTo>
                          <a:pt x="348" y="99"/>
                        </a:lnTo>
                        <a:lnTo>
                          <a:pt x="399" y="58"/>
                        </a:lnTo>
                        <a:lnTo>
                          <a:pt x="424" y="39"/>
                        </a:lnTo>
                        <a:lnTo>
                          <a:pt x="454" y="0"/>
                        </a:lnTo>
                        <a:lnTo>
                          <a:pt x="479" y="5"/>
                        </a:lnTo>
                        <a:lnTo>
                          <a:pt x="502" y="27"/>
                        </a:lnTo>
                        <a:lnTo>
                          <a:pt x="490" y="5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65" name="Costa Rica" descr="{&quot;Key&quot;:&quot;costa rica&quot;,&quot;Name&quot;:&quot;Costa Rica&quot;,&quot;Value&quot;:1.0,&quot;Formula&quot;:&quot;&quot;,&quot;Text&quot;:&quot;&quot;,&quot;OfficeApplication&quot;:1,&quot;HasValue&quot;:true}">
                    <a:extLst>
                      <a:ext uri="{FF2B5EF4-FFF2-40B4-BE49-F238E27FC236}">
                        <a16:creationId xmlns:a16="http://schemas.microsoft.com/office/drawing/2014/main" id="{18FE03B4-A566-8C08-09E7-EAE6FA59746B}"/>
                      </a:ext>
                    </a:extLst>
                  </p:cNvPr>
                  <p:cNvSpPr>
                    <a:spLocks/>
                  </p:cNvSpPr>
                  <p:nvPr/>
                </p:nvSpPr>
                <p:spPr bwMode="auto">
                  <a:xfrm>
                    <a:off x="6287" y="2530"/>
                    <a:ext cx="71" cy="68"/>
                  </a:xfrm>
                  <a:custGeom>
                    <a:avLst/>
                    <a:gdLst>
                      <a:gd name="T0" fmla="*/ 164 w 254"/>
                      <a:gd name="T1" fmla="*/ 23 h 244"/>
                      <a:gd name="T2" fmla="*/ 187 w 254"/>
                      <a:gd name="T3" fmla="*/ 68 h 244"/>
                      <a:gd name="T4" fmla="*/ 217 w 254"/>
                      <a:gd name="T5" fmla="*/ 100 h 244"/>
                      <a:gd name="T6" fmla="*/ 254 w 254"/>
                      <a:gd name="T7" fmla="*/ 135 h 244"/>
                      <a:gd name="T8" fmla="*/ 227 w 254"/>
                      <a:gd name="T9" fmla="*/ 142 h 244"/>
                      <a:gd name="T10" fmla="*/ 230 w 254"/>
                      <a:gd name="T11" fmla="*/ 175 h 244"/>
                      <a:gd name="T12" fmla="*/ 245 w 254"/>
                      <a:gd name="T13" fmla="*/ 187 h 244"/>
                      <a:gd name="T14" fmla="*/ 235 w 254"/>
                      <a:gd name="T15" fmla="*/ 197 h 244"/>
                      <a:gd name="T16" fmla="*/ 240 w 254"/>
                      <a:gd name="T17" fmla="*/ 212 h 244"/>
                      <a:gd name="T18" fmla="*/ 235 w 254"/>
                      <a:gd name="T19" fmla="*/ 228 h 244"/>
                      <a:gd name="T20" fmla="*/ 233 w 254"/>
                      <a:gd name="T21" fmla="*/ 244 h 244"/>
                      <a:gd name="T22" fmla="*/ 193 w 254"/>
                      <a:gd name="T23" fmla="*/ 225 h 244"/>
                      <a:gd name="T24" fmla="*/ 177 w 254"/>
                      <a:gd name="T25" fmla="*/ 209 h 244"/>
                      <a:gd name="T26" fmla="*/ 184 w 254"/>
                      <a:gd name="T27" fmla="*/ 194 h 244"/>
                      <a:gd name="T28" fmla="*/ 179 w 254"/>
                      <a:gd name="T29" fmla="*/ 177 h 244"/>
                      <a:gd name="T30" fmla="*/ 158 w 254"/>
                      <a:gd name="T31" fmla="*/ 158 h 244"/>
                      <a:gd name="T32" fmla="*/ 129 w 254"/>
                      <a:gd name="T33" fmla="*/ 142 h 244"/>
                      <a:gd name="T34" fmla="*/ 103 w 254"/>
                      <a:gd name="T35" fmla="*/ 130 h 244"/>
                      <a:gd name="T36" fmla="*/ 97 w 254"/>
                      <a:gd name="T37" fmla="*/ 107 h 244"/>
                      <a:gd name="T38" fmla="*/ 77 w 254"/>
                      <a:gd name="T39" fmla="*/ 93 h 244"/>
                      <a:gd name="T40" fmla="*/ 83 w 254"/>
                      <a:gd name="T41" fmla="*/ 117 h 244"/>
                      <a:gd name="T42" fmla="*/ 70 w 254"/>
                      <a:gd name="T43" fmla="*/ 135 h 244"/>
                      <a:gd name="T44" fmla="*/ 52 w 254"/>
                      <a:gd name="T45" fmla="*/ 113 h 244"/>
                      <a:gd name="T46" fmla="*/ 28 w 254"/>
                      <a:gd name="T47" fmla="*/ 105 h 244"/>
                      <a:gd name="T48" fmla="*/ 16 w 254"/>
                      <a:gd name="T49" fmla="*/ 89 h 244"/>
                      <a:gd name="T50" fmla="*/ 15 w 254"/>
                      <a:gd name="T51" fmla="*/ 64 h 244"/>
                      <a:gd name="T52" fmla="*/ 22 w 254"/>
                      <a:gd name="T53" fmla="*/ 38 h 244"/>
                      <a:gd name="T54" fmla="*/ 0 w 254"/>
                      <a:gd name="T55" fmla="*/ 27 h 244"/>
                      <a:gd name="T56" fmla="*/ 15 w 254"/>
                      <a:gd name="T57" fmla="*/ 12 h 244"/>
                      <a:gd name="T58" fmla="*/ 25 w 254"/>
                      <a:gd name="T59" fmla="*/ 0 h 244"/>
                      <a:gd name="T60" fmla="*/ 74 w 254"/>
                      <a:gd name="T61" fmla="*/ 22 h 244"/>
                      <a:gd name="T62" fmla="*/ 90 w 254"/>
                      <a:gd name="T63" fmla="*/ 12 h 244"/>
                      <a:gd name="T64" fmla="*/ 113 w 254"/>
                      <a:gd name="T65" fmla="*/ 18 h 244"/>
                      <a:gd name="T66" fmla="*/ 126 w 254"/>
                      <a:gd name="T67" fmla="*/ 35 h 244"/>
                      <a:gd name="T68" fmla="*/ 148 w 254"/>
                      <a:gd name="T69" fmla="*/ 40 h 244"/>
                      <a:gd name="T70" fmla="*/ 164 w 254"/>
                      <a:gd name="T71" fmla="*/ 2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4" h="244">
                        <a:moveTo>
                          <a:pt x="164" y="23"/>
                        </a:moveTo>
                        <a:lnTo>
                          <a:pt x="187" y="68"/>
                        </a:lnTo>
                        <a:lnTo>
                          <a:pt x="217" y="100"/>
                        </a:lnTo>
                        <a:lnTo>
                          <a:pt x="254" y="135"/>
                        </a:lnTo>
                        <a:lnTo>
                          <a:pt x="227" y="142"/>
                        </a:lnTo>
                        <a:lnTo>
                          <a:pt x="230" y="175"/>
                        </a:lnTo>
                        <a:lnTo>
                          <a:pt x="245" y="187"/>
                        </a:lnTo>
                        <a:lnTo>
                          <a:pt x="235" y="197"/>
                        </a:lnTo>
                        <a:lnTo>
                          <a:pt x="240" y="212"/>
                        </a:lnTo>
                        <a:lnTo>
                          <a:pt x="235" y="228"/>
                        </a:lnTo>
                        <a:lnTo>
                          <a:pt x="233" y="244"/>
                        </a:lnTo>
                        <a:lnTo>
                          <a:pt x="193" y="225"/>
                        </a:lnTo>
                        <a:lnTo>
                          <a:pt x="177" y="209"/>
                        </a:lnTo>
                        <a:lnTo>
                          <a:pt x="184" y="194"/>
                        </a:lnTo>
                        <a:lnTo>
                          <a:pt x="179" y="177"/>
                        </a:lnTo>
                        <a:lnTo>
                          <a:pt x="158" y="158"/>
                        </a:lnTo>
                        <a:lnTo>
                          <a:pt x="129" y="142"/>
                        </a:lnTo>
                        <a:lnTo>
                          <a:pt x="103" y="130"/>
                        </a:lnTo>
                        <a:lnTo>
                          <a:pt x="97" y="107"/>
                        </a:lnTo>
                        <a:lnTo>
                          <a:pt x="77" y="93"/>
                        </a:lnTo>
                        <a:lnTo>
                          <a:pt x="83" y="117"/>
                        </a:lnTo>
                        <a:lnTo>
                          <a:pt x="70" y="135"/>
                        </a:lnTo>
                        <a:lnTo>
                          <a:pt x="52" y="113"/>
                        </a:lnTo>
                        <a:lnTo>
                          <a:pt x="28" y="105"/>
                        </a:lnTo>
                        <a:lnTo>
                          <a:pt x="16" y="89"/>
                        </a:lnTo>
                        <a:lnTo>
                          <a:pt x="15" y="64"/>
                        </a:lnTo>
                        <a:lnTo>
                          <a:pt x="22" y="38"/>
                        </a:lnTo>
                        <a:lnTo>
                          <a:pt x="0" y="27"/>
                        </a:lnTo>
                        <a:lnTo>
                          <a:pt x="15" y="12"/>
                        </a:lnTo>
                        <a:lnTo>
                          <a:pt x="25" y="0"/>
                        </a:lnTo>
                        <a:lnTo>
                          <a:pt x="74" y="22"/>
                        </a:lnTo>
                        <a:lnTo>
                          <a:pt x="90" y="12"/>
                        </a:lnTo>
                        <a:lnTo>
                          <a:pt x="113" y="18"/>
                        </a:lnTo>
                        <a:lnTo>
                          <a:pt x="126" y="35"/>
                        </a:lnTo>
                        <a:lnTo>
                          <a:pt x="148" y="40"/>
                        </a:lnTo>
                        <a:lnTo>
                          <a:pt x="164" y="2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2" name="Cuba" descr="{&quot;Key&quot;:&quot;cuba&quot;,&quot;Name&quot;:&quot;Cuba&quot;,&quot;Value&quot;:1.0,&quot;Formula&quot;:&quot;&quot;,&quot;Text&quot;:&quot;&quot;,&quot;OfficeApplication&quot;:1,&quot;HasValue&quot;:true}">
                    <a:extLst>
                      <a:ext uri="{FF2B5EF4-FFF2-40B4-BE49-F238E27FC236}">
                        <a16:creationId xmlns:a16="http://schemas.microsoft.com/office/drawing/2014/main" id="{8BFF3135-4C55-BD53-C14E-772ED48A5641}"/>
                      </a:ext>
                    </a:extLst>
                  </p:cNvPr>
                  <p:cNvSpPr>
                    <a:spLocks/>
                  </p:cNvSpPr>
                  <p:nvPr/>
                </p:nvSpPr>
                <p:spPr bwMode="auto">
                  <a:xfrm>
                    <a:off x="6267" y="2259"/>
                    <a:ext cx="220" cy="76"/>
                  </a:xfrm>
                  <a:custGeom>
                    <a:avLst/>
                    <a:gdLst>
                      <a:gd name="T0" fmla="*/ 358 w 786"/>
                      <a:gd name="T1" fmla="*/ 34 h 271"/>
                      <a:gd name="T2" fmla="*/ 393 w 786"/>
                      <a:gd name="T3" fmla="*/ 64 h 271"/>
                      <a:gd name="T4" fmla="*/ 456 w 786"/>
                      <a:gd name="T5" fmla="*/ 55 h 271"/>
                      <a:gd name="T6" fmla="*/ 485 w 786"/>
                      <a:gd name="T7" fmla="*/ 74 h 271"/>
                      <a:gd name="T8" fmla="*/ 555 w 786"/>
                      <a:gd name="T9" fmla="*/ 124 h 271"/>
                      <a:gd name="T10" fmla="*/ 606 w 786"/>
                      <a:gd name="T11" fmla="*/ 161 h 271"/>
                      <a:gd name="T12" fmla="*/ 629 w 786"/>
                      <a:gd name="T13" fmla="*/ 160 h 271"/>
                      <a:gd name="T14" fmla="*/ 674 w 786"/>
                      <a:gd name="T15" fmla="*/ 176 h 271"/>
                      <a:gd name="T16" fmla="*/ 674 w 786"/>
                      <a:gd name="T17" fmla="*/ 199 h 271"/>
                      <a:gd name="T18" fmla="*/ 726 w 786"/>
                      <a:gd name="T19" fmla="*/ 202 h 271"/>
                      <a:gd name="T20" fmla="*/ 786 w 786"/>
                      <a:gd name="T21" fmla="*/ 236 h 271"/>
                      <a:gd name="T22" fmla="*/ 781 w 786"/>
                      <a:gd name="T23" fmla="*/ 255 h 271"/>
                      <a:gd name="T24" fmla="*/ 736 w 786"/>
                      <a:gd name="T25" fmla="*/ 265 h 271"/>
                      <a:gd name="T26" fmla="*/ 690 w 786"/>
                      <a:gd name="T27" fmla="*/ 269 h 271"/>
                      <a:gd name="T28" fmla="*/ 640 w 786"/>
                      <a:gd name="T29" fmla="*/ 262 h 271"/>
                      <a:gd name="T30" fmla="*/ 540 w 786"/>
                      <a:gd name="T31" fmla="*/ 271 h 271"/>
                      <a:gd name="T32" fmla="*/ 579 w 786"/>
                      <a:gd name="T33" fmla="*/ 225 h 271"/>
                      <a:gd name="T34" fmla="*/ 546 w 786"/>
                      <a:gd name="T35" fmla="*/ 204 h 271"/>
                      <a:gd name="T36" fmla="*/ 500 w 786"/>
                      <a:gd name="T37" fmla="*/ 199 h 271"/>
                      <a:gd name="T38" fmla="*/ 471 w 786"/>
                      <a:gd name="T39" fmla="*/ 175 h 271"/>
                      <a:gd name="T40" fmla="*/ 445 w 786"/>
                      <a:gd name="T41" fmla="*/ 129 h 271"/>
                      <a:gd name="T42" fmla="*/ 406 w 786"/>
                      <a:gd name="T43" fmla="*/ 132 h 271"/>
                      <a:gd name="T44" fmla="*/ 336 w 786"/>
                      <a:gd name="T45" fmla="*/ 110 h 271"/>
                      <a:gd name="T46" fmla="*/ 311 w 786"/>
                      <a:gd name="T47" fmla="*/ 94 h 271"/>
                      <a:gd name="T48" fmla="*/ 217 w 786"/>
                      <a:gd name="T49" fmla="*/ 81 h 271"/>
                      <a:gd name="T50" fmla="*/ 190 w 786"/>
                      <a:gd name="T51" fmla="*/ 65 h 271"/>
                      <a:gd name="T52" fmla="*/ 211 w 786"/>
                      <a:gd name="T53" fmla="*/ 45 h 271"/>
                      <a:gd name="T54" fmla="*/ 141 w 786"/>
                      <a:gd name="T55" fmla="*/ 40 h 271"/>
                      <a:gd name="T56" fmla="*/ 100 w 786"/>
                      <a:gd name="T57" fmla="*/ 82 h 271"/>
                      <a:gd name="T58" fmla="*/ 71 w 786"/>
                      <a:gd name="T59" fmla="*/ 84 h 271"/>
                      <a:gd name="T60" fmla="*/ 65 w 786"/>
                      <a:gd name="T61" fmla="*/ 104 h 271"/>
                      <a:gd name="T62" fmla="*/ 31 w 786"/>
                      <a:gd name="T63" fmla="*/ 112 h 271"/>
                      <a:gd name="T64" fmla="*/ 0 w 786"/>
                      <a:gd name="T65" fmla="*/ 105 h 271"/>
                      <a:gd name="T66" fmla="*/ 32 w 786"/>
                      <a:gd name="T67" fmla="*/ 80 h 271"/>
                      <a:gd name="T68" fmla="*/ 41 w 786"/>
                      <a:gd name="T69" fmla="*/ 50 h 271"/>
                      <a:gd name="T70" fmla="*/ 70 w 786"/>
                      <a:gd name="T71" fmla="*/ 32 h 271"/>
                      <a:gd name="T72" fmla="*/ 102 w 786"/>
                      <a:gd name="T73" fmla="*/ 16 h 271"/>
                      <a:gd name="T74" fmla="*/ 154 w 786"/>
                      <a:gd name="T75" fmla="*/ 9 h 271"/>
                      <a:gd name="T76" fmla="*/ 169 w 786"/>
                      <a:gd name="T77" fmla="*/ 0 h 271"/>
                      <a:gd name="T78" fmla="*/ 231 w 786"/>
                      <a:gd name="T79" fmla="*/ 5 h 271"/>
                      <a:gd name="T80" fmla="*/ 286 w 786"/>
                      <a:gd name="T81" fmla="*/ 6 h 271"/>
                      <a:gd name="T82" fmla="*/ 358 w 786"/>
                      <a:gd name="T83" fmla="*/ 3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86" h="271">
                        <a:moveTo>
                          <a:pt x="358" y="34"/>
                        </a:moveTo>
                        <a:lnTo>
                          <a:pt x="393" y="64"/>
                        </a:lnTo>
                        <a:lnTo>
                          <a:pt x="456" y="55"/>
                        </a:lnTo>
                        <a:lnTo>
                          <a:pt x="485" y="74"/>
                        </a:lnTo>
                        <a:lnTo>
                          <a:pt x="555" y="124"/>
                        </a:lnTo>
                        <a:lnTo>
                          <a:pt x="606" y="161"/>
                        </a:lnTo>
                        <a:lnTo>
                          <a:pt x="629" y="160"/>
                        </a:lnTo>
                        <a:lnTo>
                          <a:pt x="674" y="176"/>
                        </a:lnTo>
                        <a:lnTo>
                          <a:pt x="674" y="199"/>
                        </a:lnTo>
                        <a:lnTo>
                          <a:pt x="726" y="202"/>
                        </a:lnTo>
                        <a:lnTo>
                          <a:pt x="786" y="236"/>
                        </a:lnTo>
                        <a:lnTo>
                          <a:pt x="781" y="255"/>
                        </a:lnTo>
                        <a:lnTo>
                          <a:pt x="736" y="265"/>
                        </a:lnTo>
                        <a:lnTo>
                          <a:pt x="690" y="269"/>
                        </a:lnTo>
                        <a:lnTo>
                          <a:pt x="640" y="262"/>
                        </a:lnTo>
                        <a:lnTo>
                          <a:pt x="540" y="271"/>
                        </a:lnTo>
                        <a:lnTo>
                          <a:pt x="579" y="225"/>
                        </a:lnTo>
                        <a:lnTo>
                          <a:pt x="546" y="204"/>
                        </a:lnTo>
                        <a:lnTo>
                          <a:pt x="500" y="199"/>
                        </a:lnTo>
                        <a:lnTo>
                          <a:pt x="471" y="175"/>
                        </a:lnTo>
                        <a:lnTo>
                          <a:pt x="445" y="129"/>
                        </a:lnTo>
                        <a:lnTo>
                          <a:pt x="406" y="132"/>
                        </a:lnTo>
                        <a:lnTo>
                          <a:pt x="336" y="110"/>
                        </a:lnTo>
                        <a:lnTo>
                          <a:pt x="311" y="94"/>
                        </a:lnTo>
                        <a:lnTo>
                          <a:pt x="217" y="81"/>
                        </a:lnTo>
                        <a:lnTo>
                          <a:pt x="190" y="65"/>
                        </a:lnTo>
                        <a:lnTo>
                          <a:pt x="211" y="45"/>
                        </a:lnTo>
                        <a:lnTo>
                          <a:pt x="141" y="40"/>
                        </a:lnTo>
                        <a:lnTo>
                          <a:pt x="100" y="82"/>
                        </a:lnTo>
                        <a:lnTo>
                          <a:pt x="71" y="84"/>
                        </a:lnTo>
                        <a:lnTo>
                          <a:pt x="65" y="104"/>
                        </a:lnTo>
                        <a:lnTo>
                          <a:pt x="31" y="112"/>
                        </a:lnTo>
                        <a:lnTo>
                          <a:pt x="0" y="105"/>
                        </a:lnTo>
                        <a:lnTo>
                          <a:pt x="32" y="80"/>
                        </a:lnTo>
                        <a:lnTo>
                          <a:pt x="41" y="50"/>
                        </a:lnTo>
                        <a:lnTo>
                          <a:pt x="70" y="32"/>
                        </a:lnTo>
                        <a:lnTo>
                          <a:pt x="102" y="16"/>
                        </a:lnTo>
                        <a:lnTo>
                          <a:pt x="154" y="9"/>
                        </a:lnTo>
                        <a:lnTo>
                          <a:pt x="169" y="0"/>
                        </a:lnTo>
                        <a:lnTo>
                          <a:pt x="231" y="5"/>
                        </a:lnTo>
                        <a:lnTo>
                          <a:pt x="286" y="6"/>
                        </a:lnTo>
                        <a:lnTo>
                          <a:pt x="358" y="3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3" name="Czech Republic" descr="{&quot;Key&quot;:&quot;czech republic&quot;,&quot;Name&quot;:&quot;Czech Republic&quot;,&quot;Value&quot;:1.0,&quot;Formula&quot;:&quot;&quot;,&quot;Text&quot;:&quot;&quot;,&quot;OfficeApplication&quot;:1,&quot;HasValue&quot;:true}">
                    <a:extLst>
                      <a:ext uri="{FF2B5EF4-FFF2-40B4-BE49-F238E27FC236}">
                        <a16:creationId xmlns:a16="http://schemas.microsoft.com/office/drawing/2014/main" id="{5D8DB881-06A5-BC93-4469-B274104CEDD5}"/>
                      </a:ext>
                    </a:extLst>
                  </p:cNvPr>
                  <p:cNvSpPr>
                    <a:spLocks/>
                  </p:cNvSpPr>
                  <p:nvPr/>
                </p:nvSpPr>
                <p:spPr bwMode="auto">
                  <a:xfrm>
                    <a:off x="1421" y="1632"/>
                    <a:ext cx="110" cy="56"/>
                  </a:xfrm>
                  <a:custGeom>
                    <a:avLst/>
                    <a:gdLst>
                      <a:gd name="T0" fmla="*/ 249 w 393"/>
                      <a:gd name="T1" fmla="*/ 0 h 201"/>
                      <a:gd name="T2" fmla="*/ 259 w 393"/>
                      <a:gd name="T3" fmla="*/ 26 h 201"/>
                      <a:gd name="T4" fmla="*/ 300 w 393"/>
                      <a:gd name="T5" fmla="*/ 32 h 201"/>
                      <a:gd name="T6" fmla="*/ 279 w 393"/>
                      <a:gd name="T7" fmla="*/ 53 h 201"/>
                      <a:gd name="T8" fmla="*/ 301 w 393"/>
                      <a:gd name="T9" fmla="*/ 70 h 201"/>
                      <a:gd name="T10" fmla="*/ 325 w 393"/>
                      <a:gd name="T11" fmla="*/ 50 h 201"/>
                      <a:gd name="T12" fmla="*/ 361 w 393"/>
                      <a:gd name="T13" fmla="*/ 58 h 201"/>
                      <a:gd name="T14" fmla="*/ 349 w 393"/>
                      <a:gd name="T15" fmla="*/ 83 h 201"/>
                      <a:gd name="T16" fmla="*/ 393 w 393"/>
                      <a:gd name="T17" fmla="*/ 88 h 201"/>
                      <a:gd name="T18" fmla="*/ 393 w 393"/>
                      <a:gd name="T19" fmla="*/ 127 h 201"/>
                      <a:gd name="T20" fmla="*/ 374 w 393"/>
                      <a:gd name="T21" fmla="*/ 127 h 201"/>
                      <a:gd name="T22" fmla="*/ 354 w 393"/>
                      <a:gd name="T23" fmla="*/ 141 h 201"/>
                      <a:gd name="T24" fmla="*/ 338 w 393"/>
                      <a:gd name="T25" fmla="*/ 145 h 201"/>
                      <a:gd name="T26" fmla="*/ 320 w 393"/>
                      <a:gd name="T27" fmla="*/ 162 h 201"/>
                      <a:gd name="T28" fmla="*/ 306 w 393"/>
                      <a:gd name="T29" fmla="*/ 166 h 201"/>
                      <a:gd name="T30" fmla="*/ 299 w 393"/>
                      <a:gd name="T31" fmla="*/ 173 h 201"/>
                      <a:gd name="T32" fmla="*/ 271 w 393"/>
                      <a:gd name="T33" fmla="*/ 181 h 201"/>
                      <a:gd name="T34" fmla="*/ 245 w 393"/>
                      <a:gd name="T35" fmla="*/ 180 h 201"/>
                      <a:gd name="T36" fmla="*/ 224 w 393"/>
                      <a:gd name="T37" fmla="*/ 197 h 201"/>
                      <a:gd name="T38" fmla="*/ 205 w 393"/>
                      <a:gd name="T39" fmla="*/ 182 h 201"/>
                      <a:gd name="T40" fmla="*/ 172 w 393"/>
                      <a:gd name="T41" fmla="*/ 187 h 201"/>
                      <a:gd name="T42" fmla="*/ 141 w 393"/>
                      <a:gd name="T43" fmla="*/ 162 h 201"/>
                      <a:gd name="T44" fmla="*/ 115 w 393"/>
                      <a:gd name="T45" fmla="*/ 168 h 201"/>
                      <a:gd name="T46" fmla="*/ 56 w 393"/>
                      <a:gd name="T47" fmla="*/ 201 h 201"/>
                      <a:gd name="T48" fmla="*/ 27 w 393"/>
                      <a:gd name="T49" fmla="*/ 176 h 201"/>
                      <a:gd name="T50" fmla="*/ 17 w 393"/>
                      <a:gd name="T51" fmla="*/ 141 h 201"/>
                      <a:gd name="T52" fmla="*/ 0 w 393"/>
                      <a:gd name="T53" fmla="*/ 122 h 201"/>
                      <a:gd name="T54" fmla="*/ 19 w 393"/>
                      <a:gd name="T55" fmla="*/ 90 h 201"/>
                      <a:gd name="T56" fmla="*/ 25 w 393"/>
                      <a:gd name="T57" fmla="*/ 66 h 201"/>
                      <a:gd name="T58" fmla="*/ 84 w 393"/>
                      <a:gd name="T59" fmla="*/ 48 h 201"/>
                      <a:gd name="T60" fmla="*/ 122 w 393"/>
                      <a:gd name="T61" fmla="*/ 30 h 201"/>
                      <a:gd name="T62" fmla="*/ 179 w 393"/>
                      <a:gd name="T63" fmla="*/ 15 h 201"/>
                      <a:gd name="T64" fmla="*/ 206 w 393"/>
                      <a:gd name="T65" fmla="*/ 0 h 201"/>
                      <a:gd name="T66" fmla="*/ 215 w 393"/>
                      <a:gd name="T67" fmla="*/ 8 h 201"/>
                      <a:gd name="T68" fmla="*/ 249 w 393"/>
                      <a:gd name="T69"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3" h="201">
                        <a:moveTo>
                          <a:pt x="249" y="0"/>
                        </a:moveTo>
                        <a:lnTo>
                          <a:pt x="259" y="26"/>
                        </a:lnTo>
                        <a:lnTo>
                          <a:pt x="300" y="32"/>
                        </a:lnTo>
                        <a:lnTo>
                          <a:pt x="279" y="53"/>
                        </a:lnTo>
                        <a:lnTo>
                          <a:pt x="301" y="70"/>
                        </a:lnTo>
                        <a:lnTo>
                          <a:pt x="325" y="50"/>
                        </a:lnTo>
                        <a:lnTo>
                          <a:pt x="361" y="58"/>
                        </a:lnTo>
                        <a:lnTo>
                          <a:pt x="349" y="83"/>
                        </a:lnTo>
                        <a:lnTo>
                          <a:pt x="393" y="88"/>
                        </a:lnTo>
                        <a:lnTo>
                          <a:pt x="393" y="127"/>
                        </a:lnTo>
                        <a:lnTo>
                          <a:pt x="374" y="127"/>
                        </a:lnTo>
                        <a:lnTo>
                          <a:pt x="354" y="141"/>
                        </a:lnTo>
                        <a:lnTo>
                          <a:pt x="338" y="145"/>
                        </a:lnTo>
                        <a:lnTo>
                          <a:pt x="320" y="162"/>
                        </a:lnTo>
                        <a:lnTo>
                          <a:pt x="306" y="166"/>
                        </a:lnTo>
                        <a:lnTo>
                          <a:pt x="299" y="173"/>
                        </a:lnTo>
                        <a:lnTo>
                          <a:pt x="271" y="181"/>
                        </a:lnTo>
                        <a:lnTo>
                          <a:pt x="245" y="180"/>
                        </a:lnTo>
                        <a:lnTo>
                          <a:pt x="224" y="197"/>
                        </a:lnTo>
                        <a:lnTo>
                          <a:pt x="205" y="182"/>
                        </a:lnTo>
                        <a:lnTo>
                          <a:pt x="172" y="187"/>
                        </a:lnTo>
                        <a:lnTo>
                          <a:pt x="141" y="162"/>
                        </a:lnTo>
                        <a:lnTo>
                          <a:pt x="115" y="168"/>
                        </a:lnTo>
                        <a:lnTo>
                          <a:pt x="56" y="201"/>
                        </a:lnTo>
                        <a:lnTo>
                          <a:pt x="27" y="176"/>
                        </a:lnTo>
                        <a:lnTo>
                          <a:pt x="17" y="141"/>
                        </a:lnTo>
                        <a:lnTo>
                          <a:pt x="0" y="122"/>
                        </a:lnTo>
                        <a:lnTo>
                          <a:pt x="19" y="90"/>
                        </a:lnTo>
                        <a:lnTo>
                          <a:pt x="25" y="66"/>
                        </a:lnTo>
                        <a:lnTo>
                          <a:pt x="84" y="48"/>
                        </a:lnTo>
                        <a:lnTo>
                          <a:pt x="122" y="30"/>
                        </a:lnTo>
                        <a:lnTo>
                          <a:pt x="179" y="15"/>
                        </a:lnTo>
                        <a:lnTo>
                          <a:pt x="206" y="0"/>
                        </a:lnTo>
                        <a:lnTo>
                          <a:pt x="215" y="8"/>
                        </a:lnTo>
                        <a:lnTo>
                          <a:pt x="249"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4" name="Germany" descr="{&quot;Key&quot;:&quot;germany&quot;,&quot;Name&quot;:&quot;Germany&quot;,&quot;Value&quot;:1.0,&quot;Formula&quot;:&quot;&quot;,&quot;Text&quot;:&quot;&quot;,&quot;OfficeApplication&quot;:1,&quot;HasValue&quot;:true}">
                    <a:extLst>
                      <a:ext uri="{FF2B5EF4-FFF2-40B4-BE49-F238E27FC236}">
                        <a16:creationId xmlns:a16="http://schemas.microsoft.com/office/drawing/2014/main" id="{19C27FDA-94CC-A674-7AF0-39C38E8C9FB4}"/>
                      </a:ext>
                    </a:extLst>
                  </p:cNvPr>
                  <p:cNvSpPr>
                    <a:spLocks/>
                  </p:cNvSpPr>
                  <p:nvPr/>
                </p:nvSpPr>
                <p:spPr bwMode="auto">
                  <a:xfrm>
                    <a:off x="1301" y="1548"/>
                    <a:ext cx="222" cy="167"/>
                  </a:xfrm>
                  <a:custGeom>
                    <a:avLst/>
                    <a:gdLst>
                      <a:gd name="T0" fmla="*/ 795 w 795"/>
                      <a:gd name="T1" fmla="*/ 94 h 600"/>
                      <a:gd name="T2" fmla="*/ 775 w 795"/>
                      <a:gd name="T3" fmla="*/ 134 h 600"/>
                      <a:gd name="T4" fmla="*/ 741 w 795"/>
                      <a:gd name="T5" fmla="*/ 156 h 600"/>
                      <a:gd name="T6" fmla="*/ 740 w 795"/>
                      <a:gd name="T7" fmla="*/ 183 h 600"/>
                      <a:gd name="T8" fmla="*/ 721 w 795"/>
                      <a:gd name="T9" fmla="*/ 224 h 600"/>
                      <a:gd name="T10" fmla="*/ 695 w 795"/>
                      <a:gd name="T11" fmla="*/ 250 h 600"/>
                      <a:gd name="T12" fmla="*/ 680 w 795"/>
                      <a:gd name="T13" fmla="*/ 300 h 600"/>
                      <a:gd name="T14" fmla="*/ 646 w 795"/>
                      <a:gd name="T15" fmla="*/ 309 h 600"/>
                      <a:gd name="T16" fmla="*/ 637 w 795"/>
                      <a:gd name="T17" fmla="*/ 300 h 600"/>
                      <a:gd name="T18" fmla="*/ 610 w 795"/>
                      <a:gd name="T19" fmla="*/ 315 h 600"/>
                      <a:gd name="T20" fmla="*/ 553 w 795"/>
                      <a:gd name="T21" fmla="*/ 330 h 600"/>
                      <a:gd name="T22" fmla="*/ 515 w 795"/>
                      <a:gd name="T23" fmla="*/ 349 h 600"/>
                      <a:gd name="T24" fmla="*/ 456 w 795"/>
                      <a:gd name="T25" fmla="*/ 367 h 600"/>
                      <a:gd name="T26" fmla="*/ 450 w 795"/>
                      <a:gd name="T27" fmla="*/ 390 h 600"/>
                      <a:gd name="T28" fmla="*/ 431 w 795"/>
                      <a:gd name="T29" fmla="*/ 423 h 600"/>
                      <a:gd name="T30" fmla="*/ 448 w 795"/>
                      <a:gd name="T31" fmla="*/ 442 h 600"/>
                      <a:gd name="T32" fmla="*/ 458 w 795"/>
                      <a:gd name="T33" fmla="*/ 477 h 600"/>
                      <a:gd name="T34" fmla="*/ 411 w 795"/>
                      <a:gd name="T35" fmla="*/ 513 h 600"/>
                      <a:gd name="T36" fmla="*/ 381 w 795"/>
                      <a:gd name="T37" fmla="*/ 523 h 600"/>
                      <a:gd name="T38" fmla="*/ 353 w 795"/>
                      <a:gd name="T39" fmla="*/ 574 h 600"/>
                      <a:gd name="T40" fmla="*/ 337 w 795"/>
                      <a:gd name="T41" fmla="*/ 588 h 600"/>
                      <a:gd name="T42" fmla="*/ 330 w 795"/>
                      <a:gd name="T43" fmla="*/ 572 h 600"/>
                      <a:gd name="T44" fmla="*/ 301 w 795"/>
                      <a:gd name="T45" fmla="*/ 569 h 600"/>
                      <a:gd name="T46" fmla="*/ 246 w 795"/>
                      <a:gd name="T47" fmla="*/ 583 h 600"/>
                      <a:gd name="T48" fmla="*/ 192 w 795"/>
                      <a:gd name="T49" fmla="*/ 581 h 600"/>
                      <a:gd name="T50" fmla="*/ 168 w 795"/>
                      <a:gd name="T51" fmla="*/ 600 h 600"/>
                      <a:gd name="T52" fmla="*/ 152 w 795"/>
                      <a:gd name="T53" fmla="*/ 579 h 600"/>
                      <a:gd name="T54" fmla="*/ 130 w 795"/>
                      <a:gd name="T55" fmla="*/ 583 h 600"/>
                      <a:gd name="T56" fmla="*/ 80 w 795"/>
                      <a:gd name="T57" fmla="*/ 559 h 600"/>
                      <a:gd name="T58" fmla="*/ 53 w 795"/>
                      <a:gd name="T59" fmla="*/ 577 h 600"/>
                      <a:gd name="T60" fmla="*/ 0 w 795"/>
                      <a:gd name="T61" fmla="*/ 576 h 600"/>
                      <a:gd name="T62" fmla="*/ 50 w 795"/>
                      <a:gd name="T63" fmla="*/ 519 h 600"/>
                      <a:gd name="T64" fmla="*/ 122 w 795"/>
                      <a:gd name="T65" fmla="*/ 466 h 600"/>
                      <a:gd name="T66" fmla="*/ 43 w 795"/>
                      <a:gd name="T67" fmla="*/ 451 h 600"/>
                      <a:gd name="T68" fmla="*/ 30 w 795"/>
                      <a:gd name="T69" fmla="*/ 431 h 600"/>
                      <a:gd name="T70" fmla="*/ 60 w 795"/>
                      <a:gd name="T71" fmla="*/ 396 h 600"/>
                      <a:gd name="T72" fmla="*/ 62 w 795"/>
                      <a:gd name="T73" fmla="*/ 378 h 600"/>
                      <a:gd name="T74" fmla="*/ 112 w 795"/>
                      <a:gd name="T75" fmla="*/ 324 h 600"/>
                      <a:gd name="T76" fmla="*/ 171 w 795"/>
                      <a:gd name="T77" fmla="*/ 243 h 600"/>
                      <a:gd name="T78" fmla="*/ 208 w 795"/>
                      <a:gd name="T79" fmla="*/ 243 h 600"/>
                      <a:gd name="T80" fmla="*/ 248 w 795"/>
                      <a:gd name="T81" fmla="*/ 213 h 600"/>
                      <a:gd name="T82" fmla="*/ 326 w 795"/>
                      <a:gd name="T83" fmla="*/ 142 h 600"/>
                      <a:gd name="T84" fmla="*/ 338 w 795"/>
                      <a:gd name="T85" fmla="*/ 116 h 600"/>
                      <a:gd name="T86" fmla="*/ 365 w 795"/>
                      <a:gd name="T87" fmla="*/ 99 h 600"/>
                      <a:gd name="T88" fmla="*/ 420 w 795"/>
                      <a:gd name="T89" fmla="*/ 95 h 600"/>
                      <a:gd name="T90" fmla="*/ 416 w 795"/>
                      <a:gd name="T91" fmla="*/ 113 h 600"/>
                      <a:gd name="T92" fmla="*/ 491 w 795"/>
                      <a:gd name="T93" fmla="*/ 74 h 600"/>
                      <a:gd name="T94" fmla="*/ 503 w 795"/>
                      <a:gd name="T95" fmla="*/ 45 h 600"/>
                      <a:gd name="T96" fmla="*/ 540 w 795"/>
                      <a:gd name="T97" fmla="*/ 2 h 600"/>
                      <a:gd name="T98" fmla="*/ 576 w 795"/>
                      <a:gd name="T99" fmla="*/ 12 h 600"/>
                      <a:gd name="T100" fmla="*/ 626 w 795"/>
                      <a:gd name="T101" fmla="*/ 0 h 600"/>
                      <a:gd name="T102" fmla="*/ 600 w 795"/>
                      <a:gd name="T103" fmla="*/ 30 h 600"/>
                      <a:gd name="T104" fmla="*/ 645 w 795"/>
                      <a:gd name="T105" fmla="*/ 48 h 600"/>
                      <a:gd name="T106" fmla="*/ 620 w 795"/>
                      <a:gd name="T107" fmla="*/ 75 h 600"/>
                      <a:gd name="T108" fmla="*/ 693 w 795"/>
                      <a:gd name="T109" fmla="*/ 60 h 600"/>
                      <a:gd name="T110" fmla="*/ 746 w 795"/>
                      <a:gd name="T111" fmla="*/ 39 h 600"/>
                      <a:gd name="T112" fmla="*/ 787 w 795"/>
                      <a:gd name="T113" fmla="*/ 71 h 600"/>
                      <a:gd name="T114" fmla="*/ 795 w 795"/>
                      <a:gd name="T115" fmla="*/ 94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5" h="600">
                        <a:moveTo>
                          <a:pt x="795" y="94"/>
                        </a:moveTo>
                        <a:lnTo>
                          <a:pt x="775" y="134"/>
                        </a:lnTo>
                        <a:lnTo>
                          <a:pt x="741" y="156"/>
                        </a:lnTo>
                        <a:lnTo>
                          <a:pt x="740" y="183"/>
                        </a:lnTo>
                        <a:lnTo>
                          <a:pt x="721" y="224"/>
                        </a:lnTo>
                        <a:lnTo>
                          <a:pt x="695" y="250"/>
                        </a:lnTo>
                        <a:lnTo>
                          <a:pt x="680" y="300"/>
                        </a:lnTo>
                        <a:lnTo>
                          <a:pt x="646" y="309"/>
                        </a:lnTo>
                        <a:lnTo>
                          <a:pt x="637" y="300"/>
                        </a:lnTo>
                        <a:lnTo>
                          <a:pt x="610" y="315"/>
                        </a:lnTo>
                        <a:lnTo>
                          <a:pt x="553" y="330"/>
                        </a:lnTo>
                        <a:lnTo>
                          <a:pt x="515" y="349"/>
                        </a:lnTo>
                        <a:lnTo>
                          <a:pt x="456" y="367"/>
                        </a:lnTo>
                        <a:lnTo>
                          <a:pt x="450" y="390"/>
                        </a:lnTo>
                        <a:lnTo>
                          <a:pt x="431" y="423"/>
                        </a:lnTo>
                        <a:lnTo>
                          <a:pt x="448" y="442"/>
                        </a:lnTo>
                        <a:lnTo>
                          <a:pt x="458" y="477"/>
                        </a:lnTo>
                        <a:lnTo>
                          <a:pt x="411" y="513"/>
                        </a:lnTo>
                        <a:lnTo>
                          <a:pt x="381" y="523"/>
                        </a:lnTo>
                        <a:lnTo>
                          <a:pt x="353" y="574"/>
                        </a:lnTo>
                        <a:lnTo>
                          <a:pt x="337" y="588"/>
                        </a:lnTo>
                        <a:lnTo>
                          <a:pt x="330" y="572"/>
                        </a:lnTo>
                        <a:lnTo>
                          <a:pt x="301" y="569"/>
                        </a:lnTo>
                        <a:lnTo>
                          <a:pt x="246" y="583"/>
                        </a:lnTo>
                        <a:lnTo>
                          <a:pt x="192" y="581"/>
                        </a:lnTo>
                        <a:lnTo>
                          <a:pt x="168" y="600"/>
                        </a:lnTo>
                        <a:lnTo>
                          <a:pt x="152" y="579"/>
                        </a:lnTo>
                        <a:lnTo>
                          <a:pt x="130" y="583"/>
                        </a:lnTo>
                        <a:lnTo>
                          <a:pt x="80" y="559"/>
                        </a:lnTo>
                        <a:lnTo>
                          <a:pt x="53" y="577"/>
                        </a:lnTo>
                        <a:lnTo>
                          <a:pt x="0" y="576"/>
                        </a:lnTo>
                        <a:lnTo>
                          <a:pt x="50" y="519"/>
                        </a:lnTo>
                        <a:lnTo>
                          <a:pt x="122" y="466"/>
                        </a:lnTo>
                        <a:lnTo>
                          <a:pt x="43" y="451"/>
                        </a:lnTo>
                        <a:lnTo>
                          <a:pt x="30" y="431"/>
                        </a:lnTo>
                        <a:lnTo>
                          <a:pt x="60" y="396"/>
                        </a:lnTo>
                        <a:lnTo>
                          <a:pt x="62" y="378"/>
                        </a:lnTo>
                        <a:lnTo>
                          <a:pt x="112" y="324"/>
                        </a:lnTo>
                        <a:lnTo>
                          <a:pt x="171" y="243"/>
                        </a:lnTo>
                        <a:lnTo>
                          <a:pt x="208" y="243"/>
                        </a:lnTo>
                        <a:lnTo>
                          <a:pt x="248" y="213"/>
                        </a:lnTo>
                        <a:lnTo>
                          <a:pt x="326" y="142"/>
                        </a:lnTo>
                        <a:lnTo>
                          <a:pt x="338" y="116"/>
                        </a:lnTo>
                        <a:lnTo>
                          <a:pt x="365" y="99"/>
                        </a:lnTo>
                        <a:lnTo>
                          <a:pt x="420" y="95"/>
                        </a:lnTo>
                        <a:lnTo>
                          <a:pt x="416" y="113"/>
                        </a:lnTo>
                        <a:lnTo>
                          <a:pt x="491" y="74"/>
                        </a:lnTo>
                        <a:lnTo>
                          <a:pt x="503" y="45"/>
                        </a:lnTo>
                        <a:lnTo>
                          <a:pt x="540" y="2"/>
                        </a:lnTo>
                        <a:lnTo>
                          <a:pt x="576" y="12"/>
                        </a:lnTo>
                        <a:lnTo>
                          <a:pt x="626" y="0"/>
                        </a:lnTo>
                        <a:lnTo>
                          <a:pt x="600" y="30"/>
                        </a:lnTo>
                        <a:lnTo>
                          <a:pt x="645" y="48"/>
                        </a:lnTo>
                        <a:lnTo>
                          <a:pt x="620" y="75"/>
                        </a:lnTo>
                        <a:lnTo>
                          <a:pt x="693" y="60"/>
                        </a:lnTo>
                        <a:lnTo>
                          <a:pt x="746" y="39"/>
                        </a:lnTo>
                        <a:lnTo>
                          <a:pt x="787" y="71"/>
                        </a:lnTo>
                        <a:lnTo>
                          <a:pt x="795" y="9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5" name="Djibouti" descr="{&quot;Key&quot;:&quot;djibouti&quot;,&quot;Name&quot;:&quot;Djibouti&quot;,&quot;Value&quot;:1.0,&quot;Formula&quot;:&quot;&quot;,&quot;Text&quot;:&quot;&quot;,&quot;OfficeApplication&quot;:1,&quot;HasValue&quot;:true}">
                    <a:extLst>
                      <a:ext uri="{FF2B5EF4-FFF2-40B4-BE49-F238E27FC236}">
                        <a16:creationId xmlns:a16="http://schemas.microsoft.com/office/drawing/2014/main" id="{3F23916E-3CD8-751E-943C-D3994745ADF8}"/>
                      </a:ext>
                    </a:extLst>
                  </p:cNvPr>
                  <p:cNvSpPr>
                    <a:spLocks/>
                  </p:cNvSpPr>
                  <p:nvPr/>
                </p:nvSpPr>
                <p:spPr bwMode="auto">
                  <a:xfrm>
                    <a:off x="1662" y="2497"/>
                    <a:ext cx="34" cy="40"/>
                  </a:xfrm>
                  <a:custGeom>
                    <a:avLst/>
                    <a:gdLst>
                      <a:gd name="T0" fmla="*/ 73 w 123"/>
                      <a:gd name="T1" fmla="*/ 144 h 144"/>
                      <a:gd name="T2" fmla="*/ 60 w 123"/>
                      <a:gd name="T3" fmla="*/ 130 h 144"/>
                      <a:gd name="T4" fmla="*/ 42 w 123"/>
                      <a:gd name="T5" fmla="*/ 135 h 144"/>
                      <a:gd name="T6" fmla="*/ 2 w 123"/>
                      <a:gd name="T7" fmla="*/ 134 h 144"/>
                      <a:gd name="T8" fmla="*/ 3 w 123"/>
                      <a:gd name="T9" fmla="*/ 109 h 144"/>
                      <a:gd name="T10" fmla="*/ 0 w 123"/>
                      <a:gd name="T11" fmla="*/ 86 h 144"/>
                      <a:gd name="T12" fmla="*/ 27 w 123"/>
                      <a:gd name="T13" fmla="*/ 49 h 144"/>
                      <a:gd name="T14" fmla="*/ 56 w 123"/>
                      <a:gd name="T15" fmla="*/ 13 h 144"/>
                      <a:gd name="T16" fmla="*/ 86 w 123"/>
                      <a:gd name="T17" fmla="*/ 20 h 144"/>
                      <a:gd name="T18" fmla="*/ 110 w 123"/>
                      <a:gd name="T19" fmla="*/ 0 h 144"/>
                      <a:gd name="T20" fmla="*/ 123 w 123"/>
                      <a:gd name="T21" fmla="*/ 25 h 144"/>
                      <a:gd name="T22" fmla="*/ 118 w 123"/>
                      <a:gd name="T23" fmla="*/ 59 h 144"/>
                      <a:gd name="T24" fmla="*/ 76 w 123"/>
                      <a:gd name="T25" fmla="*/ 79 h 144"/>
                      <a:gd name="T26" fmla="*/ 103 w 123"/>
                      <a:gd name="T27" fmla="*/ 100 h 144"/>
                      <a:gd name="T28" fmla="*/ 73 w 123"/>
                      <a:gd name="T2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44">
                        <a:moveTo>
                          <a:pt x="73" y="144"/>
                        </a:moveTo>
                        <a:lnTo>
                          <a:pt x="60" y="130"/>
                        </a:lnTo>
                        <a:lnTo>
                          <a:pt x="42" y="135"/>
                        </a:lnTo>
                        <a:lnTo>
                          <a:pt x="2" y="134"/>
                        </a:lnTo>
                        <a:lnTo>
                          <a:pt x="3" y="109"/>
                        </a:lnTo>
                        <a:lnTo>
                          <a:pt x="0" y="86"/>
                        </a:lnTo>
                        <a:lnTo>
                          <a:pt x="27" y="49"/>
                        </a:lnTo>
                        <a:lnTo>
                          <a:pt x="56" y="13"/>
                        </a:lnTo>
                        <a:lnTo>
                          <a:pt x="86" y="20"/>
                        </a:lnTo>
                        <a:lnTo>
                          <a:pt x="110" y="0"/>
                        </a:lnTo>
                        <a:lnTo>
                          <a:pt x="123" y="25"/>
                        </a:lnTo>
                        <a:lnTo>
                          <a:pt x="118" y="59"/>
                        </a:lnTo>
                        <a:lnTo>
                          <a:pt x="76" y="79"/>
                        </a:lnTo>
                        <a:lnTo>
                          <a:pt x="103" y="100"/>
                        </a:lnTo>
                        <a:lnTo>
                          <a:pt x="73" y="14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6" name="Denmark" descr="{&quot;Key&quot;:&quot;denmark&quot;,&quot;Name&quot;:&quot;Denmark&quot;,&quot;Value&quot;:1.0,&quot;Formula&quot;:&quot;&quot;,&quot;Text&quot;:&quot;&quot;,&quot;OfficeApplication&quot;:1,&quot;HasValue&quot;:true}">
                    <a:extLst>
                      <a:ext uri="{FF2B5EF4-FFF2-40B4-BE49-F238E27FC236}">
                        <a16:creationId xmlns:a16="http://schemas.microsoft.com/office/drawing/2014/main" id="{1380D1F2-DBDA-3D96-809C-089E5CB10CC6}"/>
                      </a:ext>
                    </a:extLst>
                  </p:cNvPr>
                  <p:cNvSpPr>
                    <a:spLocks noEditPoints="1"/>
                  </p:cNvSpPr>
                  <p:nvPr/>
                </p:nvSpPr>
                <p:spPr bwMode="auto">
                  <a:xfrm>
                    <a:off x="1452" y="1489"/>
                    <a:ext cx="89" cy="62"/>
                  </a:xfrm>
                  <a:custGeom>
                    <a:avLst/>
                    <a:gdLst>
                      <a:gd name="T0" fmla="*/ 295 w 321"/>
                      <a:gd name="T1" fmla="*/ 161 h 223"/>
                      <a:gd name="T2" fmla="*/ 202 w 321"/>
                      <a:gd name="T3" fmla="*/ 223 h 223"/>
                      <a:gd name="T4" fmla="*/ 180 w 321"/>
                      <a:gd name="T5" fmla="*/ 180 h 223"/>
                      <a:gd name="T6" fmla="*/ 200 w 321"/>
                      <a:gd name="T7" fmla="*/ 148 h 223"/>
                      <a:gd name="T8" fmla="*/ 311 w 321"/>
                      <a:gd name="T9" fmla="*/ 123 h 223"/>
                      <a:gd name="T10" fmla="*/ 295 w 321"/>
                      <a:gd name="T11" fmla="*/ 161 h 223"/>
                      <a:gd name="T12" fmla="*/ 86 w 321"/>
                      <a:gd name="T13" fmla="*/ 210 h 223"/>
                      <a:gd name="T14" fmla="*/ 36 w 321"/>
                      <a:gd name="T15" fmla="*/ 221 h 223"/>
                      <a:gd name="T16" fmla="*/ 0 w 321"/>
                      <a:gd name="T17" fmla="*/ 211 h 223"/>
                      <a:gd name="T18" fmla="*/ 16 w 321"/>
                      <a:gd name="T19" fmla="*/ 168 h 223"/>
                      <a:gd name="T20" fmla="*/ 87 w 321"/>
                      <a:gd name="T21" fmla="*/ 91 h 223"/>
                      <a:gd name="T22" fmla="*/ 117 w 321"/>
                      <a:gd name="T23" fmla="*/ 70 h 223"/>
                      <a:gd name="T24" fmla="*/ 156 w 321"/>
                      <a:gd name="T25" fmla="*/ 47 h 223"/>
                      <a:gd name="T26" fmla="*/ 212 w 321"/>
                      <a:gd name="T27" fmla="*/ 42 h 223"/>
                      <a:gd name="T28" fmla="*/ 254 w 321"/>
                      <a:gd name="T29" fmla="*/ 22 h 223"/>
                      <a:gd name="T30" fmla="*/ 321 w 321"/>
                      <a:gd name="T31" fmla="*/ 0 h 223"/>
                      <a:gd name="T32" fmla="*/ 282 w 321"/>
                      <a:gd name="T33" fmla="*/ 39 h 223"/>
                      <a:gd name="T34" fmla="*/ 241 w 321"/>
                      <a:gd name="T35" fmla="*/ 63 h 223"/>
                      <a:gd name="T36" fmla="*/ 227 w 321"/>
                      <a:gd name="T37" fmla="*/ 84 h 223"/>
                      <a:gd name="T38" fmla="*/ 248 w 321"/>
                      <a:gd name="T39" fmla="*/ 97 h 223"/>
                      <a:gd name="T40" fmla="*/ 207 w 321"/>
                      <a:gd name="T41" fmla="*/ 126 h 223"/>
                      <a:gd name="T42" fmla="*/ 197 w 321"/>
                      <a:gd name="T43" fmla="*/ 117 h 223"/>
                      <a:gd name="T44" fmla="*/ 103 w 321"/>
                      <a:gd name="T45" fmla="*/ 172 h 223"/>
                      <a:gd name="T46" fmla="*/ 86 w 321"/>
                      <a:gd name="T47" fmla="*/ 21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1" h="223">
                        <a:moveTo>
                          <a:pt x="295" y="161"/>
                        </a:moveTo>
                        <a:lnTo>
                          <a:pt x="202" y="223"/>
                        </a:lnTo>
                        <a:lnTo>
                          <a:pt x="180" y="180"/>
                        </a:lnTo>
                        <a:lnTo>
                          <a:pt x="200" y="148"/>
                        </a:lnTo>
                        <a:lnTo>
                          <a:pt x="311" y="123"/>
                        </a:lnTo>
                        <a:lnTo>
                          <a:pt x="295" y="161"/>
                        </a:lnTo>
                        <a:close/>
                        <a:moveTo>
                          <a:pt x="86" y="210"/>
                        </a:moveTo>
                        <a:lnTo>
                          <a:pt x="36" y="221"/>
                        </a:lnTo>
                        <a:lnTo>
                          <a:pt x="0" y="211"/>
                        </a:lnTo>
                        <a:lnTo>
                          <a:pt x="16" y="168"/>
                        </a:lnTo>
                        <a:lnTo>
                          <a:pt x="87" y="91"/>
                        </a:lnTo>
                        <a:lnTo>
                          <a:pt x="117" y="70"/>
                        </a:lnTo>
                        <a:lnTo>
                          <a:pt x="156" y="47"/>
                        </a:lnTo>
                        <a:lnTo>
                          <a:pt x="212" y="42"/>
                        </a:lnTo>
                        <a:lnTo>
                          <a:pt x="254" y="22"/>
                        </a:lnTo>
                        <a:lnTo>
                          <a:pt x="321" y="0"/>
                        </a:lnTo>
                        <a:lnTo>
                          <a:pt x="282" y="39"/>
                        </a:lnTo>
                        <a:lnTo>
                          <a:pt x="241" y="63"/>
                        </a:lnTo>
                        <a:lnTo>
                          <a:pt x="227" y="84"/>
                        </a:lnTo>
                        <a:lnTo>
                          <a:pt x="248" y="97"/>
                        </a:lnTo>
                        <a:lnTo>
                          <a:pt x="207" y="126"/>
                        </a:lnTo>
                        <a:lnTo>
                          <a:pt x="197" y="117"/>
                        </a:lnTo>
                        <a:lnTo>
                          <a:pt x="103" y="172"/>
                        </a:lnTo>
                        <a:lnTo>
                          <a:pt x="86" y="21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7" name="Domenican Republic" descr="{&quot;Key&quot;:&quot;domenican republic&quot;,&quot;Name&quot;:&quot;Domenican Republic&quot;,&quot;Value&quot;:1.0,&quot;Formula&quot;:&quot;&quot;,&quot;Text&quot;:&quot;&quot;,&quot;OfficeApplication&quot;:1,&quot;HasValue&quot;:true}">
                    <a:extLst>
                      <a:ext uri="{FF2B5EF4-FFF2-40B4-BE49-F238E27FC236}">
                        <a16:creationId xmlns:a16="http://schemas.microsoft.com/office/drawing/2014/main" id="{99F46DBA-C86E-C073-42D0-F64980B0D526}"/>
                      </a:ext>
                    </a:extLst>
                  </p:cNvPr>
                  <p:cNvSpPr>
                    <a:spLocks/>
                  </p:cNvSpPr>
                  <p:nvPr/>
                </p:nvSpPr>
                <p:spPr bwMode="auto">
                  <a:xfrm>
                    <a:off x="6538" y="2334"/>
                    <a:ext cx="72" cy="52"/>
                  </a:xfrm>
                  <a:custGeom>
                    <a:avLst/>
                    <a:gdLst>
                      <a:gd name="T0" fmla="*/ 27 w 259"/>
                      <a:gd name="T1" fmla="*/ 149 h 185"/>
                      <a:gd name="T2" fmla="*/ 25 w 259"/>
                      <a:gd name="T3" fmla="*/ 128 h 185"/>
                      <a:gd name="T4" fmla="*/ 2 w 259"/>
                      <a:gd name="T5" fmla="*/ 103 h 185"/>
                      <a:gd name="T6" fmla="*/ 16 w 259"/>
                      <a:gd name="T7" fmla="*/ 89 h 185"/>
                      <a:gd name="T8" fmla="*/ 15 w 259"/>
                      <a:gd name="T9" fmla="*/ 58 h 185"/>
                      <a:gd name="T10" fmla="*/ 0 w 259"/>
                      <a:gd name="T11" fmla="*/ 14 h 185"/>
                      <a:gd name="T12" fmla="*/ 6 w 259"/>
                      <a:gd name="T13" fmla="*/ 0 h 185"/>
                      <a:gd name="T14" fmla="*/ 61 w 259"/>
                      <a:gd name="T15" fmla="*/ 0 h 185"/>
                      <a:gd name="T16" fmla="*/ 107 w 259"/>
                      <a:gd name="T17" fmla="*/ 22 h 185"/>
                      <a:gd name="T18" fmla="*/ 126 w 259"/>
                      <a:gd name="T19" fmla="*/ 19 h 185"/>
                      <a:gd name="T20" fmla="*/ 145 w 259"/>
                      <a:gd name="T21" fmla="*/ 48 h 185"/>
                      <a:gd name="T22" fmla="*/ 182 w 259"/>
                      <a:gd name="T23" fmla="*/ 47 h 185"/>
                      <a:gd name="T24" fmla="*/ 185 w 259"/>
                      <a:gd name="T25" fmla="*/ 70 h 185"/>
                      <a:gd name="T26" fmla="*/ 217 w 259"/>
                      <a:gd name="T27" fmla="*/ 73 h 185"/>
                      <a:gd name="T28" fmla="*/ 259 w 259"/>
                      <a:gd name="T29" fmla="*/ 103 h 185"/>
                      <a:gd name="T30" fmla="*/ 239 w 259"/>
                      <a:gd name="T31" fmla="*/ 137 h 185"/>
                      <a:gd name="T32" fmla="*/ 201 w 259"/>
                      <a:gd name="T33" fmla="*/ 119 h 185"/>
                      <a:gd name="T34" fmla="*/ 170 w 259"/>
                      <a:gd name="T35" fmla="*/ 122 h 185"/>
                      <a:gd name="T36" fmla="*/ 146 w 259"/>
                      <a:gd name="T37" fmla="*/ 118 h 185"/>
                      <a:gd name="T38" fmla="*/ 136 w 259"/>
                      <a:gd name="T39" fmla="*/ 133 h 185"/>
                      <a:gd name="T40" fmla="*/ 110 w 259"/>
                      <a:gd name="T41" fmla="*/ 138 h 185"/>
                      <a:gd name="T42" fmla="*/ 95 w 259"/>
                      <a:gd name="T43" fmla="*/ 118 h 185"/>
                      <a:gd name="T44" fmla="*/ 74 w 259"/>
                      <a:gd name="T45" fmla="*/ 130 h 185"/>
                      <a:gd name="T46" fmla="*/ 57 w 259"/>
                      <a:gd name="T47" fmla="*/ 185 h 185"/>
                      <a:gd name="T48" fmla="*/ 36 w 259"/>
                      <a:gd name="T49" fmla="*/ 173 h 185"/>
                      <a:gd name="T50" fmla="*/ 27 w 259"/>
                      <a:gd name="T51" fmla="*/ 14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9" h="185">
                        <a:moveTo>
                          <a:pt x="27" y="149"/>
                        </a:moveTo>
                        <a:lnTo>
                          <a:pt x="25" y="128"/>
                        </a:lnTo>
                        <a:lnTo>
                          <a:pt x="2" y="103"/>
                        </a:lnTo>
                        <a:lnTo>
                          <a:pt x="16" y="89"/>
                        </a:lnTo>
                        <a:lnTo>
                          <a:pt x="15" y="58"/>
                        </a:lnTo>
                        <a:lnTo>
                          <a:pt x="0" y="14"/>
                        </a:lnTo>
                        <a:lnTo>
                          <a:pt x="6" y="0"/>
                        </a:lnTo>
                        <a:lnTo>
                          <a:pt x="61" y="0"/>
                        </a:lnTo>
                        <a:lnTo>
                          <a:pt x="107" y="22"/>
                        </a:lnTo>
                        <a:lnTo>
                          <a:pt x="126" y="19"/>
                        </a:lnTo>
                        <a:lnTo>
                          <a:pt x="145" y="48"/>
                        </a:lnTo>
                        <a:lnTo>
                          <a:pt x="182" y="47"/>
                        </a:lnTo>
                        <a:lnTo>
                          <a:pt x="185" y="70"/>
                        </a:lnTo>
                        <a:lnTo>
                          <a:pt x="217" y="73"/>
                        </a:lnTo>
                        <a:lnTo>
                          <a:pt x="259" y="103"/>
                        </a:lnTo>
                        <a:lnTo>
                          <a:pt x="239" y="137"/>
                        </a:lnTo>
                        <a:lnTo>
                          <a:pt x="201" y="119"/>
                        </a:lnTo>
                        <a:lnTo>
                          <a:pt x="170" y="122"/>
                        </a:lnTo>
                        <a:lnTo>
                          <a:pt x="146" y="118"/>
                        </a:lnTo>
                        <a:lnTo>
                          <a:pt x="136" y="133"/>
                        </a:lnTo>
                        <a:lnTo>
                          <a:pt x="110" y="138"/>
                        </a:lnTo>
                        <a:lnTo>
                          <a:pt x="95" y="118"/>
                        </a:lnTo>
                        <a:lnTo>
                          <a:pt x="74" y="130"/>
                        </a:lnTo>
                        <a:lnTo>
                          <a:pt x="57" y="185"/>
                        </a:lnTo>
                        <a:lnTo>
                          <a:pt x="36" y="173"/>
                        </a:lnTo>
                        <a:lnTo>
                          <a:pt x="27" y="14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8" name="Algeria" descr="{&quot;Key&quot;:&quot;algeria&quot;,&quot;Name&quot;:&quot;Algeria&quot;,&quot;Value&quot;:1.0,&quot;Formula&quot;:&quot;&quot;,&quot;Text&quot;:&quot;&quot;,&quot;OfficeApplication&quot;:1,&quot;HasValue&quot;:true}">
                    <a:extLst>
                      <a:ext uri="{FF2B5EF4-FFF2-40B4-BE49-F238E27FC236}">
                        <a16:creationId xmlns:a16="http://schemas.microsoft.com/office/drawing/2014/main" id="{71BA058B-71FD-5C91-071E-66845C7B489F}"/>
                      </a:ext>
                    </a:extLst>
                  </p:cNvPr>
                  <p:cNvSpPr>
                    <a:spLocks/>
                  </p:cNvSpPr>
                  <p:nvPr/>
                </p:nvSpPr>
                <p:spPr bwMode="auto">
                  <a:xfrm>
                    <a:off x="744" y="1943"/>
                    <a:ext cx="423" cy="410"/>
                  </a:xfrm>
                  <a:custGeom>
                    <a:avLst/>
                    <a:gdLst>
                      <a:gd name="T0" fmla="*/ 1516 w 1516"/>
                      <a:gd name="T1" fmla="*/ 14 h 1468"/>
                      <a:gd name="T2" fmla="*/ 1482 w 1516"/>
                      <a:gd name="T3" fmla="*/ 56 h 1468"/>
                      <a:gd name="T4" fmla="*/ 1453 w 1516"/>
                      <a:gd name="T5" fmla="*/ 134 h 1468"/>
                      <a:gd name="T6" fmla="*/ 1406 w 1516"/>
                      <a:gd name="T7" fmla="*/ 200 h 1468"/>
                      <a:gd name="T8" fmla="*/ 1342 w 1516"/>
                      <a:gd name="T9" fmla="*/ 245 h 1468"/>
                      <a:gd name="T10" fmla="*/ 1321 w 1516"/>
                      <a:gd name="T11" fmla="*/ 306 h 1468"/>
                      <a:gd name="T12" fmla="*/ 1355 w 1516"/>
                      <a:gd name="T13" fmla="*/ 355 h 1468"/>
                      <a:gd name="T14" fmla="*/ 1347 w 1516"/>
                      <a:gd name="T15" fmla="*/ 375 h 1468"/>
                      <a:gd name="T16" fmla="*/ 1374 w 1516"/>
                      <a:gd name="T17" fmla="*/ 408 h 1468"/>
                      <a:gd name="T18" fmla="*/ 1344 w 1516"/>
                      <a:gd name="T19" fmla="*/ 554 h 1468"/>
                      <a:gd name="T20" fmla="*/ 1339 w 1516"/>
                      <a:gd name="T21" fmla="*/ 625 h 1468"/>
                      <a:gd name="T22" fmla="*/ 1331 w 1516"/>
                      <a:gd name="T23" fmla="*/ 663 h 1468"/>
                      <a:gd name="T24" fmla="*/ 1296 w 1516"/>
                      <a:gd name="T25" fmla="*/ 730 h 1468"/>
                      <a:gd name="T26" fmla="*/ 1288 w 1516"/>
                      <a:gd name="T27" fmla="*/ 766 h 1468"/>
                      <a:gd name="T28" fmla="*/ 1264 w 1516"/>
                      <a:gd name="T29" fmla="*/ 811 h 1468"/>
                      <a:gd name="T30" fmla="*/ 1256 w 1516"/>
                      <a:gd name="T31" fmla="*/ 863 h 1468"/>
                      <a:gd name="T32" fmla="*/ 1217 w 1516"/>
                      <a:gd name="T33" fmla="*/ 897 h 1468"/>
                      <a:gd name="T34" fmla="*/ 1242 w 1516"/>
                      <a:gd name="T35" fmla="*/ 955 h 1468"/>
                      <a:gd name="T36" fmla="*/ 1236 w 1516"/>
                      <a:gd name="T37" fmla="*/ 990 h 1468"/>
                      <a:gd name="T38" fmla="*/ 1248 w 1516"/>
                      <a:gd name="T39" fmla="*/ 1035 h 1468"/>
                      <a:gd name="T40" fmla="*/ 1285 w 1516"/>
                      <a:gd name="T41" fmla="*/ 1020 h 1468"/>
                      <a:gd name="T42" fmla="*/ 1331 w 1516"/>
                      <a:gd name="T43" fmla="*/ 1059 h 1468"/>
                      <a:gd name="T44" fmla="*/ 1349 w 1516"/>
                      <a:gd name="T45" fmla="*/ 1109 h 1468"/>
                      <a:gd name="T46" fmla="*/ 1074 w 1516"/>
                      <a:gd name="T47" fmla="*/ 1264 h 1468"/>
                      <a:gd name="T48" fmla="*/ 836 w 1516"/>
                      <a:gd name="T49" fmla="*/ 1424 h 1468"/>
                      <a:gd name="T50" fmla="*/ 728 w 1516"/>
                      <a:gd name="T51" fmla="*/ 1460 h 1468"/>
                      <a:gd name="T52" fmla="*/ 648 w 1516"/>
                      <a:gd name="T53" fmla="*/ 1468 h 1468"/>
                      <a:gd name="T54" fmla="*/ 660 w 1516"/>
                      <a:gd name="T55" fmla="*/ 1417 h 1468"/>
                      <a:gd name="T56" fmla="*/ 629 w 1516"/>
                      <a:gd name="T57" fmla="*/ 1403 h 1468"/>
                      <a:gd name="T58" fmla="*/ 591 w 1516"/>
                      <a:gd name="T59" fmla="*/ 1380 h 1468"/>
                      <a:gd name="T60" fmla="*/ 582 w 1516"/>
                      <a:gd name="T61" fmla="*/ 1341 h 1468"/>
                      <a:gd name="T62" fmla="*/ 386 w 1516"/>
                      <a:gd name="T63" fmla="*/ 1164 h 1468"/>
                      <a:gd name="T64" fmla="*/ 197 w 1516"/>
                      <a:gd name="T65" fmla="*/ 988 h 1468"/>
                      <a:gd name="T66" fmla="*/ 0 w 1516"/>
                      <a:gd name="T67" fmla="*/ 790 h 1468"/>
                      <a:gd name="T68" fmla="*/ 7 w 1516"/>
                      <a:gd name="T69" fmla="*/ 775 h 1468"/>
                      <a:gd name="T70" fmla="*/ 8 w 1516"/>
                      <a:gd name="T71" fmla="*/ 769 h 1468"/>
                      <a:gd name="T72" fmla="*/ 45 w 1516"/>
                      <a:gd name="T73" fmla="*/ 673 h 1468"/>
                      <a:gd name="T74" fmla="*/ 181 w 1516"/>
                      <a:gd name="T75" fmla="*/ 613 h 1468"/>
                      <a:gd name="T76" fmla="*/ 255 w 1516"/>
                      <a:gd name="T77" fmla="*/ 600 h 1468"/>
                      <a:gd name="T78" fmla="*/ 321 w 1516"/>
                      <a:gd name="T79" fmla="*/ 579 h 1468"/>
                      <a:gd name="T80" fmla="*/ 365 w 1516"/>
                      <a:gd name="T81" fmla="*/ 538 h 1468"/>
                      <a:gd name="T82" fmla="*/ 458 w 1516"/>
                      <a:gd name="T83" fmla="*/ 505 h 1468"/>
                      <a:gd name="T84" fmla="*/ 488 w 1516"/>
                      <a:gd name="T85" fmla="*/ 445 h 1468"/>
                      <a:gd name="T86" fmla="*/ 531 w 1516"/>
                      <a:gd name="T87" fmla="*/ 439 h 1468"/>
                      <a:gd name="T88" fmla="*/ 576 w 1516"/>
                      <a:gd name="T89" fmla="*/ 409 h 1468"/>
                      <a:gd name="T90" fmla="*/ 671 w 1516"/>
                      <a:gd name="T91" fmla="*/ 395 h 1468"/>
                      <a:gd name="T92" fmla="*/ 698 w 1516"/>
                      <a:gd name="T93" fmla="*/ 363 h 1468"/>
                      <a:gd name="T94" fmla="*/ 688 w 1516"/>
                      <a:gd name="T95" fmla="*/ 346 h 1468"/>
                      <a:gd name="T96" fmla="*/ 707 w 1516"/>
                      <a:gd name="T97" fmla="*/ 260 h 1468"/>
                      <a:gd name="T98" fmla="*/ 727 w 1516"/>
                      <a:gd name="T99" fmla="*/ 210 h 1468"/>
                      <a:gd name="T100" fmla="*/ 728 w 1516"/>
                      <a:gd name="T101" fmla="*/ 159 h 1468"/>
                      <a:gd name="T102" fmla="*/ 816 w 1516"/>
                      <a:gd name="T103" fmla="*/ 114 h 1468"/>
                      <a:gd name="T104" fmla="*/ 897 w 1516"/>
                      <a:gd name="T105" fmla="*/ 100 h 1468"/>
                      <a:gd name="T106" fmla="*/ 957 w 1516"/>
                      <a:gd name="T107" fmla="*/ 66 h 1468"/>
                      <a:gd name="T108" fmla="*/ 1035 w 1516"/>
                      <a:gd name="T109" fmla="*/ 41 h 1468"/>
                      <a:gd name="T110" fmla="*/ 1156 w 1516"/>
                      <a:gd name="T111" fmla="*/ 28 h 1468"/>
                      <a:gd name="T112" fmla="*/ 1271 w 1516"/>
                      <a:gd name="T113" fmla="*/ 21 h 1468"/>
                      <a:gd name="T114" fmla="*/ 1298 w 1516"/>
                      <a:gd name="T115" fmla="*/ 33 h 1468"/>
                      <a:gd name="T116" fmla="*/ 1378 w 1516"/>
                      <a:gd name="T117" fmla="*/ 1 h 1468"/>
                      <a:gd name="T118" fmla="*/ 1451 w 1516"/>
                      <a:gd name="T119" fmla="*/ 0 h 1468"/>
                      <a:gd name="T120" fmla="*/ 1468 w 1516"/>
                      <a:gd name="T121" fmla="*/ 19 h 1468"/>
                      <a:gd name="T122" fmla="*/ 1516 w 1516"/>
                      <a:gd name="T123" fmla="*/ 14 h 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6" h="1468">
                        <a:moveTo>
                          <a:pt x="1516" y="14"/>
                        </a:moveTo>
                        <a:lnTo>
                          <a:pt x="1482" y="56"/>
                        </a:lnTo>
                        <a:lnTo>
                          <a:pt x="1453" y="134"/>
                        </a:lnTo>
                        <a:lnTo>
                          <a:pt x="1406" y="200"/>
                        </a:lnTo>
                        <a:lnTo>
                          <a:pt x="1342" y="245"/>
                        </a:lnTo>
                        <a:lnTo>
                          <a:pt x="1321" y="306"/>
                        </a:lnTo>
                        <a:lnTo>
                          <a:pt x="1355" y="355"/>
                        </a:lnTo>
                        <a:lnTo>
                          <a:pt x="1347" y="375"/>
                        </a:lnTo>
                        <a:lnTo>
                          <a:pt x="1374" y="408"/>
                        </a:lnTo>
                        <a:lnTo>
                          <a:pt x="1344" y="554"/>
                        </a:lnTo>
                        <a:lnTo>
                          <a:pt x="1339" y="625"/>
                        </a:lnTo>
                        <a:lnTo>
                          <a:pt x="1331" y="663"/>
                        </a:lnTo>
                        <a:lnTo>
                          <a:pt x="1296" y="730"/>
                        </a:lnTo>
                        <a:lnTo>
                          <a:pt x="1288" y="766"/>
                        </a:lnTo>
                        <a:lnTo>
                          <a:pt x="1264" y="811"/>
                        </a:lnTo>
                        <a:lnTo>
                          <a:pt x="1256" y="863"/>
                        </a:lnTo>
                        <a:lnTo>
                          <a:pt x="1217" y="897"/>
                        </a:lnTo>
                        <a:lnTo>
                          <a:pt x="1242" y="955"/>
                        </a:lnTo>
                        <a:lnTo>
                          <a:pt x="1236" y="990"/>
                        </a:lnTo>
                        <a:lnTo>
                          <a:pt x="1248" y="1035"/>
                        </a:lnTo>
                        <a:lnTo>
                          <a:pt x="1285" y="1020"/>
                        </a:lnTo>
                        <a:lnTo>
                          <a:pt x="1331" y="1059"/>
                        </a:lnTo>
                        <a:lnTo>
                          <a:pt x="1349" y="1109"/>
                        </a:lnTo>
                        <a:lnTo>
                          <a:pt x="1074" y="1264"/>
                        </a:lnTo>
                        <a:lnTo>
                          <a:pt x="836" y="1424"/>
                        </a:lnTo>
                        <a:lnTo>
                          <a:pt x="728" y="1460"/>
                        </a:lnTo>
                        <a:lnTo>
                          <a:pt x="648" y="1468"/>
                        </a:lnTo>
                        <a:lnTo>
                          <a:pt x="660" y="1417"/>
                        </a:lnTo>
                        <a:lnTo>
                          <a:pt x="629" y="1403"/>
                        </a:lnTo>
                        <a:lnTo>
                          <a:pt x="591" y="1380"/>
                        </a:lnTo>
                        <a:lnTo>
                          <a:pt x="582" y="1341"/>
                        </a:lnTo>
                        <a:lnTo>
                          <a:pt x="386" y="1164"/>
                        </a:lnTo>
                        <a:lnTo>
                          <a:pt x="197" y="988"/>
                        </a:lnTo>
                        <a:lnTo>
                          <a:pt x="0" y="790"/>
                        </a:lnTo>
                        <a:lnTo>
                          <a:pt x="7" y="775"/>
                        </a:lnTo>
                        <a:lnTo>
                          <a:pt x="8" y="769"/>
                        </a:lnTo>
                        <a:lnTo>
                          <a:pt x="45" y="673"/>
                        </a:lnTo>
                        <a:lnTo>
                          <a:pt x="181" y="613"/>
                        </a:lnTo>
                        <a:lnTo>
                          <a:pt x="255" y="600"/>
                        </a:lnTo>
                        <a:lnTo>
                          <a:pt x="321" y="579"/>
                        </a:lnTo>
                        <a:lnTo>
                          <a:pt x="365" y="538"/>
                        </a:lnTo>
                        <a:lnTo>
                          <a:pt x="458" y="505"/>
                        </a:lnTo>
                        <a:lnTo>
                          <a:pt x="488" y="445"/>
                        </a:lnTo>
                        <a:lnTo>
                          <a:pt x="531" y="439"/>
                        </a:lnTo>
                        <a:lnTo>
                          <a:pt x="576" y="409"/>
                        </a:lnTo>
                        <a:lnTo>
                          <a:pt x="671" y="395"/>
                        </a:lnTo>
                        <a:lnTo>
                          <a:pt x="698" y="363"/>
                        </a:lnTo>
                        <a:lnTo>
                          <a:pt x="688" y="346"/>
                        </a:lnTo>
                        <a:lnTo>
                          <a:pt x="707" y="260"/>
                        </a:lnTo>
                        <a:lnTo>
                          <a:pt x="727" y="210"/>
                        </a:lnTo>
                        <a:lnTo>
                          <a:pt x="728" y="159"/>
                        </a:lnTo>
                        <a:lnTo>
                          <a:pt x="816" y="114"/>
                        </a:lnTo>
                        <a:lnTo>
                          <a:pt x="897" y="100"/>
                        </a:lnTo>
                        <a:lnTo>
                          <a:pt x="957" y="66"/>
                        </a:lnTo>
                        <a:lnTo>
                          <a:pt x="1035" y="41"/>
                        </a:lnTo>
                        <a:lnTo>
                          <a:pt x="1156" y="28"/>
                        </a:lnTo>
                        <a:lnTo>
                          <a:pt x="1271" y="21"/>
                        </a:lnTo>
                        <a:lnTo>
                          <a:pt x="1298" y="33"/>
                        </a:lnTo>
                        <a:lnTo>
                          <a:pt x="1378" y="1"/>
                        </a:lnTo>
                        <a:lnTo>
                          <a:pt x="1451" y="0"/>
                        </a:lnTo>
                        <a:lnTo>
                          <a:pt x="1468" y="19"/>
                        </a:lnTo>
                        <a:lnTo>
                          <a:pt x="1516" y="1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29" name="Ecuador" descr="{&quot;Key&quot;:&quot;ecuador&quot;,&quot;Name&quot;:&quot;Ecuador&quot;,&quot;Value&quot;:1.0,&quot;Formula&quot;:&quot;&quot;,&quot;Text&quot;:&quot;&quot;,&quot;OfficeApplication&quot;:1,&quot;HasValue&quot;:true}">
                    <a:extLst>
                      <a:ext uri="{FF2B5EF4-FFF2-40B4-BE49-F238E27FC236}">
                        <a16:creationId xmlns:a16="http://schemas.microsoft.com/office/drawing/2014/main" id="{AA128503-3D16-27F6-AE61-2CE87C495E2C}"/>
                      </a:ext>
                    </a:extLst>
                  </p:cNvPr>
                  <p:cNvSpPr>
                    <a:spLocks/>
                  </p:cNvSpPr>
                  <p:nvPr/>
                </p:nvSpPr>
                <p:spPr bwMode="auto">
                  <a:xfrm>
                    <a:off x="6400" y="2753"/>
                    <a:ext cx="115" cy="144"/>
                  </a:xfrm>
                  <a:custGeom>
                    <a:avLst/>
                    <a:gdLst>
                      <a:gd name="T0" fmla="*/ 405 w 414"/>
                      <a:gd name="T1" fmla="*/ 125 h 515"/>
                      <a:gd name="T2" fmla="*/ 414 w 414"/>
                      <a:gd name="T3" fmla="*/ 187 h 515"/>
                      <a:gd name="T4" fmla="*/ 391 w 414"/>
                      <a:gd name="T5" fmla="*/ 239 h 515"/>
                      <a:gd name="T6" fmla="*/ 310 w 414"/>
                      <a:gd name="T7" fmla="*/ 324 h 515"/>
                      <a:gd name="T8" fmla="*/ 222 w 414"/>
                      <a:gd name="T9" fmla="*/ 357 h 515"/>
                      <a:gd name="T10" fmla="*/ 175 w 414"/>
                      <a:gd name="T11" fmla="*/ 428 h 515"/>
                      <a:gd name="T12" fmla="*/ 159 w 414"/>
                      <a:gd name="T13" fmla="*/ 482 h 515"/>
                      <a:gd name="T14" fmla="*/ 116 w 414"/>
                      <a:gd name="T15" fmla="*/ 515 h 515"/>
                      <a:gd name="T16" fmla="*/ 89 w 414"/>
                      <a:gd name="T17" fmla="*/ 474 h 515"/>
                      <a:gd name="T18" fmla="*/ 60 w 414"/>
                      <a:gd name="T19" fmla="*/ 465 h 515"/>
                      <a:gd name="T20" fmla="*/ 30 w 414"/>
                      <a:gd name="T21" fmla="*/ 472 h 515"/>
                      <a:gd name="T22" fmla="*/ 30 w 414"/>
                      <a:gd name="T23" fmla="*/ 443 h 515"/>
                      <a:gd name="T24" fmla="*/ 51 w 414"/>
                      <a:gd name="T25" fmla="*/ 423 h 515"/>
                      <a:gd name="T26" fmla="*/ 44 w 414"/>
                      <a:gd name="T27" fmla="*/ 389 h 515"/>
                      <a:gd name="T28" fmla="*/ 85 w 414"/>
                      <a:gd name="T29" fmla="*/ 328 h 515"/>
                      <a:gd name="T30" fmla="*/ 70 w 414"/>
                      <a:gd name="T31" fmla="*/ 293 h 515"/>
                      <a:gd name="T32" fmla="*/ 41 w 414"/>
                      <a:gd name="T33" fmla="*/ 330 h 515"/>
                      <a:gd name="T34" fmla="*/ 0 w 414"/>
                      <a:gd name="T35" fmla="*/ 295 h 515"/>
                      <a:gd name="T36" fmla="*/ 15 w 414"/>
                      <a:gd name="T37" fmla="*/ 272 h 515"/>
                      <a:gd name="T38" fmla="*/ 5 w 414"/>
                      <a:gd name="T39" fmla="*/ 198 h 515"/>
                      <a:gd name="T40" fmla="*/ 30 w 414"/>
                      <a:gd name="T41" fmla="*/ 187 h 515"/>
                      <a:gd name="T42" fmla="*/ 44 w 414"/>
                      <a:gd name="T43" fmla="*/ 135 h 515"/>
                      <a:gd name="T44" fmla="*/ 71 w 414"/>
                      <a:gd name="T45" fmla="*/ 83 h 515"/>
                      <a:gd name="T46" fmla="*/ 65 w 414"/>
                      <a:gd name="T47" fmla="*/ 50 h 515"/>
                      <a:gd name="T48" fmla="*/ 105 w 414"/>
                      <a:gd name="T49" fmla="*/ 33 h 515"/>
                      <a:gd name="T50" fmla="*/ 154 w 414"/>
                      <a:gd name="T51" fmla="*/ 0 h 515"/>
                      <a:gd name="T52" fmla="*/ 226 w 414"/>
                      <a:gd name="T53" fmla="*/ 47 h 515"/>
                      <a:gd name="T54" fmla="*/ 239 w 414"/>
                      <a:gd name="T55" fmla="*/ 45 h 515"/>
                      <a:gd name="T56" fmla="*/ 257 w 414"/>
                      <a:gd name="T57" fmla="*/ 80 h 515"/>
                      <a:gd name="T58" fmla="*/ 319 w 414"/>
                      <a:gd name="T59" fmla="*/ 92 h 515"/>
                      <a:gd name="T60" fmla="*/ 339 w 414"/>
                      <a:gd name="T61" fmla="*/ 79 h 515"/>
                      <a:gd name="T62" fmla="*/ 374 w 414"/>
                      <a:gd name="T63" fmla="*/ 105 h 515"/>
                      <a:gd name="T64" fmla="*/ 405 w 414"/>
                      <a:gd name="T65" fmla="*/ 125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4" h="515">
                        <a:moveTo>
                          <a:pt x="405" y="125"/>
                        </a:moveTo>
                        <a:lnTo>
                          <a:pt x="414" y="187"/>
                        </a:lnTo>
                        <a:lnTo>
                          <a:pt x="391" y="239"/>
                        </a:lnTo>
                        <a:lnTo>
                          <a:pt x="310" y="324"/>
                        </a:lnTo>
                        <a:lnTo>
                          <a:pt x="222" y="357"/>
                        </a:lnTo>
                        <a:lnTo>
                          <a:pt x="175" y="428"/>
                        </a:lnTo>
                        <a:lnTo>
                          <a:pt x="159" y="482"/>
                        </a:lnTo>
                        <a:lnTo>
                          <a:pt x="116" y="515"/>
                        </a:lnTo>
                        <a:lnTo>
                          <a:pt x="89" y="474"/>
                        </a:lnTo>
                        <a:lnTo>
                          <a:pt x="60" y="465"/>
                        </a:lnTo>
                        <a:lnTo>
                          <a:pt x="30" y="472"/>
                        </a:lnTo>
                        <a:lnTo>
                          <a:pt x="30" y="443"/>
                        </a:lnTo>
                        <a:lnTo>
                          <a:pt x="51" y="423"/>
                        </a:lnTo>
                        <a:lnTo>
                          <a:pt x="44" y="389"/>
                        </a:lnTo>
                        <a:lnTo>
                          <a:pt x="85" y="328"/>
                        </a:lnTo>
                        <a:lnTo>
                          <a:pt x="70" y="293"/>
                        </a:lnTo>
                        <a:lnTo>
                          <a:pt x="41" y="330"/>
                        </a:lnTo>
                        <a:lnTo>
                          <a:pt x="0" y="295"/>
                        </a:lnTo>
                        <a:lnTo>
                          <a:pt x="15" y="272"/>
                        </a:lnTo>
                        <a:lnTo>
                          <a:pt x="5" y="198"/>
                        </a:lnTo>
                        <a:lnTo>
                          <a:pt x="30" y="187"/>
                        </a:lnTo>
                        <a:lnTo>
                          <a:pt x="44" y="135"/>
                        </a:lnTo>
                        <a:lnTo>
                          <a:pt x="71" y="83"/>
                        </a:lnTo>
                        <a:lnTo>
                          <a:pt x="65" y="50"/>
                        </a:lnTo>
                        <a:lnTo>
                          <a:pt x="105" y="33"/>
                        </a:lnTo>
                        <a:lnTo>
                          <a:pt x="154" y="0"/>
                        </a:lnTo>
                        <a:lnTo>
                          <a:pt x="226" y="47"/>
                        </a:lnTo>
                        <a:lnTo>
                          <a:pt x="239" y="45"/>
                        </a:lnTo>
                        <a:lnTo>
                          <a:pt x="257" y="80"/>
                        </a:lnTo>
                        <a:lnTo>
                          <a:pt x="319" y="92"/>
                        </a:lnTo>
                        <a:lnTo>
                          <a:pt x="339" y="79"/>
                        </a:lnTo>
                        <a:lnTo>
                          <a:pt x="374" y="105"/>
                        </a:lnTo>
                        <a:lnTo>
                          <a:pt x="405" y="12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0" name="Egypt" descr="{&quot;Key&quot;:&quot;egypt&quot;,&quot;Name&quot;:&quot;Egypt&quot;,&quot;Value&quot;:1.0,&quot;Formula&quot;:&quot;&quot;,&quot;Text&quot;:&quot;&quot;,&quot;OfficeApplication&quot;:1,&quot;HasValue&quot;:true}">
                    <a:extLst>
                      <a:ext uri="{FF2B5EF4-FFF2-40B4-BE49-F238E27FC236}">
                        <a16:creationId xmlns:a16="http://schemas.microsoft.com/office/drawing/2014/main" id="{B6754ED2-0AB9-CDEF-B9E7-79AEC3C3A319}"/>
                      </a:ext>
                    </a:extLst>
                  </p:cNvPr>
                  <p:cNvSpPr>
                    <a:spLocks/>
                  </p:cNvSpPr>
                  <p:nvPr/>
                </p:nvSpPr>
                <p:spPr bwMode="auto">
                  <a:xfrm>
                    <a:off x="1368" y="2069"/>
                    <a:ext cx="234" cy="217"/>
                  </a:xfrm>
                  <a:custGeom>
                    <a:avLst/>
                    <a:gdLst>
                      <a:gd name="T0" fmla="*/ 840 w 840"/>
                      <a:gd name="T1" fmla="*/ 30 h 779"/>
                      <a:gd name="T2" fmla="*/ 840 w 840"/>
                      <a:gd name="T3" fmla="*/ 148 h 779"/>
                      <a:gd name="T4" fmla="*/ 840 w 840"/>
                      <a:gd name="T5" fmla="*/ 169 h 779"/>
                      <a:gd name="T6" fmla="*/ 811 w 840"/>
                      <a:gd name="T7" fmla="*/ 202 h 779"/>
                      <a:gd name="T8" fmla="*/ 779 w 840"/>
                      <a:gd name="T9" fmla="*/ 264 h 779"/>
                      <a:gd name="T10" fmla="*/ 749 w 840"/>
                      <a:gd name="T11" fmla="*/ 305 h 779"/>
                      <a:gd name="T12" fmla="*/ 729 w 840"/>
                      <a:gd name="T13" fmla="*/ 320 h 779"/>
                      <a:gd name="T14" fmla="*/ 712 w 840"/>
                      <a:gd name="T15" fmla="*/ 294 h 779"/>
                      <a:gd name="T16" fmla="*/ 691 w 840"/>
                      <a:gd name="T17" fmla="*/ 258 h 779"/>
                      <a:gd name="T18" fmla="*/ 676 w 840"/>
                      <a:gd name="T19" fmla="*/ 142 h 779"/>
                      <a:gd name="T20" fmla="*/ 667 w 840"/>
                      <a:gd name="T21" fmla="*/ 148 h 779"/>
                      <a:gd name="T22" fmla="*/ 670 w 840"/>
                      <a:gd name="T23" fmla="*/ 234 h 779"/>
                      <a:gd name="T24" fmla="*/ 690 w 840"/>
                      <a:gd name="T25" fmla="*/ 315 h 779"/>
                      <a:gd name="T26" fmla="*/ 710 w 840"/>
                      <a:gd name="T27" fmla="*/ 443 h 779"/>
                      <a:gd name="T28" fmla="*/ 725 w 840"/>
                      <a:gd name="T29" fmla="*/ 486 h 779"/>
                      <a:gd name="T30" fmla="*/ 737 w 840"/>
                      <a:gd name="T31" fmla="*/ 533 h 779"/>
                      <a:gd name="T32" fmla="*/ 781 w 840"/>
                      <a:gd name="T33" fmla="*/ 623 h 779"/>
                      <a:gd name="T34" fmla="*/ 764 w 840"/>
                      <a:gd name="T35" fmla="*/ 636 h 779"/>
                      <a:gd name="T36" fmla="*/ 756 w 840"/>
                      <a:gd name="T37" fmla="*/ 689 h 779"/>
                      <a:gd name="T38" fmla="*/ 825 w 840"/>
                      <a:gd name="T39" fmla="*/ 763 h 779"/>
                      <a:gd name="T40" fmla="*/ 834 w 840"/>
                      <a:gd name="T41" fmla="*/ 779 h 779"/>
                      <a:gd name="T42" fmla="*/ 555 w 840"/>
                      <a:gd name="T43" fmla="*/ 779 h 779"/>
                      <a:gd name="T44" fmla="*/ 282 w 840"/>
                      <a:gd name="T45" fmla="*/ 779 h 779"/>
                      <a:gd name="T46" fmla="*/ 0 w 840"/>
                      <a:gd name="T47" fmla="*/ 779 h 779"/>
                      <a:gd name="T48" fmla="*/ 66 w 840"/>
                      <a:gd name="T49" fmla="*/ 480 h 779"/>
                      <a:gd name="T50" fmla="*/ 149 w 840"/>
                      <a:gd name="T51" fmla="*/ 190 h 779"/>
                      <a:gd name="T52" fmla="*/ 150 w 840"/>
                      <a:gd name="T53" fmla="*/ 125 h 779"/>
                      <a:gd name="T54" fmla="*/ 185 w 840"/>
                      <a:gd name="T55" fmla="*/ 75 h 779"/>
                      <a:gd name="T56" fmla="*/ 186 w 840"/>
                      <a:gd name="T57" fmla="*/ 40 h 779"/>
                      <a:gd name="T58" fmla="*/ 225 w 840"/>
                      <a:gd name="T59" fmla="*/ 1 h 779"/>
                      <a:gd name="T60" fmla="*/ 316 w 840"/>
                      <a:gd name="T61" fmla="*/ 0 h 779"/>
                      <a:gd name="T62" fmla="*/ 375 w 840"/>
                      <a:gd name="T63" fmla="*/ 21 h 779"/>
                      <a:gd name="T64" fmla="*/ 435 w 840"/>
                      <a:gd name="T65" fmla="*/ 45 h 779"/>
                      <a:gd name="T66" fmla="*/ 462 w 840"/>
                      <a:gd name="T67" fmla="*/ 58 h 779"/>
                      <a:gd name="T68" fmla="*/ 524 w 840"/>
                      <a:gd name="T69" fmla="*/ 33 h 779"/>
                      <a:gd name="T70" fmla="*/ 560 w 840"/>
                      <a:gd name="T71" fmla="*/ 9 h 779"/>
                      <a:gd name="T72" fmla="*/ 624 w 840"/>
                      <a:gd name="T73" fmla="*/ 3 h 779"/>
                      <a:gd name="T74" fmla="*/ 669 w 840"/>
                      <a:gd name="T75" fmla="*/ 13 h 779"/>
                      <a:gd name="T76" fmla="*/ 674 w 840"/>
                      <a:gd name="T77" fmla="*/ 53 h 779"/>
                      <a:gd name="T78" fmla="*/ 699 w 840"/>
                      <a:gd name="T79" fmla="*/ 26 h 779"/>
                      <a:gd name="T80" fmla="*/ 747 w 840"/>
                      <a:gd name="T81" fmla="*/ 45 h 779"/>
                      <a:gd name="T82" fmla="*/ 799 w 840"/>
                      <a:gd name="T83" fmla="*/ 50 h 779"/>
                      <a:gd name="T84" fmla="*/ 840 w 840"/>
                      <a:gd name="T85" fmla="*/ 30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0" h="779">
                        <a:moveTo>
                          <a:pt x="840" y="30"/>
                        </a:moveTo>
                        <a:lnTo>
                          <a:pt x="840" y="148"/>
                        </a:lnTo>
                        <a:lnTo>
                          <a:pt x="840" y="169"/>
                        </a:lnTo>
                        <a:lnTo>
                          <a:pt x="811" y="202"/>
                        </a:lnTo>
                        <a:lnTo>
                          <a:pt x="779" y="264"/>
                        </a:lnTo>
                        <a:lnTo>
                          <a:pt x="749" y="305"/>
                        </a:lnTo>
                        <a:lnTo>
                          <a:pt x="729" y="320"/>
                        </a:lnTo>
                        <a:lnTo>
                          <a:pt x="712" y="294"/>
                        </a:lnTo>
                        <a:lnTo>
                          <a:pt x="691" y="258"/>
                        </a:lnTo>
                        <a:lnTo>
                          <a:pt x="676" y="142"/>
                        </a:lnTo>
                        <a:lnTo>
                          <a:pt x="667" y="148"/>
                        </a:lnTo>
                        <a:lnTo>
                          <a:pt x="670" y="234"/>
                        </a:lnTo>
                        <a:lnTo>
                          <a:pt x="690" y="315"/>
                        </a:lnTo>
                        <a:lnTo>
                          <a:pt x="710" y="443"/>
                        </a:lnTo>
                        <a:lnTo>
                          <a:pt x="725" y="486"/>
                        </a:lnTo>
                        <a:lnTo>
                          <a:pt x="737" y="533"/>
                        </a:lnTo>
                        <a:lnTo>
                          <a:pt x="781" y="623"/>
                        </a:lnTo>
                        <a:lnTo>
                          <a:pt x="764" y="636"/>
                        </a:lnTo>
                        <a:lnTo>
                          <a:pt x="756" y="689"/>
                        </a:lnTo>
                        <a:lnTo>
                          <a:pt x="825" y="763"/>
                        </a:lnTo>
                        <a:lnTo>
                          <a:pt x="834" y="779"/>
                        </a:lnTo>
                        <a:lnTo>
                          <a:pt x="555" y="779"/>
                        </a:lnTo>
                        <a:lnTo>
                          <a:pt x="282" y="779"/>
                        </a:lnTo>
                        <a:lnTo>
                          <a:pt x="0" y="779"/>
                        </a:lnTo>
                        <a:lnTo>
                          <a:pt x="66" y="480"/>
                        </a:lnTo>
                        <a:lnTo>
                          <a:pt x="149" y="190"/>
                        </a:lnTo>
                        <a:lnTo>
                          <a:pt x="150" y="125"/>
                        </a:lnTo>
                        <a:lnTo>
                          <a:pt x="185" y="75"/>
                        </a:lnTo>
                        <a:lnTo>
                          <a:pt x="186" y="40"/>
                        </a:lnTo>
                        <a:lnTo>
                          <a:pt x="225" y="1"/>
                        </a:lnTo>
                        <a:lnTo>
                          <a:pt x="316" y="0"/>
                        </a:lnTo>
                        <a:lnTo>
                          <a:pt x="375" y="21"/>
                        </a:lnTo>
                        <a:lnTo>
                          <a:pt x="435" y="45"/>
                        </a:lnTo>
                        <a:lnTo>
                          <a:pt x="462" y="58"/>
                        </a:lnTo>
                        <a:lnTo>
                          <a:pt x="524" y="33"/>
                        </a:lnTo>
                        <a:lnTo>
                          <a:pt x="560" y="9"/>
                        </a:lnTo>
                        <a:lnTo>
                          <a:pt x="624" y="3"/>
                        </a:lnTo>
                        <a:lnTo>
                          <a:pt x="669" y="13"/>
                        </a:lnTo>
                        <a:lnTo>
                          <a:pt x="674" y="53"/>
                        </a:lnTo>
                        <a:lnTo>
                          <a:pt x="699" y="26"/>
                        </a:lnTo>
                        <a:lnTo>
                          <a:pt x="747" y="45"/>
                        </a:lnTo>
                        <a:lnTo>
                          <a:pt x="799" y="50"/>
                        </a:lnTo>
                        <a:lnTo>
                          <a:pt x="840" y="3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1" name="Eritrea" descr="{&quot;Key&quot;:&quot;eritrea&quot;,&quot;Name&quot;:&quot;Eritrea&quot;,&quot;Value&quot;:1.0,&quot;Formula&quot;:&quot;&quot;,&quot;Text&quot;:&quot;&quot;,&quot;OfficeApplication&quot;:1,&quot;HasValue&quot;:true}">
                    <a:extLst>
                      <a:ext uri="{FF2B5EF4-FFF2-40B4-BE49-F238E27FC236}">
                        <a16:creationId xmlns:a16="http://schemas.microsoft.com/office/drawing/2014/main" id="{189AC894-DF0F-1E0E-1AE0-C50A24F53ED0}"/>
                      </a:ext>
                    </a:extLst>
                  </p:cNvPr>
                  <p:cNvSpPr>
                    <a:spLocks/>
                  </p:cNvSpPr>
                  <p:nvPr/>
                </p:nvSpPr>
                <p:spPr bwMode="auto">
                  <a:xfrm>
                    <a:off x="1564" y="2377"/>
                    <a:ext cx="128" cy="125"/>
                  </a:xfrm>
                  <a:custGeom>
                    <a:avLst/>
                    <a:gdLst>
                      <a:gd name="T0" fmla="*/ 462 w 462"/>
                      <a:gd name="T1" fmla="*/ 431 h 451"/>
                      <a:gd name="T2" fmla="*/ 438 w 462"/>
                      <a:gd name="T3" fmla="*/ 451 h 451"/>
                      <a:gd name="T4" fmla="*/ 408 w 462"/>
                      <a:gd name="T5" fmla="*/ 444 h 451"/>
                      <a:gd name="T6" fmla="*/ 387 w 462"/>
                      <a:gd name="T7" fmla="*/ 418 h 451"/>
                      <a:gd name="T8" fmla="*/ 362 w 462"/>
                      <a:gd name="T9" fmla="*/ 370 h 451"/>
                      <a:gd name="T10" fmla="*/ 334 w 462"/>
                      <a:gd name="T11" fmla="*/ 344 h 451"/>
                      <a:gd name="T12" fmla="*/ 318 w 462"/>
                      <a:gd name="T13" fmla="*/ 316 h 451"/>
                      <a:gd name="T14" fmla="*/ 260 w 462"/>
                      <a:gd name="T15" fmla="*/ 282 h 451"/>
                      <a:gd name="T16" fmla="*/ 212 w 462"/>
                      <a:gd name="T17" fmla="*/ 282 h 451"/>
                      <a:gd name="T18" fmla="*/ 197 w 462"/>
                      <a:gd name="T19" fmla="*/ 265 h 451"/>
                      <a:gd name="T20" fmla="*/ 153 w 462"/>
                      <a:gd name="T21" fmla="*/ 284 h 451"/>
                      <a:gd name="T22" fmla="*/ 114 w 462"/>
                      <a:gd name="T23" fmla="*/ 248 h 451"/>
                      <a:gd name="T24" fmla="*/ 84 w 462"/>
                      <a:gd name="T25" fmla="*/ 308 h 451"/>
                      <a:gd name="T26" fmla="*/ 4 w 462"/>
                      <a:gd name="T27" fmla="*/ 291 h 451"/>
                      <a:gd name="T28" fmla="*/ 0 w 462"/>
                      <a:gd name="T29" fmla="*/ 259 h 451"/>
                      <a:gd name="T30" fmla="*/ 48 w 462"/>
                      <a:gd name="T31" fmla="*/ 139 h 451"/>
                      <a:gd name="T32" fmla="*/ 63 w 462"/>
                      <a:gd name="T33" fmla="*/ 85 h 451"/>
                      <a:gd name="T34" fmla="*/ 89 w 462"/>
                      <a:gd name="T35" fmla="*/ 60 h 451"/>
                      <a:gd name="T36" fmla="*/ 144 w 462"/>
                      <a:gd name="T37" fmla="*/ 46 h 451"/>
                      <a:gd name="T38" fmla="*/ 187 w 462"/>
                      <a:gd name="T39" fmla="*/ 0 h 451"/>
                      <a:gd name="T40" fmla="*/ 213 w 462"/>
                      <a:gd name="T41" fmla="*/ 95 h 451"/>
                      <a:gd name="T42" fmla="*/ 222 w 462"/>
                      <a:gd name="T43" fmla="*/ 169 h 451"/>
                      <a:gd name="T44" fmla="*/ 255 w 462"/>
                      <a:gd name="T45" fmla="*/ 209 h 451"/>
                      <a:gd name="T46" fmla="*/ 343 w 462"/>
                      <a:gd name="T47" fmla="*/ 285 h 451"/>
                      <a:gd name="T48" fmla="*/ 377 w 462"/>
                      <a:gd name="T49" fmla="*/ 331 h 451"/>
                      <a:gd name="T50" fmla="*/ 409 w 462"/>
                      <a:gd name="T51" fmla="*/ 379 h 451"/>
                      <a:gd name="T52" fmla="*/ 429 w 462"/>
                      <a:gd name="T53" fmla="*/ 406 h 451"/>
                      <a:gd name="T54" fmla="*/ 462 w 462"/>
                      <a:gd name="T55" fmla="*/ 43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2" h="451">
                        <a:moveTo>
                          <a:pt x="462" y="431"/>
                        </a:moveTo>
                        <a:lnTo>
                          <a:pt x="438" y="451"/>
                        </a:lnTo>
                        <a:lnTo>
                          <a:pt x="408" y="444"/>
                        </a:lnTo>
                        <a:lnTo>
                          <a:pt x="387" y="418"/>
                        </a:lnTo>
                        <a:lnTo>
                          <a:pt x="362" y="370"/>
                        </a:lnTo>
                        <a:lnTo>
                          <a:pt x="334" y="344"/>
                        </a:lnTo>
                        <a:lnTo>
                          <a:pt x="318" y="316"/>
                        </a:lnTo>
                        <a:lnTo>
                          <a:pt x="260" y="282"/>
                        </a:lnTo>
                        <a:lnTo>
                          <a:pt x="212" y="282"/>
                        </a:lnTo>
                        <a:lnTo>
                          <a:pt x="197" y="265"/>
                        </a:lnTo>
                        <a:lnTo>
                          <a:pt x="153" y="284"/>
                        </a:lnTo>
                        <a:lnTo>
                          <a:pt x="114" y="248"/>
                        </a:lnTo>
                        <a:lnTo>
                          <a:pt x="84" y="308"/>
                        </a:lnTo>
                        <a:lnTo>
                          <a:pt x="4" y="291"/>
                        </a:lnTo>
                        <a:lnTo>
                          <a:pt x="0" y="259"/>
                        </a:lnTo>
                        <a:lnTo>
                          <a:pt x="48" y="139"/>
                        </a:lnTo>
                        <a:lnTo>
                          <a:pt x="63" y="85"/>
                        </a:lnTo>
                        <a:lnTo>
                          <a:pt x="89" y="60"/>
                        </a:lnTo>
                        <a:lnTo>
                          <a:pt x="144" y="46"/>
                        </a:lnTo>
                        <a:lnTo>
                          <a:pt x="187" y="0"/>
                        </a:lnTo>
                        <a:lnTo>
                          <a:pt x="213" y="95"/>
                        </a:lnTo>
                        <a:lnTo>
                          <a:pt x="222" y="169"/>
                        </a:lnTo>
                        <a:lnTo>
                          <a:pt x="255" y="209"/>
                        </a:lnTo>
                        <a:lnTo>
                          <a:pt x="343" y="285"/>
                        </a:lnTo>
                        <a:lnTo>
                          <a:pt x="377" y="331"/>
                        </a:lnTo>
                        <a:lnTo>
                          <a:pt x="409" y="379"/>
                        </a:lnTo>
                        <a:lnTo>
                          <a:pt x="429" y="406"/>
                        </a:lnTo>
                        <a:lnTo>
                          <a:pt x="462" y="43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2" name="Estonia" descr="{&quot;Key&quot;:&quot;estonia&quot;,&quot;Name&quot;:&quot;Estonia&quot;,&quot;Value&quot;:1.0,&quot;Formula&quot;:&quot;&quot;,&quot;Text&quot;:&quot;&quot;,&quot;OfficeApplication&quot;:1,&quot;HasValue&quot;:true}">
                    <a:extLst>
                      <a:ext uri="{FF2B5EF4-FFF2-40B4-BE49-F238E27FC236}">
                        <a16:creationId xmlns:a16="http://schemas.microsoft.com/office/drawing/2014/main" id="{DA21E53D-E475-CA25-FC6D-802C45EDDD83}"/>
                      </a:ext>
                    </a:extLst>
                  </p:cNvPr>
                  <p:cNvSpPr>
                    <a:spLocks/>
                  </p:cNvSpPr>
                  <p:nvPr/>
                </p:nvSpPr>
                <p:spPr bwMode="auto">
                  <a:xfrm>
                    <a:off x="1767" y="1450"/>
                    <a:ext cx="90" cy="45"/>
                  </a:xfrm>
                  <a:custGeom>
                    <a:avLst/>
                    <a:gdLst>
                      <a:gd name="T0" fmla="*/ 154 w 324"/>
                      <a:gd name="T1" fmla="*/ 161 h 161"/>
                      <a:gd name="T2" fmla="*/ 105 w 324"/>
                      <a:gd name="T3" fmla="*/ 161 h 161"/>
                      <a:gd name="T4" fmla="*/ 79 w 324"/>
                      <a:gd name="T5" fmla="*/ 133 h 161"/>
                      <a:gd name="T6" fmla="*/ 61 w 324"/>
                      <a:gd name="T7" fmla="*/ 124 h 161"/>
                      <a:gd name="T8" fmla="*/ 0 w 324"/>
                      <a:gd name="T9" fmla="*/ 138 h 161"/>
                      <a:gd name="T10" fmla="*/ 46 w 324"/>
                      <a:gd name="T11" fmla="*/ 93 h 161"/>
                      <a:gd name="T12" fmla="*/ 16 w 324"/>
                      <a:gd name="T13" fmla="*/ 103 h 161"/>
                      <a:gd name="T14" fmla="*/ 2 w 324"/>
                      <a:gd name="T15" fmla="*/ 75 h 161"/>
                      <a:gd name="T16" fmla="*/ 36 w 324"/>
                      <a:gd name="T17" fmla="*/ 33 h 161"/>
                      <a:gd name="T18" fmla="*/ 129 w 324"/>
                      <a:gd name="T19" fmla="*/ 12 h 161"/>
                      <a:gd name="T20" fmla="*/ 211 w 324"/>
                      <a:gd name="T21" fmla="*/ 0 h 161"/>
                      <a:gd name="T22" fmla="*/ 262 w 324"/>
                      <a:gd name="T23" fmla="*/ 13 h 161"/>
                      <a:gd name="T24" fmla="*/ 324 w 324"/>
                      <a:gd name="T25" fmla="*/ 12 h 161"/>
                      <a:gd name="T26" fmla="*/ 321 w 324"/>
                      <a:gd name="T27" fmla="*/ 24 h 161"/>
                      <a:gd name="T28" fmla="*/ 242 w 324"/>
                      <a:gd name="T29" fmla="*/ 68 h 161"/>
                      <a:gd name="T30" fmla="*/ 199 w 324"/>
                      <a:gd name="T31" fmla="*/ 138 h 161"/>
                      <a:gd name="T32" fmla="*/ 154 w 324"/>
                      <a:gd name="T33"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4" h="161">
                        <a:moveTo>
                          <a:pt x="154" y="161"/>
                        </a:moveTo>
                        <a:lnTo>
                          <a:pt x="105" y="161"/>
                        </a:lnTo>
                        <a:lnTo>
                          <a:pt x="79" y="133"/>
                        </a:lnTo>
                        <a:lnTo>
                          <a:pt x="61" y="124"/>
                        </a:lnTo>
                        <a:lnTo>
                          <a:pt x="0" y="138"/>
                        </a:lnTo>
                        <a:lnTo>
                          <a:pt x="46" y="93"/>
                        </a:lnTo>
                        <a:lnTo>
                          <a:pt x="16" y="103"/>
                        </a:lnTo>
                        <a:lnTo>
                          <a:pt x="2" y="75"/>
                        </a:lnTo>
                        <a:lnTo>
                          <a:pt x="36" y="33"/>
                        </a:lnTo>
                        <a:lnTo>
                          <a:pt x="129" y="12"/>
                        </a:lnTo>
                        <a:lnTo>
                          <a:pt x="211" y="0"/>
                        </a:lnTo>
                        <a:lnTo>
                          <a:pt x="262" y="13"/>
                        </a:lnTo>
                        <a:lnTo>
                          <a:pt x="324" y="12"/>
                        </a:lnTo>
                        <a:lnTo>
                          <a:pt x="321" y="24"/>
                        </a:lnTo>
                        <a:lnTo>
                          <a:pt x="242" y="68"/>
                        </a:lnTo>
                        <a:lnTo>
                          <a:pt x="199" y="138"/>
                        </a:lnTo>
                        <a:lnTo>
                          <a:pt x="154" y="16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3" name="Ethiopia" descr="{&quot;Key&quot;:&quot;ethiopia&quot;,&quot;Name&quot;:&quot;Ethiopia&quot;,&quot;Value&quot;:1.0,&quot;Formula&quot;:&quot;&quot;,&quot;Text&quot;:&quot;&quot;,&quot;OfficeApplication&quot;:1,&quot;HasValue&quot;:true}">
                    <a:extLst>
                      <a:ext uri="{FF2B5EF4-FFF2-40B4-BE49-F238E27FC236}">
                        <a16:creationId xmlns:a16="http://schemas.microsoft.com/office/drawing/2014/main" id="{B2277764-120A-5D04-C57E-43AADB785502}"/>
                      </a:ext>
                    </a:extLst>
                  </p:cNvPr>
                  <p:cNvSpPr>
                    <a:spLocks/>
                  </p:cNvSpPr>
                  <p:nvPr/>
                </p:nvSpPr>
                <p:spPr bwMode="auto">
                  <a:xfrm>
                    <a:off x="1481" y="2446"/>
                    <a:ext cx="296" cy="261"/>
                  </a:xfrm>
                  <a:custGeom>
                    <a:avLst/>
                    <a:gdLst>
                      <a:gd name="T0" fmla="*/ 508 w 1062"/>
                      <a:gd name="T1" fmla="*/ 35 h 937"/>
                      <a:gd name="T2" fmla="*/ 556 w 1062"/>
                      <a:gd name="T3" fmla="*/ 35 h 937"/>
                      <a:gd name="T4" fmla="*/ 614 w 1062"/>
                      <a:gd name="T5" fmla="*/ 68 h 937"/>
                      <a:gd name="T6" fmla="*/ 630 w 1062"/>
                      <a:gd name="T7" fmla="*/ 96 h 937"/>
                      <a:gd name="T8" fmla="*/ 658 w 1062"/>
                      <a:gd name="T9" fmla="*/ 122 h 937"/>
                      <a:gd name="T10" fmla="*/ 683 w 1062"/>
                      <a:gd name="T11" fmla="*/ 170 h 937"/>
                      <a:gd name="T12" fmla="*/ 704 w 1062"/>
                      <a:gd name="T13" fmla="*/ 196 h 937"/>
                      <a:gd name="T14" fmla="*/ 675 w 1062"/>
                      <a:gd name="T15" fmla="*/ 232 h 937"/>
                      <a:gd name="T16" fmla="*/ 648 w 1062"/>
                      <a:gd name="T17" fmla="*/ 270 h 937"/>
                      <a:gd name="T18" fmla="*/ 651 w 1062"/>
                      <a:gd name="T19" fmla="*/ 292 h 937"/>
                      <a:gd name="T20" fmla="*/ 650 w 1062"/>
                      <a:gd name="T21" fmla="*/ 317 h 937"/>
                      <a:gd name="T22" fmla="*/ 690 w 1062"/>
                      <a:gd name="T23" fmla="*/ 318 h 937"/>
                      <a:gd name="T24" fmla="*/ 707 w 1062"/>
                      <a:gd name="T25" fmla="*/ 313 h 937"/>
                      <a:gd name="T26" fmla="*/ 721 w 1062"/>
                      <a:gd name="T27" fmla="*/ 327 h 937"/>
                      <a:gd name="T28" fmla="*/ 704 w 1062"/>
                      <a:gd name="T29" fmla="*/ 356 h 937"/>
                      <a:gd name="T30" fmla="*/ 726 w 1062"/>
                      <a:gd name="T31" fmla="*/ 401 h 937"/>
                      <a:gd name="T32" fmla="*/ 750 w 1062"/>
                      <a:gd name="T33" fmla="*/ 440 h 937"/>
                      <a:gd name="T34" fmla="*/ 775 w 1062"/>
                      <a:gd name="T35" fmla="*/ 468 h 937"/>
                      <a:gd name="T36" fmla="*/ 1002 w 1062"/>
                      <a:gd name="T37" fmla="*/ 566 h 937"/>
                      <a:gd name="T38" fmla="*/ 1062 w 1062"/>
                      <a:gd name="T39" fmla="*/ 565 h 937"/>
                      <a:gd name="T40" fmla="*/ 848 w 1062"/>
                      <a:gd name="T41" fmla="*/ 808 h 937"/>
                      <a:gd name="T42" fmla="*/ 754 w 1062"/>
                      <a:gd name="T43" fmla="*/ 812 h 937"/>
                      <a:gd name="T44" fmla="*/ 687 w 1062"/>
                      <a:gd name="T45" fmla="*/ 870 h 937"/>
                      <a:gd name="T46" fmla="*/ 641 w 1062"/>
                      <a:gd name="T47" fmla="*/ 871 h 937"/>
                      <a:gd name="T48" fmla="*/ 621 w 1062"/>
                      <a:gd name="T49" fmla="*/ 897 h 937"/>
                      <a:gd name="T50" fmla="*/ 573 w 1062"/>
                      <a:gd name="T51" fmla="*/ 897 h 937"/>
                      <a:gd name="T52" fmla="*/ 544 w 1062"/>
                      <a:gd name="T53" fmla="*/ 870 h 937"/>
                      <a:gd name="T54" fmla="*/ 477 w 1062"/>
                      <a:gd name="T55" fmla="*/ 903 h 937"/>
                      <a:gd name="T56" fmla="*/ 455 w 1062"/>
                      <a:gd name="T57" fmla="*/ 937 h 937"/>
                      <a:gd name="T58" fmla="*/ 407 w 1062"/>
                      <a:gd name="T59" fmla="*/ 931 h 937"/>
                      <a:gd name="T60" fmla="*/ 391 w 1062"/>
                      <a:gd name="T61" fmla="*/ 922 h 937"/>
                      <a:gd name="T62" fmla="*/ 375 w 1062"/>
                      <a:gd name="T63" fmla="*/ 923 h 937"/>
                      <a:gd name="T64" fmla="*/ 352 w 1062"/>
                      <a:gd name="T65" fmla="*/ 923 h 937"/>
                      <a:gd name="T66" fmla="*/ 264 w 1062"/>
                      <a:gd name="T67" fmla="*/ 853 h 937"/>
                      <a:gd name="T68" fmla="*/ 214 w 1062"/>
                      <a:gd name="T69" fmla="*/ 853 h 937"/>
                      <a:gd name="T70" fmla="*/ 191 w 1062"/>
                      <a:gd name="T71" fmla="*/ 827 h 937"/>
                      <a:gd name="T72" fmla="*/ 194 w 1062"/>
                      <a:gd name="T73" fmla="*/ 782 h 937"/>
                      <a:gd name="T74" fmla="*/ 156 w 1062"/>
                      <a:gd name="T75" fmla="*/ 768 h 937"/>
                      <a:gd name="T76" fmla="*/ 119 w 1062"/>
                      <a:gd name="T77" fmla="*/ 680 h 937"/>
                      <a:gd name="T78" fmla="*/ 87 w 1062"/>
                      <a:gd name="T79" fmla="*/ 661 h 937"/>
                      <a:gd name="T80" fmla="*/ 77 w 1062"/>
                      <a:gd name="T81" fmla="*/ 628 h 937"/>
                      <a:gd name="T82" fmla="*/ 44 w 1062"/>
                      <a:gd name="T83" fmla="*/ 588 h 937"/>
                      <a:gd name="T84" fmla="*/ 0 w 1062"/>
                      <a:gd name="T85" fmla="*/ 582 h 937"/>
                      <a:gd name="T86" fmla="*/ 27 w 1062"/>
                      <a:gd name="T87" fmla="*/ 536 h 937"/>
                      <a:gd name="T88" fmla="*/ 65 w 1062"/>
                      <a:gd name="T89" fmla="*/ 535 h 937"/>
                      <a:gd name="T90" fmla="*/ 77 w 1062"/>
                      <a:gd name="T91" fmla="*/ 510 h 937"/>
                      <a:gd name="T92" fmla="*/ 82 w 1062"/>
                      <a:gd name="T93" fmla="*/ 446 h 937"/>
                      <a:gd name="T94" fmla="*/ 82 w 1062"/>
                      <a:gd name="T95" fmla="*/ 436 h 937"/>
                      <a:gd name="T96" fmla="*/ 111 w 1062"/>
                      <a:gd name="T97" fmla="*/ 351 h 937"/>
                      <a:gd name="T98" fmla="*/ 147 w 1062"/>
                      <a:gd name="T99" fmla="*/ 328 h 937"/>
                      <a:gd name="T100" fmla="*/ 157 w 1062"/>
                      <a:gd name="T101" fmla="*/ 296 h 937"/>
                      <a:gd name="T102" fmla="*/ 194 w 1062"/>
                      <a:gd name="T103" fmla="*/ 233 h 937"/>
                      <a:gd name="T104" fmla="*/ 241 w 1062"/>
                      <a:gd name="T105" fmla="*/ 193 h 937"/>
                      <a:gd name="T106" fmla="*/ 280 w 1062"/>
                      <a:gd name="T107" fmla="*/ 113 h 937"/>
                      <a:gd name="T108" fmla="*/ 300 w 1062"/>
                      <a:gd name="T109" fmla="*/ 43 h 937"/>
                      <a:gd name="T110" fmla="*/ 380 w 1062"/>
                      <a:gd name="T111" fmla="*/ 60 h 937"/>
                      <a:gd name="T112" fmla="*/ 410 w 1062"/>
                      <a:gd name="T113" fmla="*/ 0 h 937"/>
                      <a:gd name="T114" fmla="*/ 449 w 1062"/>
                      <a:gd name="T115" fmla="*/ 36 h 937"/>
                      <a:gd name="T116" fmla="*/ 492 w 1062"/>
                      <a:gd name="T117" fmla="*/ 17 h 937"/>
                      <a:gd name="T118" fmla="*/ 508 w 1062"/>
                      <a:gd name="T119" fmla="*/ 35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2" h="937">
                        <a:moveTo>
                          <a:pt x="508" y="35"/>
                        </a:moveTo>
                        <a:lnTo>
                          <a:pt x="556" y="35"/>
                        </a:lnTo>
                        <a:lnTo>
                          <a:pt x="614" y="68"/>
                        </a:lnTo>
                        <a:lnTo>
                          <a:pt x="630" y="96"/>
                        </a:lnTo>
                        <a:lnTo>
                          <a:pt x="658" y="122"/>
                        </a:lnTo>
                        <a:lnTo>
                          <a:pt x="683" y="170"/>
                        </a:lnTo>
                        <a:lnTo>
                          <a:pt x="704" y="196"/>
                        </a:lnTo>
                        <a:lnTo>
                          <a:pt x="675" y="232"/>
                        </a:lnTo>
                        <a:lnTo>
                          <a:pt x="648" y="270"/>
                        </a:lnTo>
                        <a:lnTo>
                          <a:pt x="651" y="292"/>
                        </a:lnTo>
                        <a:lnTo>
                          <a:pt x="650" y="317"/>
                        </a:lnTo>
                        <a:lnTo>
                          <a:pt x="690" y="318"/>
                        </a:lnTo>
                        <a:lnTo>
                          <a:pt x="707" y="313"/>
                        </a:lnTo>
                        <a:lnTo>
                          <a:pt x="721" y="327"/>
                        </a:lnTo>
                        <a:lnTo>
                          <a:pt x="704" y="356"/>
                        </a:lnTo>
                        <a:lnTo>
                          <a:pt x="726" y="401"/>
                        </a:lnTo>
                        <a:lnTo>
                          <a:pt x="750" y="440"/>
                        </a:lnTo>
                        <a:lnTo>
                          <a:pt x="775" y="468"/>
                        </a:lnTo>
                        <a:lnTo>
                          <a:pt x="1002" y="566"/>
                        </a:lnTo>
                        <a:lnTo>
                          <a:pt x="1062" y="565"/>
                        </a:lnTo>
                        <a:lnTo>
                          <a:pt x="848" y="808"/>
                        </a:lnTo>
                        <a:lnTo>
                          <a:pt x="754" y="812"/>
                        </a:lnTo>
                        <a:lnTo>
                          <a:pt x="687" y="870"/>
                        </a:lnTo>
                        <a:lnTo>
                          <a:pt x="641" y="871"/>
                        </a:lnTo>
                        <a:lnTo>
                          <a:pt x="621" y="897"/>
                        </a:lnTo>
                        <a:lnTo>
                          <a:pt x="573" y="897"/>
                        </a:lnTo>
                        <a:lnTo>
                          <a:pt x="544" y="870"/>
                        </a:lnTo>
                        <a:lnTo>
                          <a:pt x="477" y="903"/>
                        </a:lnTo>
                        <a:lnTo>
                          <a:pt x="455" y="937"/>
                        </a:lnTo>
                        <a:lnTo>
                          <a:pt x="407" y="931"/>
                        </a:lnTo>
                        <a:lnTo>
                          <a:pt x="391" y="922"/>
                        </a:lnTo>
                        <a:lnTo>
                          <a:pt x="375" y="923"/>
                        </a:lnTo>
                        <a:lnTo>
                          <a:pt x="352" y="923"/>
                        </a:lnTo>
                        <a:lnTo>
                          <a:pt x="264" y="853"/>
                        </a:lnTo>
                        <a:lnTo>
                          <a:pt x="214" y="853"/>
                        </a:lnTo>
                        <a:lnTo>
                          <a:pt x="191" y="827"/>
                        </a:lnTo>
                        <a:lnTo>
                          <a:pt x="194" y="782"/>
                        </a:lnTo>
                        <a:lnTo>
                          <a:pt x="156" y="768"/>
                        </a:lnTo>
                        <a:lnTo>
                          <a:pt x="119" y="680"/>
                        </a:lnTo>
                        <a:lnTo>
                          <a:pt x="87" y="661"/>
                        </a:lnTo>
                        <a:lnTo>
                          <a:pt x="77" y="628"/>
                        </a:lnTo>
                        <a:lnTo>
                          <a:pt x="44" y="588"/>
                        </a:lnTo>
                        <a:lnTo>
                          <a:pt x="0" y="582"/>
                        </a:lnTo>
                        <a:lnTo>
                          <a:pt x="27" y="536"/>
                        </a:lnTo>
                        <a:lnTo>
                          <a:pt x="65" y="535"/>
                        </a:lnTo>
                        <a:lnTo>
                          <a:pt x="77" y="510"/>
                        </a:lnTo>
                        <a:lnTo>
                          <a:pt x="82" y="446"/>
                        </a:lnTo>
                        <a:lnTo>
                          <a:pt x="82" y="436"/>
                        </a:lnTo>
                        <a:lnTo>
                          <a:pt x="111" y="351"/>
                        </a:lnTo>
                        <a:lnTo>
                          <a:pt x="147" y="328"/>
                        </a:lnTo>
                        <a:lnTo>
                          <a:pt x="157" y="296"/>
                        </a:lnTo>
                        <a:lnTo>
                          <a:pt x="194" y="233"/>
                        </a:lnTo>
                        <a:lnTo>
                          <a:pt x="241" y="193"/>
                        </a:lnTo>
                        <a:lnTo>
                          <a:pt x="280" y="113"/>
                        </a:lnTo>
                        <a:lnTo>
                          <a:pt x="300" y="43"/>
                        </a:lnTo>
                        <a:lnTo>
                          <a:pt x="380" y="60"/>
                        </a:lnTo>
                        <a:lnTo>
                          <a:pt x="410" y="0"/>
                        </a:lnTo>
                        <a:lnTo>
                          <a:pt x="449" y="36"/>
                        </a:lnTo>
                        <a:lnTo>
                          <a:pt x="492" y="17"/>
                        </a:lnTo>
                        <a:lnTo>
                          <a:pt x="508" y="3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4" name="Finland" descr="{&quot;Key&quot;:&quot;finland&quot;,&quot;Name&quot;:&quot;Finland&quot;,&quot;Value&quot;:1.0,&quot;Formula&quot;:&quot;&quot;,&quot;Text&quot;:&quot;&quot;,&quot;OfficeApplication&quot;:1,&quot;HasValue&quot;:true}">
                    <a:extLst>
                      <a:ext uri="{FF2B5EF4-FFF2-40B4-BE49-F238E27FC236}">
                        <a16:creationId xmlns:a16="http://schemas.microsoft.com/office/drawing/2014/main" id="{9A63465D-2CE9-761B-0362-374616FA8BA2}"/>
                      </a:ext>
                    </a:extLst>
                  </p:cNvPr>
                  <p:cNvSpPr>
                    <a:spLocks/>
                  </p:cNvSpPr>
                  <p:nvPr/>
                </p:nvSpPr>
                <p:spPr bwMode="auto">
                  <a:xfrm>
                    <a:off x="1774" y="1240"/>
                    <a:ext cx="298" cy="205"/>
                  </a:xfrm>
                  <a:custGeom>
                    <a:avLst/>
                    <a:gdLst>
                      <a:gd name="T0" fmla="*/ 994 w 1068"/>
                      <a:gd name="T1" fmla="*/ 75 h 736"/>
                      <a:gd name="T2" fmla="*/ 936 w 1068"/>
                      <a:gd name="T3" fmla="*/ 123 h 736"/>
                      <a:gd name="T4" fmla="*/ 969 w 1068"/>
                      <a:gd name="T5" fmla="*/ 170 h 736"/>
                      <a:gd name="T6" fmla="*/ 867 w 1068"/>
                      <a:gd name="T7" fmla="*/ 222 h 736"/>
                      <a:gd name="T8" fmla="*/ 849 w 1068"/>
                      <a:gd name="T9" fmla="*/ 302 h 736"/>
                      <a:gd name="T10" fmla="*/ 754 w 1068"/>
                      <a:gd name="T11" fmla="*/ 363 h 736"/>
                      <a:gd name="T12" fmla="*/ 752 w 1068"/>
                      <a:gd name="T13" fmla="*/ 417 h 736"/>
                      <a:gd name="T14" fmla="*/ 685 w 1068"/>
                      <a:gd name="T15" fmla="*/ 463 h 736"/>
                      <a:gd name="T16" fmla="*/ 722 w 1068"/>
                      <a:gd name="T17" fmla="*/ 513 h 736"/>
                      <a:gd name="T18" fmla="*/ 667 w 1068"/>
                      <a:gd name="T19" fmla="*/ 551 h 736"/>
                      <a:gd name="T20" fmla="*/ 577 w 1068"/>
                      <a:gd name="T21" fmla="*/ 593 h 736"/>
                      <a:gd name="T22" fmla="*/ 369 w 1068"/>
                      <a:gd name="T23" fmla="*/ 687 h 736"/>
                      <a:gd name="T24" fmla="*/ 260 w 1068"/>
                      <a:gd name="T25" fmla="*/ 693 h 736"/>
                      <a:gd name="T26" fmla="*/ 135 w 1068"/>
                      <a:gd name="T27" fmla="*/ 721 h 736"/>
                      <a:gd name="T28" fmla="*/ 28 w 1068"/>
                      <a:gd name="T29" fmla="*/ 736 h 736"/>
                      <a:gd name="T30" fmla="*/ 32 w 1068"/>
                      <a:gd name="T31" fmla="*/ 696 h 736"/>
                      <a:gd name="T32" fmla="*/ 0 w 1068"/>
                      <a:gd name="T33" fmla="*/ 671 h 736"/>
                      <a:gd name="T34" fmla="*/ 83 w 1068"/>
                      <a:gd name="T35" fmla="*/ 598 h 736"/>
                      <a:gd name="T36" fmla="*/ 119 w 1068"/>
                      <a:gd name="T37" fmla="*/ 532 h 736"/>
                      <a:gd name="T38" fmla="*/ 188 w 1068"/>
                      <a:gd name="T39" fmla="*/ 491 h 736"/>
                      <a:gd name="T40" fmla="*/ 284 w 1068"/>
                      <a:gd name="T41" fmla="*/ 445 h 736"/>
                      <a:gd name="T42" fmla="*/ 488 w 1068"/>
                      <a:gd name="T43" fmla="*/ 367 h 736"/>
                      <a:gd name="T44" fmla="*/ 539 w 1068"/>
                      <a:gd name="T45" fmla="*/ 352 h 736"/>
                      <a:gd name="T46" fmla="*/ 564 w 1068"/>
                      <a:gd name="T47" fmla="*/ 322 h 736"/>
                      <a:gd name="T48" fmla="*/ 523 w 1068"/>
                      <a:gd name="T49" fmla="*/ 288 h 736"/>
                      <a:gd name="T50" fmla="*/ 533 w 1068"/>
                      <a:gd name="T51" fmla="*/ 261 h 736"/>
                      <a:gd name="T52" fmla="*/ 645 w 1068"/>
                      <a:gd name="T53" fmla="*/ 153 h 736"/>
                      <a:gd name="T54" fmla="*/ 615 w 1068"/>
                      <a:gd name="T55" fmla="*/ 106 h 736"/>
                      <a:gd name="T56" fmla="*/ 583 w 1068"/>
                      <a:gd name="T57" fmla="*/ 72 h 736"/>
                      <a:gd name="T58" fmla="*/ 635 w 1068"/>
                      <a:gd name="T59" fmla="*/ 53 h 736"/>
                      <a:gd name="T60" fmla="*/ 653 w 1068"/>
                      <a:gd name="T61" fmla="*/ 90 h 736"/>
                      <a:gd name="T62" fmla="*/ 724 w 1068"/>
                      <a:gd name="T63" fmla="*/ 87 h 736"/>
                      <a:gd name="T64" fmla="*/ 763 w 1068"/>
                      <a:gd name="T65" fmla="*/ 103 h 736"/>
                      <a:gd name="T66" fmla="*/ 845 w 1068"/>
                      <a:gd name="T67" fmla="*/ 73 h 736"/>
                      <a:gd name="T68" fmla="*/ 925 w 1068"/>
                      <a:gd name="T69" fmla="*/ 23 h 736"/>
                      <a:gd name="T70" fmla="*/ 1032 w 1068"/>
                      <a:gd name="T71" fmla="*/ 0 h 736"/>
                      <a:gd name="T72" fmla="*/ 1068 w 1068"/>
                      <a:gd name="T73" fmla="*/ 27 h 736"/>
                      <a:gd name="T74" fmla="*/ 994 w 1068"/>
                      <a:gd name="T75" fmla="*/ 75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8" h="736">
                        <a:moveTo>
                          <a:pt x="994" y="75"/>
                        </a:moveTo>
                        <a:lnTo>
                          <a:pt x="936" y="123"/>
                        </a:lnTo>
                        <a:lnTo>
                          <a:pt x="969" y="170"/>
                        </a:lnTo>
                        <a:lnTo>
                          <a:pt x="867" y="222"/>
                        </a:lnTo>
                        <a:lnTo>
                          <a:pt x="849" y="302"/>
                        </a:lnTo>
                        <a:lnTo>
                          <a:pt x="754" y="363"/>
                        </a:lnTo>
                        <a:lnTo>
                          <a:pt x="752" y="417"/>
                        </a:lnTo>
                        <a:lnTo>
                          <a:pt x="685" y="463"/>
                        </a:lnTo>
                        <a:lnTo>
                          <a:pt x="722" y="513"/>
                        </a:lnTo>
                        <a:lnTo>
                          <a:pt x="667" y="551"/>
                        </a:lnTo>
                        <a:lnTo>
                          <a:pt x="577" y="593"/>
                        </a:lnTo>
                        <a:lnTo>
                          <a:pt x="369" y="687"/>
                        </a:lnTo>
                        <a:lnTo>
                          <a:pt x="260" y="693"/>
                        </a:lnTo>
                        <a:lnTo>
                          <a:pt x="135" y="721"/>
                        </a:lnTo>
                        <a:lnTo>
                          <a:pt x="28" y="736"/>
                        </a:lnTo>
                        <a:lnTo>
                          <a:pt x="32" y="696"/>
                        </a:lnTo>
                        <a:lnTo>
                          <a:pt x="0" y="671"/>
                        </a:lnTo>
                        <a:lnTo>
                          <a:pt x="83" y="598"/>
                        </a:lnTo>
                        <a:lnTo>
                          <a:pt x="119" y="532"/>
                        </a:lnTo>
                        <a:lnTo>
                          <a:pt x="188" y="491"/>
                        </a:lnTo>
                        <a:lnTo>
                          <a:pt x="284" y="445"/>
                        </a:lnTo>
                        <a:lnTo>
                          <a:pt x="488" y="367"/>
                        </a:lnTo>
                        <a:lnTo>
                          <a:pt x="539" y="352"/>
                        </a:lnTo>
                        <a:lnTo>
                          <a:pt x="564" y="322"/>
                        </a:lnTo>
                        <a:lnTo>
                          <a:pt x="523" y="288"/>
                        </a:lnTo>
                        <a:lnTo>
                          <a:pt x="533" y="261"/>
                        </a:lnTo>
                        <a:lnTo>
                          <a:pt x="645" y="153"/>
                        </a:lnTo>
                        <a:lnTo>
                          <a:pt x="615" y="106"/>
                        </a:lnTo>
                        <a:lnTo>
                          <a:pt x="583" y="72"/>
                        </a:lnTo>
                        <a:lnTo>
                          <a:pt x="635" y="53"/>
                        </a:lnTo>
                        <a:lnTo>
                          <a:pt x="653" y="90"/>
                        </a:lnTo>
                        <a:lnTo>
                          <a:pt x="724" y="87"/>
                        </a:lnTo>
                        <a:lnTo>
                          <a:pt x="763" y="103"/>
                        </a:lnTo>
                        <a:lnTo>
                          <a:pt x="845" y="73"/>
                        </a:lnTo>
                        <a:lnTo>
                          <a:pt x="925" y="23"/>
                        </a:lnTo>
                        <a:lnTo>
                          <a:pt x="1032" y="0"/>
                        </a:lnTo>
                        <a:lnTo>
                          <a:pt x="1068" y="27"/>
                        </a:lnTo>
                        <a:lnTo>
                          <a:pt x="994" y="7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5" name="Gabon" descr="{&quot;Key&quot;:&quot;gabon&quot;,&quot;Name&quot;:&quot;Gabon&quot;,&quot;Value&quot;:1.0,&quot;Formula&quot;:&quot;&quot;,&quot;Text&quot;:&quot;&quot;,&quot;OfficeApplication&quot;:1,&quot;HasValue&quot;:true}">
                    <a:extLst>
                      <a:ext uri="{FF2B5EF4-FFF2-40B4-BE49-F238E27FC236}">
                        <a16:creationId xmlns:a16="http://schemas.microsoft.com/office/drawing/2014/main" id="{A1AA7A30-4BEA-EA29-62D6-7194F0123871}"/>
                      </a:ext>
                    </a:extLst>
                  </p:cNvPr>
                  <p:cNvSpPr>
                    <a:spLocks/>
                  </p:cNvSpPr>
                  <p:nvPr/>
                </p:nvSpPr>
                <p:spPr bwMode="auto">
                  <a:xfrm>
                    <a:off x="991" y="2732"/>
                    <a:ext cx="113" cy="143"/>
                  </a:xfrm>
                  <a:custGeom>
                    <a:avLst/>
                    <a:gdLst>
                      <a:gd name="T0" fmla="*/ 310 w 405"/>
                      <a:gd name="T1" fmla="*/ 5 h 512"/>
                      <a:gd name="T2" fmla="*/ 304 w 405"/>
                      <a:gd name="T3" fmla="*/ 41 h 512"/>
                      <a:gd name="T4" fmla="*/ 323 w 405"/>
                      <a:gd name="T5" fmla="*/ 82 h 512"/>
                      <a:gd name="T6" fmla="*/ 377 w 405"/>
                      <a:gd name="T7" fmla="*/ 76 h 512"/>
                      <a:gd name="T8" fmla="*/ 394 w 405"/>
                      <a:gd name="T9" fmla="*/ 92 h 512"/>
                      <a:gd name="T10" fmla="*/ 362 w 405"/>
                      <a:gd name="T11" fmla="*/ 186 h 512"/>
                      <a:gd name="T12" fmla="*/ 397 w 405"/>
                      <a:gd name="T13" fmla="*/ 235 h 512"/>
                      <a:gd name="T14" fmla="*/ 405 w 405"/>
                      <a:gd name="T15" fmla="*/ 297 h 512"/>
                      <a:gd name="T16" fmla="*/ 397 w 405"/>
                      <a:gd name="T17" fmla="*/ 352 h 512"/>
                      <a:gd name="T18" fmla="*/ 377 w 405"/>
                      <a:gd name="T19" fmla="*/ 390 h 512"/>
                      <a:gd name="T20" fmla="*/ 313 w 405"/>
                      <a:gd name="T21" fmla="*/ 387 h 512"/>
                      <a:gd name="T22" fmla="*/ 273 w 405"/>
                      <a:gd name="T23" fmla="*/ 347 h 512"/>
                      <a:gd name="T24" fmla="*/ 269 w 405"/>
                      <a:gd name="T25" fmla="*/ 383 h 512"/>
                      <a:gd name="T26" fmla="*/ 220 w 405"/>
                      <a:gd name="T27" fmla="*/ 393 h 512"/>
                      <a:gd name="T28" fmla="*/ 197 w 405"/>
                      <a:gd name="T29" fmla="*/ 415 h 512"/>
                      <a:gd name="T30" fmla="*/ 227 w 405"/>
                      <a:gd name="T31" fmla="*/ 468 h 512"/>
                      <a:gd name="T32" fmla="*/ 174 w 405"/>
                      <a:gd name="T33" fmla="*/ 512 h 512"/>
                      <a:gd name="T34" fmla="*/ 97 w 405"/>
                      <a:gd name="T35" fmla="*/ 431 h 512"/>
                      <a:gd name="T36" fmla="*/ 47 w 405"/>
                      <a:gd name="T37" fmla="*/ 363 h 512"/>
                      <a:gd name="T38" fmla="*/ 0 w 405"/>
                      <a:gd name="T39" fmla="*/ 280 h 512"/>
                      <a:gd name="T40" fmla="*/ 3 w 405"/>
                      <a:gd name="T41" fmla="*/ 252 h 512"/>
                      <a:gd name="T42" fmla="*/ 18 w 405"/>
                      <a:gd name="T43" fmla="*/ 227 h 512"/>
                      <a:gd name="T44" fmla="*/ 35 w 405"/>
                      <a:gd name="T45" fmla="*/ 167 h 512"/>
                      <a:gd name="T46" fmla="*/ 50 w 405"/>
                      <a:gd name="T47" fmla="*/ 107 h 512"/>
                      <a:gd name="T48" fmla="*/ 74 w 405"/>
                      <a:gd name="T49" fmla="*/ 102 h 512"/>
                      <a:gd name="T50" fmla="*/ 179 w 405"/>
                      <a:gd name="T51" fmla="*/ 103 h 512"/>
                      <a:gd name="T52" fmla="*/ 180 w 405"/>
                      <a:gd name="T53" fmla="*/ 6 h 512"/>
                      <a:gd name="T54" fmla="*/ 215 w 405"/>
                      <a:gd name="T55" fmla="*/ 0 h 512"/>
                      <a:gd name="T56" fmla="*/ 258 w 405"/>
                      <a:gd name="T57" fmla="*/ 11 h 512"/>
                      <a:gd name="T58" fmla="*/ 302 w 405"/>
                      <a:gd name="T59" fmla="*/ 1 h 512"/>
                      <a:gd name="T60" fmla="*/ 310 w 405"/>
                      <a:gd name="T61" fmla="*/ 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5" h="512">
                        <a:moveTo>
                          <a:pt x="310" y="5"/>
                        </a:moveTo>
                        <a:lnTo>
                          <a:pt x="304" y="41"/>
                        </a:lnTo>
                        <a:lnTo>
                          <a:pt x="323" y="82"/>
                        </a:lnTo>
                        <a:lnTo>
                          <a:pt x="377" y="76"/>
                        </a:lnTo>
                        <a:lnTo>
                          <a:pt x="394" y="92"/>
                        </a:lnTo>
                        <a:lnTo>
                          <a:pt x="362" y="186"/>
                        </a:lnTo>
                        <a:lnTo>
                          <a:pt x="397" y="235"/>
                        </a:lnTo>
                        <a:lnTo>
                          <a:pt x="405" y="297"/>
                        </a:lnTo>
                        <a:lnTo>
                          <a:pt x="397" y="352"/>
                        </a:lnTo>
                        <a:lnTo>
                          <a:pt x="377" y="390"/>
                        </a:lnTo>
                        <a:lnTo>
                          <a:pt x="313" y="387"/>
                        </a:lnTo>
                        <a:lnTo>
                          <a:pt x="273" y="347"/>
                        </a:lnTo>
                        <a:lnTo>
                          <a:pt x="269" y="383"/>
                        </a:lnTo>
                        <a:lnTo>
                          <a:pt x="220" y="393"/>
                        </a:lnTo>
                        <a:lnTo>
                          <a:pt x="197" y="415"/>
                        </a:lnTo>
                        <a:lnTo>
                          <a:pt x="227" y="468"/>
                        </a:lnTo>
                        <a:lnTo>
                          <a:pt x="174" y="512"/>
                        </a:lnTo>
                        <a:lnTo>
                          <a:pt x="97" y="431"/>
                        </a:lnTo>
                        <a:lnTo>
                          <a:pt x="47" y="363"/>
                        </a:lnTo>
                        <a:lnTo>
                          <a:pt x="0" y="280"/>
                        </a:lnTo>
                        <a:lnTo>
                          <a:pt x="3" y="252"/>
                        </a:lnTo>
                        <a:lnTo>
                          <a:pt x="18" y="227"/>
                        </a:lnTo>
                        <a:lnTo>
                          <a:pt x="35" y="167"/>
                        </a:lnTo>
                        <a:lnTo>
                          <a:pt x="50" y="107"/>
                        </a:lnTo>
                        <a:lnTo>
                          <a:pt x="74" y="102"/>
                        </a:lnTo>
                        <a:lnTo>
                          <a:pt x="179" y="103"/>
                        </a:lnTo>
                        <a:lnTo>
                          <a:pt x="180" y="6"/>
                        </a:lnTo>
                        <a:lnTo>
                          <a:pt x="215" y="0"/>
                        </a:lnTo>
                        <a:lnTo>
                          <a:pt x="258" y="11"/>
                        </a:lnTo>
                        <a:lnTo>
                          <a:pt x="302" y="1"/>
                        </a:lnTo>
                        <a:lnTo>
                          <a:pt x="310" y="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6" name="Great-Britain" descr="{&quot;Key&quot;:&quot;great-britain&quot;,&quot;Name&quot;:&quot;Great-Britain&quot;,&quot;Value&quot;:1.0,&quot;Formula&quot;:&quot;&quot;,&quot;Text&quot;:&quot;&quot;,&quot;OfficeApplication&quot;:1,&quot;HasValue&quot;:true}">
                    <a:extLst>
                      <a:ext uri="{FF2B5EF4-FFF2-40B4-BE49-F238E27FC236}">
                        <a16:creationId xmlns:a16="http://schemas.microsoft.com/office/drawing/2014/main" id="{784EE3CB-1774-FCBE-8A95-7E7FF2906879}"/>
                      </a:ext>
                    </a:extLst>
                  </p:cNvPr>
                  <p:cNvSpPr>
                    <a:spLocks noEditPoints="1"/>
                  </p:cNvSpPr>
                  <p:nvPr/>
                </p:nvSpPr>
                <p:spPr bwMode="auto">
                  <a:xfrm>
                    <a:off x="1114" y="1470"/>
                    <a:ext cx="226" cy="187"/>
                  </a:xfrm>
                  <a:custGeom>
                    <a:avLst/>
                    <a:gdLst>
                      <a:gd name="T0" fmla="*/ 243 w 811"/>
                      <a:gd name="T1" fmla="*/ 364 h 668"/>
                      <a:gd name="T2" fmla="*/ 213 w 811"/>
                      <a:gd name="T3" fmla="*/ 348 h 668"/>
                      <a:gd name="T4" fmla="*/ 176 w 811"/>
                      <a:gd name="T5" fmla="*/ 349 h 668"/>
                      <a:gd name="T6" fmla="*/ 230 w 811"/>
                      <a:gd name="T7" fmla="*/ 307 h 668"/>
                      <a:gd name="T8" fmla="*/ 260 w 811"/>
                      <a:gd name="T9" fmla="*/ 266 h 668"/>
                      <a:gd name="T10" fmla="*/ 313 w 811"/>
                      <a:gd name="T11" fmla="*/ 262 h 668"/>
                      <a:gd name="T12" fmla="*/ 328 w 811"/>
                      <a:gd name="T13" fmla="*/ 310 h 668"/>
                      <a:gd name="T14" fmla="*/ 243 w 811"/>
                      <a:gd name="T15" fmla="*/ 364 h 668"/>
                      <a:gd name="T16" fmla="*/ 811 w 811"/>
                      <a:gd name="T17" fmla="*/ 0 h 668"/>
                      <a:gd name="T18" fmla="*/ 661 w 811"/>
                      <a:gd name="T19" fmla="*/ 81 h 668"/>
                      <a:gd name="T20" fmla="*/ 731 w 811"/>
                      <a:gd name="T21" fmla="*/ 71 h 668"/>
                      <a:gd name="T22" fmla="*/ 795 w 811"/>
                      <a:gd name="T23" fmla="*/ 71 h 668"/>
                      <a:gd name="T24" fmla="*/ 715 w 811"/>
                      <a:gd name="T25" fmla="*/ 134 h 668"/>
                      <a:gd name="T26" fmla="*/ 591 w 811"/>
                      <a:gd name="T27" fmla="*/ 201 h 668"/>
                      <a:gd name="T28" fmla="*/ 648 w 811"/>
                      <a:gd name="T29" fmla="*/ 206 h 668"/>
                      <a:gd name="T30" fmla="*/ 645 w 811"/>
                      <a:gd name="T31" fmla="*/ 215 h 668"/>
                      <a:gd name="T32" fmla="*/ 608 w 811"/>
                      <a:gd name="T33" fmla="*/ 305 h 668"/>
                      <a:gd name="T34" fmla="*/ 637 w 811"/>
                      <a:gd name="T35" fmla="*/ 318 h 668"/>
                      <a:gd name="T36" fmla="*/ 591 w 811"/>
                      <a:gd name="T37" fmla="*/ 405 h 668"/>
                      <a:gd name="T38" fmla="*/ 580 w 811"/>
                      <a:gd name="T39" fmla="*/ 436 h 668"/>
                      <a:gd name="T40" fmla="*/ 640 w 811"/>
                      <a:gd name="T41" fmla="*/ 451 h 668"/>
                      <a:gd name="T42" fmla="*/ 587 w 811"/>
                      <a:gd name="T43" fmla="*/ 500 h 668"/>
                      <a:gd name="T44" fmla="*/ 536 w 811"/>
                      <a:gd name="T45" fmla="*/ 524 h 668"/>
                      <a:gd name="T46" fmla="*/ 525 w 811"/>
                      <a:gd name="T47" fmla="*/ 564 h 668"/>
                      <a:gd name="T48" fmla="*/ 433 w 811"/>
                      <a:gd name="T49" fmla="*/ 605 h 668"/>
                      <a:gd name="T50" fmla="*/ 351 w 811"/>
                      <a:gd name="T51" fmla="*/ 604 h 668"/>
                      <a:gd name="T52" fmla="*/ 227 w 811"/>
                      <a:gd name="T53" fmla="*/ 625 h 668"/>
                      <a:gd name="T54" fmla="*/ 212 w 811"/>
                      <a:gd name="T55" fmla="*/ 610 h 668"/>
                      <a:gd name="T56" fmla="*/ 138 w 811"/>
                      <a:gd name="T57" fmla="*/ 646 h 668"/>
                      <a:gd name="T58" fmla="*/ 88 w 811"/>
                      <a:gd name="T59" fmla="*/ 638 h 668"/>
                      <a:gd name="T60" fmla="*/ 20 w 811"/>
                      <a:gd name="T61" fmla="*/ 668 h 668"/>
                      <a:gd name="T62" fmla="*/ 0 w 811"/>
                      <a:gd name="T63" fmla="*/ 653 h 668"/>
                      <a:gd name="T64" fmla="*/ 163 w 811"/>
                      <a:gd name="T65" fmla="*/ 570 h 668"/>
                      <a:gd name="T66" fmla="*/ 233 w 811"/>
                      <a:gd name="T67" fmla="*/ 553 h 668"/>
                      <a:gd name="T68" fmla="*/ 150 w 811"/>
                      <a:gd name="T69" fmla="*/ 540 h 668"/>
                      <a:gd name="T70" fmla="*/ 161 w 811"/>
                      <a:gd name="T71" fmla="*/ 509 h 668"/>
                      <a:gd name="T72" fmla="*/ 247 w 811"/>
                      <a:gd name="T73" fmla="*/ 485 h 668"/>
                      <a:gd name="T74" fmla="*/ 253 w 811"/>
                      <a:gd name="T75" fmla="*/ 443 h 668"/>
                      <a:gd name="T76" fmla="*/ 313 w 811"/>
                      <a:gd name="T77" fmla="*/ 393 h 668"/>
                      <a:gd name="T78" fmla="*/ 397 w 811"/>
                      <a:gd name="T79" fmla="*/ 399 h 668"/>
                      <a:gd name="T80" fmla="*/ 450 w 811"/>
                      <a:gd name="T81" fmla="*/ 354 h 668"/>
                      <a:gd name="T82" fmla="*/ 456 w 811"/>
                      <a:gd name="T83" fmla="*/ 306 h 668"/>
                      <a:gd name="T84" fmla="*/ 396 w 811"/>
                      <a:gd name="T85" fmla="*/ 293 h 668"/>
                      <a:gd name="T86" fmla="*/ 403 w 811"/>
                      <a:gd name="T87" fmla="*/ 271 h 668"/>
                      <a:gd name="T88" fmla="*/ 460 w 811"/>
                      <a:gd name="T89" fmla="*/ 238 h 668"/>
                      <a:gd name="T90" fmla="*/ 462 w 811"/>
                      <a:gd name="T91" fmla="*/ 216 h 668"/>
                      <a:gd name="T92" fmla="*/ 392 w 811"/>
                      <a:gd name="T93" fmla="*/ 253 h 668"/>
                      <a:gd name="T94" fmla="*/ 465 w 811"/>
                      <a:gd name="T95" fmla="*/ 179 h 668"/>
                      <a:gd name="T96" fmla="*/ 476 w 811"/>
                      <a:gd name="T97" fmla="*/ 140 h 668"/>
                      <a:gd name="T98" fmla="*/ 582 w 811"/>
                      <a:gd name="T99" fmla="*/ 61 h 668"/>
                      <a:gd name="T100" fmla="*/ 693 w 811"/>
                      <a:gd name="T101" fmla="*/ 0 h 668"/>
                      <a:gd name="T102" fmla="*/ 733 w 811"/>
                      <a:gd name="T103" fmla="*/ 6 h 668"/>
                      <a:gd name="T104" fmla="*/ 811 w 811"/>
                      <a:gd name="T105" fmla="*/ 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1" h="668">
                        <a:moveTo>
                          <a:pt x="243" y="364"/>
                        </a:moveTo>
                        <a:lnTo>
                          <a:pt x="213" y="348"/>
                        </a:lnTo>
                        <a:lnTo>
                          <a:pt x="176" y="349"/>
                        </a:lnTo>
                        <a:lnTo>
                          <a:pt x="230" y="307"/>
                        </a:lnTo>
                        <a:lnTo>
                          <a:pt x="260" y="266"/>
                        </a:lnTo>
                        <a:lnTo>
                          <a:pt x="313" y="262"/>
                        </a:lnTo>
                        <a:lnTo>
                          <a:pt x="328" y="310"/>
                        </a:lnTo>
                        <a:lnTo>
                          <a:pt x="243" y="364"/>
                        </a:lnTo>
                        <a:close/>
                        <a:moveTo>
                          <a:pt x="811" y="0"/>
                        </a:moveTo>
                        <a:lnTo>
                          <a:pt x="661" y="81"/>
                        </a:lnTo>
                        <a:lnTo>
                          <a:pt x="731" y="71"/>
                        </a:lnTo>
                        <a:lnTo>
                          <a:pt x="795" y="71"/>
                        </a:lnTo>
                        <a:lnTo>
                          <a:pt x="715" y="134"/>
                        </a:lnTo>
                        <a:lnTo>
                          <a:pt x="591" y="201"/>
                        </a:lnTo>
                        <a:lnTo>
                          <a:pt x="648" y="206"/>
                        </a:lnTo>
                        <a:lnTo>
                          <a:pt x="645" y="215"/>
                        </a:lnTo>
                        <a:lnTo>
                          <a:pt x="608" y="305"/>
                        </a:lnTo>
                        <a:lnTo>
                          <a:pt x="637" y="318"/>
                        </a:lnTo>
                        <a:lnTo>
                          <a:pt x="591" y="405"/>
                        </a:lnTo>
                        <a:lnTo>
                          <a:pt x="580" y="436"/>
                        </a:lnTo>
                        <a:lnTo>
                          <a:pt x="640" y="451"/>
                        </a:lnTo>
                        <a:lnTo>
                          <a:pt x="587" y="500"/>
                        </a:lnTo>
                        <a:lnTo>
                          <a:pt x="536" y="524"/>
                        </a:lnTo>
                        <a:lnTo>
                          <a:pt x="525" y="564"/>
                        </a:lnTo>
                        <a:lnTo>
                          <a:pt x="433" y="605"/>
                        </a:lnTo>
                        <a:lnTo>
                          <a:pt x="351" y="604"/>
                        </a:lnTo>
                        <a:lnTo>
                          <a:pt x="227" y="625"/>
                        </a:lnTo>
                        <a:lnTo>
                          <a:pt x="212" y="610"/>
                        </a:lnTo>
                        <a:lnTo>
                          <a:pt x="138" y="646"/>
                        </a:lnTo>
                        <a:lnTo>
                          <a:pt x="88" y="638"/>
                        </a:lnTo>
                        <a:lnTo>
                          <a:pt x="20" y="668"/>
                        </a:lnTo>
                        <a:lnTo>
                          <a:pt x="0" y="653"/>
                        </a:lnTo>
                        <a:lnTo>
                          <a:pt x="163" y="570"/>
                        </a:lnTo>
                        <a:lnTo>
                          <a:pt x="233" y="553"/>
                        </a:lnTo>
                        <a:lnTo>
                          <a:pt x="150" y="540"/>
                        </a:lnTo>
                        <a:lnTo>
                          <a:pt x="161" y="509"/>
                        </a:lnTo>
                        <a:lnTo>
                          <a:pt x="247" y="485"/>
                        </a:lnTo>
                        <a:lnTo>
                          <a:pt x="253" y="443"/>
                        </a:lnTo>
                        <a:lnTo>
                          <a:pt x="313" y="393"/>
                        </a:lnTo>
                        <a:lnTo>
                          <a:pt x="397" y="399"/>
                        </a:lnTo>
                        <a:lnTo>
                          <a:pt x="450" y="354"/>
                        </a:lnTo>
                        <a:lnTo>
                          <a:pt x="456" y="306"/>
                        </a:lnTo>
                        <a:lnTo>
                          <a:pt x="396" y="293"/>
                        </a:lnTo>
                        <a:lnTo>
                          <a:pt x="403" y="271"/>
                        </a:lnTo>
                        <a:lnTo>
                          <a:pt x="460" y="238"/>
                        </a:lnTo>
                        <a:lnTo>
                          <a:pt x="462" y="216"/>
                        </a:lnTo>
                        <a:lnTo>
                          <a:pt x="392" y="253"/>
                        </a:lnTo>
                        <a:lnTo>
                          <a:pt x="465" y="179"/>
                        </a:lnTo>
                        <a:lnTo>
                          <a:pt x="476" y="140"/>
                        </a:lnTo>
                        <a:lnTo>
                          <a:pt x="582" y="61"/>
                        </a:lnTo>
                        <a:lnTo>
                          <a:pt x="693" y="0"/>
                        </a:lnTo>
                        <a:lnTo>
                          <a:pt x="733" y="6"/>
                        </a:lnTo>
                        <a:lnTo>
                          <a:pt x="811"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7" name="Georgia" descr="{&quot;Key&quot;:&quot;georgia&quot;,&quot;Name&quot;:&quot;Georgia&quot;,&quot;Value&quot;:1.0,&quot;Formula&quot;:&quot;&quot;,&quot;Text&quot;:&quot;&quot;,&quot;OfficeApplication&quot;:1,&quot;HasValue&quot;:true}">
                    <a:extLst>
                      <a:ext uri="{FF2B5EF4-FFF2-40B4-BE49-F238E27FC236}">
                        <a16:creationId xmlns:a16="http://schemas.microsoft.com/office/drawing/2014/main" id="{159AA401-90C3-F6FE-6EB6-0EEEB7046352}"/>
                      </a:ext>
                    </a:extLst>
                  </p:cNvPr>
                  <p:cNvSpPr>
                    <a:spLocks/>
                  </p:cNvSpPr>
                  <p:nvPr/>
                </p:nvSpPr>
                <p:spPr bwMode="auto">
                  <a:xfrm>
                    <a:off x="1825" y="1799"/>
                    <a:ext cx="100" cy="56"/>
                  </a:xfrm>
                  <a:custGeom>
                    <a:avLst/>
                    <a:gdLst>
                      <a:gd name="T0" fmla="*/ 359 w 359"/>
                      <a:gd name="T1" fmla="*/ 136 h 200"/>
                      <a:gd name="T2" fmla="*/ 337 w 359"/>
                      <a:gd name="T3" fmla="*/ 146 h 200"/>
                      <a:gd name="T4" fmla="*/ 349 w 359"/>
                      <a:gd name="T5" fmla="*/ 190 h 200"/>
                      <a:gd name="T6" fmla="*/ 336 w 359"/>
                      <a:gd name="T7" fmla="*/ 200 h 200"/>
                      <a:gd name="T8" fmla="*/ 303 w 359"/>
                      <a:gd name="T9" fmla="*/ 195 h 200"/>
                      <a:gd name="T10" fmla="*/ 264 w 359"/>
                      <a:gd name="T11" fmla="*/ 172 h 200"/>
                      <a:gd name="T12" fmla="*/ 242 w 359"/>
                      <a:gd name="T13" fmla="*/ 185 h 200"/>
                      <a:gd name="T14" fmla="*/ 144 w 359"/>
                      <a:gd name="T15" fmla="*/ 197 h 200"/>
                      <a:gd name="T16" fmla="*/ 100 w 359"/>
                      <a:gd name="T17" fmla="*/ 157 h 200"/>
                      <a:gd name="T18" fmla="*/ 28 w 359"/>
                      <a:gd name="T19" fmla="*/ 162 h 200"/>
                      <a:gd name="T20" fmla="*/ 54 w 359"/>
                      <a:gd name="T21" fmla="*/ 127 h 200"/>
                      <a:gd name="T22" fmla="*/ 65 w 359"/>
                      <a:gd name="T23" fmla="*/ 72 h 200"/>
                      <a:gd name="T24" fmla="*/ 43 w 359"/>
                      <a:gd name="T25" fmla="*/ 42 h 200"/>
                      <a:gd name="T26" fmla="*/ 12 w 359"/>
                      <a:gd name="T27" fmla="*/ 33 h 200"/>
                      <a:gd name="T28" fmla="*/ 0 w 359"/>
                      <a:gd name="T29" fmla="*/ 8 h 200"/>
                      <a:gd name="T30" fmla="*/ 13 w 359"/>
                      <a:gd name="T31" fmla="*/ 0 h 200"/>
                      <a:gd name="T32" fmla="*/ 60 w 359"/>
                      <a:gd name="T33" fmla="*/ 13 h 200"/>
                      <a:gd name="T34" fmla="*/ 149 w 359"/>
                      <a:gd name="T35" fmla="*/ 26 h 200"/>
                      <a:gd name="T36" fmla="*/ 219 w 359"/>
                      <a:gd name="T37" fmla="*/ 65 h 200"/>
                      <a:gd name="T38" fmla="*/ 223 w 359"/>
                      <a:gd name="T39" fmla="*/ 80 h 200"/>
                      <a:gd name="T40" fmla="*/ 269 w 359"/>
                      <a:gd name="T41" fmla="*/ 67 h 200"/>
                      <a:gd name="T42" fmla="*/ 322 w 359"/>
                      <a:gd name="T43" fmla="*/ 83 h 200"/>
                      <a:gd name="T44" fmla="*/ 327 w 359"/>
                      <a:gd name="T45" fmla="*/ 117 h 200"/>
                      <a:gd name="T46" fmla="*/ 359 w 359"/>
                      <a:gd name="T47"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9" h="200">
                        <a:moveTo>
                          <a:pt x="359" y="136"/>
                        </a:moveTo>
                        <a:lnTo>
                          <a:pt x="337" y="146"/>
                        </a:lnTo>
                        <a:lnTo>
                          <a:pt x="349" y="190"/>
                        </a:lnTo>
                        <a:lnTo>
                          <a:pt x="336" y="200"/>
                        </a:lnTo>
                        <a:lnTo>
                          <a:pt x="303" y="195"/>
                        </a:lnTo>
                        <a:lnTo>
                          <a:pt x="264" y="172"/>
                        </a:lnTo>
                        <a:lnTo>
                          <a:pt x="242" y="185"/>
                        </a:lnTo>
                        <a:lnTo>
                          <a:pt x="144" y="197"/>
                        </a:lnTo>
                        <a:lnTo>
                          <a:pt x="100" y="157"/>
                        </a:lnTo>
                        <a:lnTo>
                          <a:pt x="28" y="162"/>
                        </a:lnTo>
                        <a:lnTo>
                          <a:pt x="54" y="127"/>
                        </a:lnTo>
                        <a:lnTo>
                          <a:pt x="65" y="72"/>
                        </a:lnTo>
                        <a:lnTo>
                          <a:pt x="43" y="42"/>
                        </a:lnTo>
                        <a:lnTo>
                          <a:pt x="12" y="33"/>
                        </a:lnTo>
                        <a:lnTo>
                          <a:pt x="0" y="8"/>
                        </a:lnTo>
                        <a:lnTo>
                          <a:pt x="13" y="0"/>
                        </a:lnTo>
                        <a:lnTo>
                          <a:pt x="60" y="13"/>
                        </a:lnTo>
                        <a:lnTo>
                          <a:pt x="149" y="26"/>
                        </a:lnTo>
                        <a:lnTo>
                          <a:pt x="219" y="65"/>
                        </a:lnTo>
                        <a:lnTo>
                          <a:pt x="223" y="80"/>
                        </a:lnTo>
                        <a:lnTo>
                          <a:pt x="269" y="67"/>
                        </a:lnTo>
                        <a:lnTo>
                          <a:pt x="322" y="83"/>
                        </a:lnTo>
                        <a:lnTo>
                          <a:pt x="327" y="117"/>
                        </a:lnTo>
                        <a:lnTo>
                          <a:pt x="359" y="13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8" name="Ghana" descr="{&quot;Key&quot;:&quot;ghana&quot;,&quot;Name&quot;:&quot;Ghana&quot;,&quot;Value&quot;:1.0,&quot;Formula&quot;:&quot;&quot;,&quot;Text&quot;:&quot;&quot;,&quot;OfficeApplication&quot;:1,&quot;HasValue&quot;:true}">
                    <a:extLst>
                      <a:ext uri="{FF2B5EF4-FFF2-40B4-BE49-F238E27FC236}">
                        <a16:creationId xmlns:a16="http://schemas.microsoft.com/office/drawing/2014/main" id="{E7D350D0-A220-06B3-FD25-1FA26D1E7D11}"/>
                      </a:ext>
                    </a:extLst>
                  </p:cNvPr>
                  <p:cNvSpPr>
                    <a:spLocks/>
                  </p:cNvSpPr>
                  <p:nvPr/>
                </p:nvSpPr>
                <p:spPr bwMode="auto">
                  <a:xfrm>
                    <a:off x="756" y="2533"/>
                    <a:ext cx="85" cy="145"/>
                  </a:xfrm>
                  <a:custGeom>
                    <a:avLst/>
                    <a:gdLst>
                      <a:gd name="T0" fmla="*/ 271 w 306"/>
                      <a:gd name="T1" fmla="*/ 7 h 519"/>
                      <a:gd name="T2" fmla="*/ 262 w 306"/>
                      <a:gd name="T3" fmla="*/ 32 h 519"/>
                      <a:gd name="T4" fmla="*/ 287 w 306"/>
                      <a:gd name="T5" fmla="*/ 74 h 519"/>
                      <a:gd name="T6" fmla="*/ 281 w 306"/>
                      <a:gd name="T7" fmla="*/ 133 h 519"/>
                      <a:gd name="T8" fmla="*/ 281 w 306"/>
                      <a:gd name="T9" fmla="*/ 197 h 519"/>
                      <a:gd name="T10" fmla="*/ 296 w 306"/>
                      <a:gd name="T11" fmla="*/ 227 h 519"/>
                      <a:gd name="T12" fmla="*/ 275 w 306"/>
                      <a:gd name="T13" fmla="*/ 300 h 519"/>
                      <a:gd name="T14" fmla="*/ 277 w 306"/>
                      <a:gd name="T15" fmla="*/ 340 h 519"/>
                      <a:gd name="T16" fmla="*/ 292 w 306"/>
                      <a:gd name="T17" fmla="*/ 392 h 519"/>
                      <a:gd name="T18" fmla="*/ 306 w 306"/>
                      <a:gd name="T19" fmla="*/ 420 h 519"/>
                      <a:gd name="T20" fmla="*/ 191 w 306"/>
                      <a:gd name="T21" fmla="*/ 468 h 519"/>
                      <a:gd name="T22" fmla="*/ 149 w 306"/>
                      <a:gd name="T23" fmla="*/ 495 h 519"/>
                      <a:gd name="T24" fmla="*/ 82 w 306"/>
                      <a:gd name="T25" fmla="*/ 519 h 519"/>
                      <a:gd name="T26" fmla="*/ 20 w 306"/>
                      <a:gd name="T27" fmla="*/ 496 h 519"/>
                      <a:gd name="T28" fmla="*/ 26 w 306"/>
                      <a:gd name="T29" fmla="*/ 464 h 519"/>
                      <a:gd name="T30" fmla="*/ 0 w 306"/>
                      <a:gd name="T31" fmla="*/ 394 h 519"/>
                      <a:gd name="T32" fmla="*/ 26 w 306"/>
                      <a:gd name="T33" fmla="*/ 303 h 519"/>
                      <a:gd name="T34" fmla="*/ 61 w 306"/>
                      <a:gd name="T35" fmla="*/ 234 h 519"/>
                      <a:gd name="T36" fmla="*/ 55 w 306"/>
                      <a:gd name="T37" fmla="*/ 119 h 519"/>
                      <a:gd name="T38" fmla="*/ 51 w 306"/>
                      <a:gd name="T39" fmla="*/ 58 h 519"/>
                      <a:gd name="T40" fmla="*/ 59 w 306"/>
                      <a:gd name="T41" fmla="*/ 11 h 519"/>
                      <a:gd name="T42" fmla="*/ 183 w 306"/>
                      <a:gd name="T43" fmla="*/ 8 h 519"/>
                      <a:gd name="T44" fmla="*/ 213 w 306"/>
                      <a:gd name="T45" fmla="*/ 13 h 519"/>
                      <a:gd name="T46" fmla="*/ 238 w 306"/>
                      <a:gd name="T47" fmla="*/ 0 h 519"/>
                      <a:gd name="T48" fmla="*/ 271 w 306"/>
                      <a:gd name="T49" fmla="*/ 7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6" h="519">
                        <a:moveTo>
                          <a:pt x="271" y="7"/>
                        </a:moveTo>
                        <a:lnTo>
                          <a:pt x="262" y="32"/>
                        </a:lnTo>
                        <a:lnTo>
                          <a:pt x="287" y="74"/>
                        </a:lnTo>
                        <a:lnTo>
                          <a:pt x="281" y="133"/>
                        </a:lnTo>
                        <a:lnTo>
                          <a:pt x="281" y="197"/>
                        </a:lnTo>
                        <a:lnTo>
                          <a:pt x="296" y="227"/>
                        </a:lnTo>
                        <a:lnTo>
                          <a:pt x="275" y="300"/>
                        </a:lnTo>
                        <a:lnTo>
                          <a:pt x="277" y="340"/>
                        </a:lnTo>
                        <a:lnTo>
                          <a:pt x="292" y="392"/>
                        </a:lnTo>
                        <a:lnTo>
                          <a:pt x="306" y="420"/>
                        </a:lnTo>
                        <a:lnTo>
                          <a:pt x="191" y="468"/>
                        </a:lnTo>
                        <a:lnTo>
                          <a:pt x="149" y="495"/>
                        </a:lnTo>
                        <a:lnTo>
                          <a:pt x="82" y="519"/>
                        </a:lnTo>
                        <a:lnTo>
                          <a:pt x="20" y="496"/>
                        </a:lnTo>
                        <a:lnTo>
                          <a:pt x="26" y="464"/>
                        </a:lnTo>
                        <a:lnTo>
                          <a:pt x="0" y="394"/>
                        </a:lnTo>
                        <a:lnTo>
                          <a:pt x="26" y="303"/>
                        </a:lnTo>
                        <a:lnTo>
                          <a:pt x="61" y="234"/>
                        </a:lnTo>
                        <a:lnTo>
                          <a:pt x="55" y="119"/>
                        </a:lnTo>
                        <a:lnTo>
                          <a:pt x="51" y="58"/>
                        </a:lnTo>
                        <a:lnTo>
                          <a:pt x="59" y="11"/>
                        </a:lnTo>
                        <a:lnTo>
                          <a:pt x="183" y="8"/>
                        </a:lnTo>
                        <a:lnTo>
                          <a:pt x="213" y="13"/>
                        </a:lnTo>
                        <a:lnTo>
                          <a:pt x="238" y="0"/>
                        </a:lnTo>
                        <a:lnTo>
                          <a:pt x="271" y="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39" name="Guinea" descr="{&quot;Key&quot;:&quot;guinea&quot;,&quot;Name&quot;:&quot;Guinea&quot;,&quot;Value&quot;:1.0,&quot;Formula&quot;:&quot;&quot;,&quot;Text&quot;:&quot;&quot;,&quot;OfficeApplication&quot;:1,&quot;HasValue&quot;:true}">
                    <a:extLst>
                      <a:ext uri="{FF2B5EF4-FFF2-40B4-BE49-F238E27FC236}">
                        <a16:creationId xmlns:a16="http://schemas.microsoft.com/office/drawing/2014/main" id="{4EBA48BF-82A0-61BB-03F4-16BE6AEEC13D}"/>
                      </a:ext>
                    </a:extLst>
                  </p:cNvPr>
                  <p:cNvSpPr>
                    <a:spLocks/>
                  </p:cNvSpPr>
                  <p:nvPr/>
                </p:nvSpPr>
                <p:spPr bwMode="auto">
                  <a:xfrm>
                    <a:off x="530" y="2499"/>
                    <a:ext cx="139" cy="120"/>
                  </a:xfrm>
                  <a:custGeom>
                    <a:avLst/>
                    <a:gdLst>
                      <a:gd name="T0" fmla="*/ 275 w 498"/>
                      <a:gd name="T1" fmla="*/ 41 h 429"/>
                      <a:gd name="T2" fmla="*/ 306 w 498"/>
                      <a:gd name="T3" fmla="*/ 31 h 429"/>
                      <a:gd name="T4" fmla="*/ 333 w 498"/>
                      <a:gd name="T5" fmla="*/ 54 h 429"/>
                      <a:gd name="T6" fmla="*/ 386 w 498"/>
                      <a:gd name="T7" fmla="*/ 43 h 429"/>
                      <a:gd name="T8" fmla="*/ 430 w 498"/>
                      <a:gd name="T9" fmla="*/ 21 h 429"/>
                      <a:gd name="T10" fmla="*/ 456 w 498"/>
                      <a:gd name="T11" fmla="*/ 41 h 429"/>
                      <a:gd name="T12" fmla="*/ 486 w 498"/>
                      <a:gd name="T13" fmla="*/ 98 h 429"/>
                      <a:gd name="T14" fmla="*/ 462 w 498"/>
                      <a:gd name="T15" fmla="*/ 145 h 429"/>
                      <a:gd name="T16" fmla="*/ 486 w 498"/>
                      <a:gd name="T17" fmla="*/ 146 h 429"/>
                      <a:gd name="T18" fmla="*/ 498 w 498"/>
                      <a:gd name="T19" fmla="*/ 194 h 429"/>
                      <a:gd name="T20" fmla="*/ 474 w 498"/>
                      <a:gd name="T21" fmla="*/ 228 h 429"/>
                      <a:gd name="T22" fmla="*/ 498 w 498"/>
                      <a:gd name="T23" fmla="*/ 326 h 429"/>
                      <a:gd name="T24" fmla="*/ 463 w 498"/>
                      <a:gd name="T25" fmla="*/ 348 h 429"/>
                      <a:gd name="T26" fmla="*/ 460 w 498"/>
                      <a:gd name="T27" fmla="*/ 399 h 429"/>
                      <a:gd name="T28" fmla="*/ 428 w 498"/>
                      <a:gd name="T29" fmla="*/ 396 h 429"/>
                      <a:gd name="T30" fmla="*/ 391 w 498"/>
                      <a:gd name="T31" fmla="*/ 429 h 429"/>
                      <a:gd name="T32" fmla="*/ 386 w 498"/>
                      <a:gd name="T33" fmla="*/ 379 h 429"/>
                      <a:gd name="T34" fmla="*/ 341 w 498"/>
                      <a:gd name="T35" fmla="*/ 339 h 429"/>
                      <a:gd name="T36" fmla="*/ 306 w 498"/>
                      <a:gd name="T37" fmla="*/ 345 h 429"/>
                      <a:gd name="T38" fmla="*/ 300 w 498"/>
                      <a:gd name="T39" fmla="*/ 294 h 429"/>
                      <a:gd name="T40" fmla="*/ 293 w 498"/>
                      <a:gd name="T41" fmla="*/ 236 h 429"/>
                      <a:gd name="T42" fmla="*/ 220 w 498"/>
                      <a:gd name="T43" fmla="*/ 206 h 429"/>
                      <a:gd name="T44" fmla="*/ 181 w 498"/>
                      <a:gd name="T45" fmla="*/ 224 h 429"/>
                      <a:gd name="T46" fmla="*/ 156 w 498"/>
                      <a:gd name="T47" fmla="*/ 264 h 429"/>
                      <a:gd name="T48" fmla="*/ 88 w 498"/>
                      <a:gd name="T49" fmla="*/ 251 h 429"/>
                      <a:gd name="T50" fmla="*/ 47 w 498"/>
                      <a:gd name="T51" fmla="*/ 209 h 429"/>
                      <a:gd name="T52" fmla="*/ 27 w 498"/>
                      <a:gd name="T53" fmla="*/ 158 h 429"/>
                      <a:gd name="T54" fmla="*/ 0 w 498"/>
                      <a:gd name="T55" fmla="*/ 126 h 429"/>
                      <a:gd name="T56" fmla="*/ 58 w 498"/>
                      <a:gd name="T57" fmla="*/ 88 h 429"/>
                      <a:gd name="T58" fmla="*/ 95 w 498"/>
                      <a:gd name="T59" fmla="*/ 74 h 429"/>
                      <a:gd name="T60" fmla="*/ 106 w 498"/>
                      <a:gd name="T61" fmla="*/ 36 h 429"/>
                      <a:gd name="T62" fmla="*/ 121 w 498"/>
                      <a:gd name="T63" fmla="*/ 0 h 429"/>
                      <a:gd name="T64" fmla="*/ 203 w 498"/>
                      <a:gd name="T65" fmla="*/ 21 h 429"/>
                      <a:gd name="T66" fmla="*/ 226 w 498"/>
                      <a:gd name="T67" fmla="*/ 10 h 429"/>
                      <a:gd name="T68" fmla="*/ 275 w 498"/>
                      <a:gd name="T69" fmla="*/ 1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8" h="429">
                        <a:moveTo>
                          <a:pt x="275" y="13"/>
                        </a:moveTo>
                        <a:lnTo>
                          <a:pt x="275" y="41"/>
                        </a:lnTo>
                        <a:lnTo>
                          <a:pt x="286" y="41"/>
                        </a:lnTo>
                        <a:lnTo>
                          <a:pt x="306" y="31"/>
                        </a:lnTo>
                        <a:lnTo>
                          <a:pt x="317" y="34"/>
                        </a:lnTo>
                        <a:lnTo>
                          <a:pt x="333" y="54"/>
                        </a:lnTo>
                        <a:lnTo>
                          <a:pt x="363" y="60"/>
                        </a:lnTo>
                        <a:lnTo>
                          <a:pt x="386" y="43"/>
                        </a:lnTo>
                        <a:lnTo>
                          <a:pt x="411" y="33"/>
                        </a:lnTo>
                        <a:lnTo>
                          <a:pt x="430" y="21"/>
                        </a:lnTo>
                        <a:lnTo>
                          <a:pt x="443" y="23"/>
                        </a:lnTo>
                        <a:lnTo>
                          <a:pt x="456" y="41"/>
                        </a:lnTo>
                        <a:lnTo>
                          <a:pt x="462" y="64"/>
                        </a:lnTo>
                        <a:lnTo>
                          <a:pt x="486" y="98"/>
                        </a:lnTo>
                        <a:lnTo>
                          <a:pt x="468" y="118"/>
                        </a:lnTo>
                        <a:lnTo>
                          <a:pt x="462" y="145"/>
                        </a:lnTo>
                        <a:lnTo>
                          <a:pt x="478" y="136"/>
                        </a:lnTo>
                        <a:lnTo>
                          <a:pt x="486" y="146"/>
                        </a:lnTo>
                        <a:lnTo>
                          <a:pt x="479" y="170"/>
                        </a:lnTo>
                        <a:lnTo>
                          <a:pt x="498" y="194"/>
                        </a:lnTo>
                        <a:lnTo>
                          <a:pt x="483" y="200"/>
                        </a:lnTo>
                        <a:lnTo>
                          <a:pt x="474" y="228"/>
                        </a:lnTo>
                        <a:lnTo>
                          <a:pt x="487" y="261"/>
                        </a:lnTo>
                        <a:lnTo>
                          <a:pt x="498" y="326"/>
                        </a:lnTo>
                        <a:lnTo>
                          <a:pt x="471" y="336"/>
                        </a:lnTo>
                        <a:lnTo>
                          <a:pt x="463" y="348"/>
                        </a:lnTo>
                        <a:lnTo>
                          <a:pt x="467" y="363"/>
                        </a:lnTo>
                        <a:lnTo>
                          <a:pt x="460" y="399"/>
                        </a:lnTo>
                        <a:lnTo>
                          <a:pt x="448" y="399"/>
                        </a:lnTo>
                        <a:lnTo>
                          <a:pt x="428" y="396"/>
                        </a:lnTo>
                        <a:lnTo>
                          <a:pt x="411" y="429"/>
                        </a:lnTo>
                        <a:lnTo>
                          <a:pt x="391" y="429"/>
                        </a:lnTo>
                        <a:lnTo>
                          <a:pt x="378" y="411"/>
                        </a:lnTo>
                        <a:lnTo>
                          <a:pt x="386" y="379"/>
                        </a:lnTo>
                        <a:lnTo>
                          <a:pt x="361" y="329"/>
                        </a:lnTo>
                        <a:lnTo>
                          <a:pt x="341" y="339"/>
                        </a:lnTo>
                        <a:lnTo>
                          <a:pt x="326" y="340"/>
                        </a:lnTo>
                        <a:lnTo>
                          <a:pt x="306" y="345"/>
                        </a:lnTo>
                        <a:lnTo>
                          <a:pt x="309" y="315"/>
                        </a:lnTo>
                        <a:lnTo>
                          <a:pt x="300" y="294"/>
                        </a:lnTo>
                        <a:lnTo>
                          <a:pt x="305" y="270"/>
                        </a:lnTo>
                        <a:lnTo>
                          <a:pt x="293" y="236"/>
                        </a:lnTo>
                        <a:lnTo>
                          <a:pt x="277" y="206"/>
                        </a:lnTo>
                        <a:lnTo>
                          <a:pt x="220" y="206"/>
                        </a:lnTo>
                        <a:lnTo>
                          <a:pt x="201" y="223"/>
                        </a:lnTo>
                        <a:lnTo>
                          <a:pt x="181" y="224"/>
                        </a:lnTo>
                        <a:lnTo>
                          <a:pt x="167" y="241"/>
                        </a:lnTo>
                        <a:lnTo>
                          <a:pt x="156" y="264"/>
                        </a:lnTo>
                        <a:lnTo>
                          <a:pt x="113" y="300"/>
                        </a:lnTo>
                        <a:lnTo>
                          <a:pt x="88" y="251"/>
                        </a:lnTo>
                        <a:lnTo>
                          <a:pt x="63" y="220"/>
                        </a:lnTo>
                        <a:lnTo>
                          <a:pt x="47" y="209"/>
                        </a:lnTo>
                        <a:lnTo>
                          <a:pt x="31" y="193"/>
                        </a:lnTo>
                        <a:lnTo>
                          <a:pt x="27" y="158"/>
                        </a:lnTo>
                        <a:lnTo>
                          <a:pt x="20" y="139"/>
                        </a:lnTo>
                        <a:lnTo>
                          <a:pt x="0" y="126"/>
                        </a:lnTo>
                        <a:lnTo>
                          <a:pt x="37" y="86"/>
                        </a:lnTo>
                        <a:lnTo>
                          <a:pt x="58" y="88"/>
                        </a:lnTo>
                        <a:lnTo>
                          <a:pt x="80" y="74"/>
                        </a:lnTo>
                        <a:lnTo>
                          <a:pt x="95" y="74"/>
                        </a:lnTo>
                        <a:lnTo>
                          <a:pt x="108" y="64"/>
                        </a:lnTo>
                        <a:lnTo>
                          <a:pt x="106" y="36"/>
                        </a:lnTo>
                        <a:lnTo>
                          <a:pt x="115" y="28"/>
                        </a:lnTo>
                        <a:lnTo>
                          <a:pt x="121" y="0"/>
                        </a:lnTo>
                        <a:lnTo>
                          <a:pt x="155" y="1"/>
                        </a:lnTo>
                        <a:lnTo>
                          <a:pt x="203" y="21"/>
                        </a:lnTo>
                        <a:lnTo>
                          <a:pt x="218" y="19"/>
                        </a:lnTo>
                        <a:lnTo>
                          <a:pt x="226" y="10"/>
                        </a:lnTo>
                        <a:lnTo>
                          <a:pt x="263" y="16"/>
                        </a:lnTo>
                        <a:lnTo>
                          <a:pt x="275" y="1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0" name="Gambia" descr="{&quot;Key&quot;:&quot;gambia&quot;,&quot;Name&quot;:&quot;Gambia&quot;,&quot;Value&quot;:1.0,&quot;Formula&quot;:&quot;&quot;,&quot;Text&quot;:&quot;&quot;,&quot;OfficeApplication&quot;:1,&quot;HasValue&quot;:true}">
                    <a:extLst>
                      <a:ext uri="{FF2B5EF4-FFF2-40B4-BE49-F238E27FC236}">
                        <a16:creationId xmlns:a16="http://schemas.microsoft.com/office/drawing/2014/main" id="{779BFD58-55F0-C7E9-ED6B-BE25F05C9E73}"/>
                      </a:ext>
                    </a:extLst>
                  </p:cNvPr>
                  <p:cNvSpPr>
                    <a:spLocks/>
                  </p:cNvSpPr>
                  <p:nvPr/>
                </p:nvSpPr>
                <p:spPr bwMode="auto">
                  <a:xfrm>
                    <a:off x="503" y="2470"/>
                    <a:ext cx="61" cy="17"/>
                  </a:xfrm>
                  <a:custGeom>
                    <a:avLst/>
                    <a:gdLst>
                      <a:gd name="T0" fmla="*/ 0 w 217"/>
                      <a:gd name="T1" fmla="*/ 59 h 61"/>
                      <a:gd name="T2" fmla="*/ 15 w 217"/>
                      <a:gd name="T3" fmla="*/ 24 h 61"/>
                      <a:gd name="T4" fmla="*/ 92 w 217"/>
                      <a:gd name="T5" fmla="*/ 21 h 61"/>
                      <a:gd name="T6" fmla="*/ 112 w 217"/>
                      <a:gd name="T7" fmla="*/ 1 h 61"/>
                      <a:gd name="T8" fmla="*/ 135 w 217"/>
                      <a:gd name="T9" fmla="*/ 0 h 61"/>
                      <a:gd name="T10" fmla="*/ 160 w 217"/>
                      <a:gd name="T11" fmla="*/ 20 h 61"/>
                      <a:gd name="T12" fmla="*/ 181 w 217"/>
                      <a:gd name="T13" fmla="*/ 21 h 61"/>
                      <a:gd name="T14" fmla="*/ 207 w 217"/>
                      <a:gd name="T15" fmla="*/ 8 h 61"/>
                      <a:gd name="T16" fmla="*/ 217 w 217"/>
                      <a:gd name="T17" fmla="*/ 30 h 61"/>
                      <a:gd name="T18" fmla="*/ 183 w 217"/>
                      <a:gd name="T19" fmla="*/ 49 h 61"/>
                      <a:gd name="T20" fmla="*/ 153 w 217"/>
                      <a:gd name="T21" fmla="*/ 47 h 61"/>
                      <a:gd name="T22" fmla="*/ 125 w 217"/>
                      <a:gd name="T23" fmla="*/ 30 h 61"/>
                      <a:gd name="T24" fmla="*/ 96 w 217"/>
                      <a:gd name="T25" fmla="*/ 49 h 61"/>
                      <a:gd name="T26" fmla="*/ 82 w 217"/>
                      <a:gd name="T27" fmla="*/ 50 h 61"/>
                      <a:gd name="T28" fmla="*/ 63 w 217"/>
                      <a:gd name="T29" fmla="*/ 61 h 61"/>
                      <a:gd name="T30" fmla="*/ 0 w 217"/>
                      <a:gd name="T31"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7" h="61">
                        <a:moveTo>
                          <a:pt x="0" y="59"/>
                        </a:moveTo>
                        <a:lnTo>
                          <a:pt x="15" y="24"/>
                        </a:lnTo>
                        <a:lnTo>
                          <a:pt x="92" y="21"/>
                        </a:lnTo>
                        <a:lnTo>
                          <a:pt x="112" y="1"/>
                        </a:lnTo>
                        <a:lnTo>
                          <a:pt x="135" y="0"/>
                        </a:lnTo>
                        <a:lnTo>
                          <a:pt x="160" y="20"/>
                        </a:lnTo>
                        <a:lnTo>
                          <a:pt x="181" y="21"/>
                        </a:lnTo>
                        <a:lnTo>
                          <a:pt x="207" y="8"/>
                        </a:lnTo>
                        <a:lnTo>
                          <a:pt x="217" y="30"/>
                        </a:lnTo>
                        <a:lnTo>
                          <a:pt x="183" y="49"/>
                        </a:lnTo>
                        <a:lnTo>
                          <a:pt x="153" y="47"/>
                        </a:lnTo>
                        <a:lnTo>
                          <a:pt x="125" y="30"/>
                        </a:lnTo>
                        <a:lnTo>
                          <a:pt x="96" y="49"/>
                        </a:lnTo>
                        <a:lnTo>
                          <a:pt x="82" y="50"/>
                        </a:lnTo>
                        <a:lnTo>
                          <a:pt x="63" y="61"/>
                        </a:lnTo>
                        <a:lnTo>
                          <a:pt x="0" y="5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1" name="Guinea-Bissau" descr="{&quot;Key&quot;:&quot;guinea-bissau&quot;,&quot;Name&quot;:&quot;Guinea-Bissau&quot;,&quot;Value&quot;:1.0,&quot;Formula&quot;:&quot;&quot;,&quot;Text&quot;:&quot;&quot;,&quot;OfficeApplication&quot;:1,&quot;HasValue&quot;:true}">
                    <a:extLst>
                      <a:ext uri="{FF2B5EF4-FFF2-40B4-BE49-F238E27FC236}">
                        <a16:creationId xmlns:a16="http://schemas.microsoft.com/office/drawing/2014/main" id="{B7EDC2E2-0A46-AC2C-20D0-DFCD1FE8D0DB}"/>
                      </a:ext>
                    </a:extLst>
                  </p:cNvPr>
                  <p:cNvSpPr>
                    <a:spLocks/>
                  </p:cNvSpPr>
                  <p:nvPr/>
                </p:nvSpPr>
                <p:spPr bwMode="auto">
                  <a:xfrm>
                    <a:off x="503" y="2498"/>
                    <a:ext cx="60" cy="36"/>
                  </a:xfrm>
                  <a:custGeom>
                    <a:avLst/>
                    <a:gdLst>
                      <a:gd name="T0" fmla="*/ 215 w 215"/>
                      <a:gd name="T1" fmla="*/ 4 h 130"/>
                      <a:gd name="T2" fmla="*/ 209 w 215"/>
                      <a:gd name="T3" fmla="*/ 32 h 130"/>
                      <a:gd name="T4" fmla="*/ 200 w 215"/>
                      <a:gd name="T5" fmla="*/ 40 h 130"/>
                      <a:gd name="T6" fmla="*/ 202 w 215"/>
                      <a:gd name="T7" fmla="*/ 68 h 130"/>
                      <a:gd name="T8" fmla="*/ 189 w 215"/>
                      <a:gd name="T9" fmla="*/ 78 h 130"/>
                      <a:gd name="T10" fmla="*/ 174 w 215"/>
                      <a:gd name="T11" fmla="*/ 78 h 130"/>
                      <a:gd name="T12" fmla="*/ 152 w 215"/>
                      <a:gd name="T13" fmla="*/ 92 h 130"/>
                      <a:gd name="T14" fmla="*/ 131 w 215"/>
                      <a:gd name="T15" fmla="*/ 90 h 130"/>
                      <a:gd name="T16" fmla="*/ 93 w 215"/>
                      <a:gd name="T17" fmla="*/ 130 h 130"/>
                      <a:gd name="T18" fmla="*/ 61 w 215"/>
                      <a:gd name="T19" fmla="*/ 96 h 130"/>
                      <a:gd name="T20" fmla="*/ 31 w 215"/>
                      <a:gd name="T21" fmla="*/ 90 h 130"/>
                      <a:gd name="T22" fmla="*/ 18 w 215"/>
                      <a:gd name="T23" fmla="*/ 68 h 130"/>
                      <a:gd name="T24" fmla="*/ 21 w 215"/>
                      <a:gd name="T25" fmla="*/ 55 h 130"/>
                      <a:gd name="T26" fmla="*/ 1 w 215"/>
                      <a:gd name="T27" fmla="*/ 38 h 130"/>
                      <a:gd name="T28" fmla="*/ 0 w 215"/>
                      <a:gd name="T29" fmla="*/ 20 h 130"/>
                      <a:gd name="T30" fmla="*/ 40 w 215"/>
                      <a:gd name="T31" fmla="*/ 8 h 130"/>
                      <a:gd name="T32" fmla="*/ 62 w 215"/>
                      <a:gd name="T33" fmla="*/ 10 h 130"/>
                      <a:gd name="T34" fmla="*/ 83 w 215"/>
                      <a:gd name="T35" fmla="*/ 0 h 130"/>
                      <a:gd name="T36" fmla="*/ 215 w 215"/>
                      <a:gd name="T37" fmla="*/ 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5" h="130">
                        <a:moveTo>
                          <a:pt x="215" y="4"/>
                        </a:moveTo>
                        <a:lnTo>
                          <a:pt x="209" y="32"/>
                        </a:lnTo>
                        <a:lnTo>
                          <a:pt x="200" y="40"/>
                        </a:lnTo>
                        <a:lnTo>
                          <a:pt x="202" y="68"/>
                        </a:lnTo>
                        <a:lnTo>
                          <a:pt x="189" y="78"/>
                        </a:lnTo>
                        <a:lnTo>
                          <a:pt x="174" y="78"/>
                        </a:lnTo>
                        <a:lnTo>
                          <a:pt x="152" y="92"/>
                        </a:lnTo>
                        <a:lnTo>
                          <a:pt x="131" y="90"/>
                        </a:lnTo>
                        <a:lnTo>
                          <a:pt x="93" y="130"/>
                        </a:lnTo>
                        <a:lnTo>
                          <a:pt x="61" y="96"/>
                        </a:lnTo>
                        <a:lnTo>
                          <a:pt x="31" y="90"/>
                        </a:lnTo>
                        <a:lnTo>
                          <a:pt x="18" y="68"/>
                        </a:lnTo>
                        <a:lnTo>
                          <a:pt x="21" y="55"/>
                        </a:lnTo>
                        <a:lnTo>
                          <a:pt x="1" y="38"/>
                        </a:lnTo>
                        <a:lnTo>
                          <a:pt x="0" y="20"/>
                        </a:lnTo>
                        <a:lnTo>
                          <a:pt x="40" y="8"/>
                        </a:lnTo>
                        <a:lnTo>
                          <a:pt x="62" y="10"/>
                        </a:lnTo>
                        <a:lnTo>
                          <a:pt x="83" y="0"/>
                        </a:lnTo>
                        <a:lnTo>
                          <a:pt x="215" y="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2" name="Equatorial Guinea" descr="{&quot;Key&quot;:&quot;equatorial guinea&quot;,&quot;Name&quot;:&quot;Equatorial Guinea&quot;,&quot;Value&quot;:1.0,&quot;Formula&quot;:&quot;&quot;,&quot;Text&quot;:&quot;&quot;,&quot;OfficeApplication&quot;:1,&quot;HasValue&quot;:true}">
                    <a:extLst>
                      <a:ext uri="{FF2B5EF4-FFF2-40B4-BE49-F238E27FC236}">
                        <a16:creationId xmlns:a16="http://schemas.microsoft.com/office/drawing/2014/main" id="{1DC83B33-D4CD-E48C-C9F2-2A790BF88969}"/>
                      </a:ext>
                    </a:extLst>
                  </p:cNvPr>
                  <p:cNvSpPr>
                    <a:spLocks/>
                  </p:cNvSpPr>
                  <p:nvPr/>
                </p:nvSpPr>
                <p:spPr bwMode="auto">
                  <a:xfrm>
                    <a:off x="1001" y="2733"/>
                    <a:ext cx="40" cy="29"/>
                  </a:xfrm>
                  <a:custGeom>
                    <a:avLst/>
                    <a:gdLst>
                      <a:gd name="T0" fmla="*/ 143 w 143"/>
                      <a:gd name="T1" fmla="*/ 2 h 103"/>
                      <a:gd name="T2" fmla="*/ 142 w 143"/>
                      <a:gd name="T3" fmla="*/ 100 h 103"/>
                      <a:gd name="T4" fmla="*/ 37 w 143"/>
                      <a:gd name="T5" fmla="*/ 98 h 103"/>
                      <a:gd name="T6" fmla="*/ 13 w 143"/>
                      <a:gd name="T7" fmla="*/ 103 h 103"/>
                      <a:gd name="T8" fmla="*/ 0 w 143"/>
                      <a:gd name="T9" fmla="*/ 91 h 103"/>
                      <a:gd name="T10" fmla="*/ 27 w 143"/>
                      <a:gd name="T11" fmla="*/ 0 h 103"/>
                      <a:gd name="T12" fmla="*/ 143 w 143"/>
                      <a:gd name="T13" fmla="*/ 2 h 103"/>
                    </a:gdLst>
                    <a:ahLst/>
                    <a:cxnLst>
                      <a:cxn ang="0">
                        <a:pos x="T0" y="T1"/>
                      </a:cxn>
                      <a:cxn ang="0">
                        <a:pos x="T2" y="T3"/>
                      </a:cxn>
                      <a:cxn ang="0">
                        <a:pos x="T4" y="T5"/>
                      </a:cxn>
                      <a:cxn ang="0">
                        <a:pos x="T6" y="T7"/>
                      </a:cxn>
                      <a:cxn ang="0">
                        <a:pos x="T8" y="T9"/>
                      </a:cxn>
                      <a:cxn ang="0">
                        <a:pos x="T10" y="T11"/>
                      </a:cxn>
                      <a:cxn ang="0">
                        <a:pos x="T12" y="T13"/>
                      </a:cxn>
                    </a:cxnLst>
                    <a:rect l="0" t="0" r="r" b="b"/>
                    <a:pathLst>
                      <a:path w="143" h="103">
                        <a:moveTo>
                          <a:pt x="143" y="2"/>
                        </a:moveTo>
                        <a:lnTo>
                          <a:pt x="142" y="100"/>
                        </a:lnTo>
                        <a:lnTo>
                          <a:pt x="37" y="98"/>
                        </a:lnTo>
                        <a:lnTo>
                          <a:pt x="13" y="103"/>
                        </a:lnTo>
                        <a:lnTo>
                          <a:pt x="0" y="91"/>
                        </a:lnTo>
                        <a:lnTo>
                          <a:pt x="27" y="0"/>
                        </a:lnTo>
                        <a:lnTo>
                          <a:pt x="143"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3" name="Greece" descr="{&quot;Key&quot;:&quot;greece&quot;,&quot;Name&quot;:&quot;Greece&quot;,&quot;Value&quot;:1.0,&quot;Formula&quot;:&quot;&quot;,&quot;Text&quot;:&quot;&quot;,&quot;OfficeApplication&quot;:1,&quot;HasValue&quot;:true}">
                    <a:extLst>
                      <a:ext uri="{FF2B5EF4-FFF2-40B4-BE49-F238E27FC236}">
                        <a16:creationId xmlns:a16="http://schemas.microsoft.com/office/drawing/2014/main" id="{4139E7D6-CB9E-ACFA-C206-2011EEF7B9DF}"/>
                      </a:ext>
                    </a:extLst>
                  </p:cNvPr>
                  <p:cNvSpPr>
                    <a:spLocks noEditPoints="1"/>
                  </p:cNvSpPr>
                  <p:nvPr/>
                </p:nvSpPr>
                <p:spPr bwMode="auto">
                  <a:xfrm>
                    <a:off x="1414" y="1837"/>
                    <a:ext cx="145" cy="156"/>
                  </a:xfrm>
                  <a:custGeom>
                    <a:avLst/>
                    <a:gdLst>
                      <a:gd name="T0" fmla="*/ 95 w 520"/>
                      <a:gd name="T1" fmla="*/ 495 h 559"/>
                      <a:gd name="T2" fmla="*/ 120 w 520"/>
                      <a:gd name="T3" fmla="*/ 523 h 559"/>
                      <a:gd name="T4" fmla="*/ 174 w 520"/>
                      <a:gd name="T5" fmla="*/ 518 h 559"/>
                      <a:gd name="T6" fmla="*/ 222 w 520"/>
                      <a:gd name="T7" fmla="*/ 524 h 559"/>
                      <a:gd name="T8" fmla="*/ 215 w 520"/>
                      <a:gd name="T9" fmla="*/ 538 h 559"/>
                      <a:gd name="T10" fmla="*/ 255 w 520"/>
                      <a:gd name="T11" fmla="*/ 528 h 559"/>
                      <a:gd name="T12" fmla="*/ 237 w 520"/>
                      <a:gd name="T13" fmla="*/ 552 h 559"/>
                      <a:gd name="T14" fmla="*/ 136 w 520"/>
                      <a:gd name="T15" fmla="*/ 559 h 559"/>
                      <a:gd name="T16" fmla="*/ 142 w 520"/>
                      <a:gd name="T17" fmla="*/ 545 h 559"/>
                      <a:gd name="T18" fmla="*/ 67 w 520"/>
                      <a:gd name="T19" fmla="*/ 529 h 559"/>
                      <a:gd name="T20" fmla="*/ 95 w 520"/>
                      <a:gd name="T21" fmla="*/ 495 h 559"/>
                      <a:gd name="T22" fmla="*/ 453 w 520"/>
                      <a:gd name="T23" fmla="*/ 80 h 559"/>
                      <a:gd name="T24" fmla="*/ 414 w 520"/>
                      <a:gd name="T25" fmla="*/ 79 h 559"/>
                      <a:gd name="T26" fmla="*/ 383 w 520"/>
                      <a:gd name="T27" fmla="*/ 70 h 559"/>
                      <a:gd name="T28" fmla="*/ 291 w 520"/>
                      <a:gd name="T29" fmla="*/ 92 h 559"/>
                      <a:gd name="T30" fmla="*/ 314 w 520"/>
                      <a:gd name="T31" fmla="*/ 138 h 559"/>
                      <a:gd name="T32" fmla="*/ 272 w 520"/>
                      <a:gd name="T33" fmla="*/ 150 h 559"/>
                      <a:gd name="T34" fmla="*/ 236 w 520"/>
                      <a:gd name="T35" fmla="*/ 150 h 559"/>
                      <a:gd name="T36" fmla="*/ 224 w 520"/>
                      <a:gd name="T37" fmla="*/ 109 h 559"/>
                      <a:gd name="T38" fmla="*/ 201 w 520"/>
                      <a:gd name="T39" fmla="*/ 127 h 559"/>
                      <a:gd name="T40" fmla="*/ 190 w 520"/>
                      <a:gd name="T41" fmla="*/ 175 h 559"/>
                      <a:gd name="T42" fmla="*/ 204 w 520"/>
                      <a:gd name="T43" fmla="*/ 213 h 559"/>
                      <a:gd name="T44" fmla="*/ 170 w 520"/>
                      <a:gd name="T45" fmla="*/ 230 h 559"/>
                      <a:gd name="T46" fmla="*/ 189 w 520"/>
                      <a:gd name="T47" fmla="*/ 268 h 559"/>
                      <a:gd name="T48" fmla="*/ 210 w 520"/>
                      <a:gd name="T49" fmla="*/ 292 h 559"/>
                      <a:gd name="T50" fmla="*/ 190 w 520"/>
                      <a:gd name="T51" fmla="*/ 337 h 559"/>
                      <a:gd name="T52" fmla="*/ 138 w 520"/>
                      <a:gd name="T53" fmla="*/ 315 h 559"/>
                      <a:gd name="T54" fmla="*/ 138 w 520"/>
                      <a:gd name="T55" fmla="*/ 357 h 559"/>
                      <a:gd name="T56" fmla="*/ 91 w 520"/>
                      <a:gd name="T57" fmla="*/ 365 h 559"/>
                      <a:gd name="T58" fmla="*/ 84 w 520"/>
                      <a:gd name="T59" fmla="*/ 437 h 559"/>
                      <a:gd name="T60" fmla="*/ 39 w 520"/>
                      <a:gd name="T61" fmla="*/ 438 h 559"/>
                      <a:gd name="T62" fmla="*/ 0 w 520"/>
                      <a:gd name="T63" fmla="*/ 403 h 559"/>
                      <a:gd name="T64" fmla="*/ 5 w 520"/>
                      <a:gd name="T65" fmla="*/ 338 h 559"/>
                      <a:gd name="T66" fmla="*/ 20 w 520"/>
                      <a:gd name="T67" fmla="*/ 284 h 559"/>
                      <a:gd name="T68" fmla="*/ 12 w 520"/>
                      <a:gd name="T69" fmla="*/ 247 h 559"/>
                      <a:gd name="T70" fmla="*/ 2 w 520"/>
                      <a:gd name="T71" fmla="*/ 200 h 559"/>
                      <a:gd name="T72" fmla="*/ 10 w 520"/>
                      <a:gd name="T73" fmla="*/ 178 h 559"/>
                      <a:gd name="T74" fmla="*/ 62 w 520"/>
                      <a:gd name="T75" fmla="*/ 138 h 559"/>
                      <a:gd name="T76" fmla="*/ 80 w 520"/>
                      <a:gd name="T77" fmla="*/ 112 h 559"/>
                      <a:gd name="T78" fmla="*/ 107 w 520"/>
                      <a:gd name="T79" fmla="*/ 100 h 559"/>
                      <a:gd name="T80" fmla="*/ 121 w 520"/>
                      <a:gd name="T81" fmla="*/ 79 h 559"/>
                      <a:gd name="T82" fmla="*/ 169 w 520"/>
                      <a:gd name="T83" fmla="*/ 72 h 559"/>
                      <a:gd name="T84" fmla="*/ 202 w 520"/>
                      <a:gd name="T85" fmla="*/ 54 h 559"/>
                      <a:gd name="T86" fmla="*/ 237 w 520"/>
                      <a:gd name="T87" fmla="*/ 57 h 559"/>
                      <a:gd name="T88" fmla="*/ 256 w 520"/>
                      <a:gd name="T89" fmla="*/ 42 h 559"/>
                      <a:gd name="T90" fmla="*/ 270 w 520"/>
                      <a:gd name="T91" fmla="*/ 39 h 559"/>
                      <a:gd name="T92" fmla="*/ 317 w 520"/>
                      <a:gd name="T93" fmla="*/ 42 h 559"/>
                      <a:gd name="T94" fmla="*/ 382 w 520"/>
                      <a:gd name="T95" fmla="*/ 19 h 559"/>
                      <a:gd name="T96" fmla="*/ 414 w 520"/>
                      <a:gd name="T97" fmla="*/ 48 h 559"/>
                      <a:gd name="T98" fmla="*/ 477 w 520"/>
                      <a:gd name="T99" fmla="*/ 40 h 559"/>
                      <a:gd name="T100" fmla="*/ 500 w 520"/>
                      <a:gd name="T101" fmla="*/ 0 h 559"/>
                      <a:gd name="T102" fmla="*/ 520 w 520"/>
                      <a:gd name="T103" fmla="*/ 22 h 559"/>
                      <a:gd name="T104" fmla="*/ 473 w 520"/>
                      <a:gd name="T105" fmla="*/ 72 h 559"/>
                      <a:gd name="T106" fmla="*/ 453 w 520"/>
                      <a:gd name="T107" fmla="*/ 8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0" h="559">
                        <a:moveTo>
                          <a:pt x="95" y="495"/>
                        </a:moveTo>
                        <a:lnTo>
                          <a:pt x="120" y="523"/>
                        </a:lnTo>
                        <a:lnTo>
                          <a:pt x="174" y="518"/>
                        </a:lnTo>
                        <a:lnTo>
                          <a:pt x="222" y="524"/>
                        </a:lnTo>
                        <a:lnTo>
                          <a:pt x="215" y="538"/>
                        </a:lnTo>
                        <a:lnTo>
                          <a:pt x="255" y="528"/>
                        </a:lnTo>
                        <a:lnTo>
                          <a:pt x="237" y="552"/>
                        </a:lnTo>
                        <a:lnTo>
                          <a:pt x="136" y="559"/>
                        </a:lnTo>
                        <a:lnTo>
                          <a:pt x="142" y="545"/>
                        </a:lnTo>
                        <a:lnTo>
                          <a:pt x="67" y="529"/>
                        </a:lnTo>
                        <a:lnTo>
                          <a:pt x="95" y="495"/>
                        </a:lnTo>
                        <a:close/>
                        <a:moveTo>
                          <a:pt x="453" y="80"/>
                        </a:moveTo>
                        <a:lnTo>
                          <a:pt x="414" y="79"/>
                        </a:lnTo>
                        <a:lnTo>
                          <a:pt x="383" y="70"/>
                        </a:lnTo>
                        <a:lnTo>
                          <a:pt x="291" y="92"/>
                        </a:lnTo>
                        <a:lnTo>
                          <a:pt x="314" y="138"/>
                        </a:lnTo>
                        <a:lnTo>
                          <a:pt x="272" y="150"/>
                        </a:lnTo>
                        <a:lnTo>
                          <a:pt x="236" y="150"/>
                        </a:lnTo>
                        <a:lnTo>
                          <a:pt x="224" y="109"/>
                        </a:lnTo>
                        <a:lnTo>
                          <a:pt x="201" y="127"/>
                        </a:lnTo>
                        <a:lnTo>
                          <a:pt x="190" y="175"/>
                        </a:lnTo>
                        <a:lnTo>
                          <a:pt x="204" y="213"/>
                        </a:lnTo>
                        <a:lnTo>
                          <a:pt x="170" y="230"/>
                        </a:lnTo>
                        <a:lnTo>
                          <a:pt x="189" y="268"/>
                        </a:lnTo>
                        <a:lnTo>
                          <a:pt x="210" y="292"/>
                        </a:lnTo>
                        <a:lnTo>
                          <a:pt x="190" y="337"/>
                        </a:lnTo>
                        <a:lnTo>
                          <a:pt x="138" y="315"/>
                        </a:lnTo>
                        <a:lnTo>
                          <a:pt x="138" y="357"/>
                        </a:lnTo>
                        <a:lnTo>
                          <a:pt x="91" y="365"/>
                        </a:lnTo>
                        <a:lnTo>
                          <a:pt x="84" y="437"/>
                        </a:lnTo>
                        <a:lnTo>
                          <a:pt x="39" y="438"/>
                        </a:lnTo>
                        <a:lnTo>
                          <a:pt x="0" y="403"/>
                        </a:lnTo>
                        <a:lnTo>
                          <a:pt x="5" y="338"/>
                        </a:lnTo>
                        <a:lnTo>
                          <a:pt x="20" y="284"/>
                        </a:lnTo>
                        <a:lnTo>
                          <a:pt x="12" y="247"/>
                        </a:lnTo>
                        <a:lnTo>
                          <a:pt x="2" y="200"/>
                        </a:lnTo>
                        <a:lnTo>
                          <a:pt x="10" y="178"/>
                        </a:lnTo>
                        <a:lnTo>
                          <a:pt x="62" y="138"/>
                        </a:lnTo>
                        <a:lnTo>
                          <a:pt x="80" y="112"/>
                        </a:lnTo>
                        <a:lnTo>
                          <a:pt x="107" y="100"/>
                        </a:lnTo>
                        <a:lnTo>
                          <a:pt x="121" y="79"/>
                        </a:lnTo>
                        <a:lnTo>
                          <a:pt x="169" y="72"/>
                        </a:lnTo>
                        <a:lnTo>
                          <a:pt x="202" y="54"/>
                        </a:lnTo>
                        <a:lnTo>
                          <a:pt x="237" y="57"/>
                        </a:lnTo>
                        <a:lnTo>
                          <a:pt x="256" y="42"/>
                        </a:lnTo>
                        <a:lnTo>
                          <a:pt x="270" y="39"/>
                        </a:lnTo>
                        <a:lnTo>
                          <a:pt x="317" y="42"/>
                        </a:lnTo>
                        <a:lnTo>
                          <a:pt x="382" y="19"/>
                        </a:lnTo>
                        <a:lnTo>
                          <a:pt x="414" y="48"/>
                        </a:lnTo>
                        <a:lnTo>
                          <a:pt x="477" y="40"/>
                        </a:lnTo>
                        <a:lnTo>
                          <a:pt x="500" y="0"/>
                        </a:lnTo>
                        <a:lnTo>
                          <a:pt x="520" y="22"/>
                        </a:lnTo>
                        <a:lnTo>
                          <a:pt x="473" y="72"/>
                        </a:lnTo>
                        <a:lnTo>
                          <a:pt x="453" y="8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4" name="Greenland" descr="{&quot;Key&quot;:&quot;greenland&quot;,&quot;Name&quot;:&quot;Greenland&quot;,&quot;Value&quot;:1.0,&quot;Formula&quot;:&quot;&quot;,&quot;Text&quot;:&quot;&quot;,&quot;OfficeApplication&quot;:1,&quot;HasValue&quot;:true}">
                    <a:extLst>
                      <a:ext uri="{FF2B5EF4-FFF2-40B4-BE49-F238E27FC236}">
                        <a16:creationId xmlns:a16="http://schemas.microsoft.com/office/drawing/2014/main" id="{5F19566E-4EDE-B7F8-D680-25DC6B75F11A}"/>
                      </a:ext>
                    </a:extLst>
                  </p:cNvPr>
                  <p:cNvSpPr>
                    <a:spLocks/>
                  </p:cNvSpPr>
                  <p:nvPr/>
                </p:nvSpPr>
                <p:spPr bwMode="auto">
                  <a:xfrm>
                    <a:off x="5564" y="1017"/>
                    <a:ext cx="914" cy="424"/>
                  </a:xfrm>
                  <a:custGeom>
                    <a:avLst/>
                    <a:gdLst>
                      <a:gd name="T0" fmla="*/ 1391 w 3278"/>
                      <a:gd name="T1" fmla="*/ 67 h 1522"/>
                      <a:gd name="T2" fmla="*/ 1490 w 3278"/>
                      <a:gd name="T3" fmla="*/ 75 h 1522"/>
                      <a:gd name="T4" fmla="*/ 3189 w 3278"/>
                      <a:gd name="T5" fmla="*/ 940 h 1522"/>
                      <a:gd name="T6" fmla="*/ 3116 w 3278"/>
                      <a:gd name="T7" fmla="*/ 967 h 1522"/>
                      <a:gd name="T8" fmla="*/ 3107 w 3278"/>
                      <a:gd name="T9" fmla="*/ 1090 h 1522"/>
                      <a:gd name="T10" fmla="*/ 3026 w 3278"/>
                      <a:gd name="T11" fmla="*/ 1111 h 1522"/>
                      <a:gd name="T12" fmla="*/ 2985 w 3278"/>
                      <a:gd name="T13" fmla="*/ 1171 h 1522"/>
                      <a:gd name="T14" fmla="*/ 3087 w 3278"/>
                      <a:gd name="T15" fmla="*/ 1270 h 1522"/>
                      <a:gd name="T16" fmla="*/ 3167 w 3278"/>
                      <a:gd name="T17" fmla="*/ 1385 h 1522"/>
                      <a:gd name="T18" fmla="*/ 3278 w 3278"/>
                      <a:gd name="T19" fmla="*/ 1517 h 1522"/>
                      <a:gd name="T20" fmla="*/ 3046 w 3278"/>
                      <a:gd name="T21" fmla="*/ 1462 h 1522"/>
                      <a:gd name="T22" fmla="*/ 2827 w 3278"/>
                      <a:gd name="T23" fmla="*/ 1421 h 1522"/>
                      <a:gd name="T24" fmla="*/ 2496 w 3278"/>
                      <a:gd name="T25" fmla="*/ 1258 h 1522"/>
                      <a:gd name="T26" fmla="*/ 2321 w 3278"/>
                      <a:gd name="T27" fmla="*/ 1147 h 1522"/>
                      <a:gd name="T28" fmla="*/ 2113 w 3278"/>
                      <a:gd name="T29" fmla="*/ 1030 h 1522"/>
                      <a:gd name="T30" fmla="*/ 1991 w 3278"/>
                      <a:gd name="T31" fmla="*/ 923 h 1522"/>
                      <a:gd name="T32" fmla="*/ 2015 w 3278"/>
                      <a:gd name="T33" fmla="*/ 870 h 1522"/>
                      <a:gd name="T34" fmla="*/ 1926 w 3278"/>
                      <a:gd name="T35" fmla="*/ 840 h 1522"/>
                      <a:gd name="T36" fmla="*/ 1878 w 3278"/>
                      <a:gd name="T37" fmla="*/ 860 h 1522"/>
                      <a:gd name="T38" fmla="*/ 1716 w 3278"/>
                      <a:gd name="T39" fmla="*/ 792 h 1522"/>
                      <a:gd name="T40" fmla="*/ 1731 w 3278"/>
                      <a:gd name="T41" fmla="*/ 755 h 1522"/>
                      <a:gd name="T42" fmla="*/ 1711 w 3278"/>
                      <a:gd name="T43" fmla="*/ 730 h 1522"/>
                      <a:gd name="T44" fmla="*/ 1596 w 3278"/>
                      <a:gd name="T45" fmla="*/ 717 h 1522"/>
                      <a:gd name="T46" fmla="*/ 1492 w 3278"/>
                      <a:gd name="T47" fmla="*/ 638 h 1522"/>
                      <a:gd name="T48" fmla="*/ 1315 w 3278"/>
                      <a:gd name="T49" fmla="*/ 570 h 1522"/>
                      <a:gd name="T50" fmla="*/ 1041 w 3278"/>
                      <a:gd name="T51" fmla="*/ 476 h 1522"/>
                      <a:gd name="T52" fmla="*/ 803 w 3278"/>
                      <a:gd name="T53" fmla="*/ 413 h 1522"/>
                      <a:gd name="T54" fmla="*/ 572 w 3278"/>
                      <a:gd name="T55" fmla="*/ 411 h 1522"/>
                      <a:gd name="T56" fmla="*/ 376 w 3278"/>
                      <a:gd name="T57" fmla="*/ 396 h 1522"/>
                      <a:gd name="T58" fmla="*/ 319 w 3278"/>
                      <a:gd name="T59" fmla="*/ 338 h 1522"/>
                      <a:gd name="T60" fmla="*/ 180 w 3278"/>
                      <a:gd name="T61" fmla="*/ 320 h 1522"/>
                      <a:gd name="T62" fmla="*/ 0 w 3278"/>
                      <a:gd name="T63" fmla="*/ 272 h 1522"/>
                      <a:gd name="T64" fmla="*/ 236 w 3278"/>
                      <a:gd name="T65" fmla="*/ 216 h 1522"/>
                      <a:gd name="T66" fmla="*/ 55 w 3278"/>
                      <a:gd name="T67" fmla="*/ 176 h 1522"/>
                      <a:gd name="T68" fmla="*/ 128 w 3278"/>
                      <a:gd name="T69" fmla="*/ 117 h 1522"/>
                      <a:gd name="T70" fmla="*/ 115 w 3278"/>
                      <a:gd name="T71" fmla="*/ 88 h 1522"/>
                      <a:gd name="T72" fmla="*/ 305 w 3278"/>
                      <a:gd name="T73" fmla="*/ 68 h 1522"/>
                      <a:gd name="T74" fmla="*/ 517 w 3278"/>
                      <a:gd name="T75" fmla="*/ 83 h 1522"/>
                      <a:gd name="T76" fmla="*/ 715 w 3278"/>
                      <a:gd name="T77" fmla="*/ 75 h 1522"/>
                      <a:gd name="T78" fmla="*/ 912 w 3278"/>
                      <a:gd name="T79" fmla="*/ 95 h 1522"/>
                      <a:gd name="T80" fmla="*/ 702 w 3278"/>
                      <a:gd name="T81" fmla="*/ 47 h 1522"/>
                      <a:gd name="T82" fmla="*/ 930 w 3278"/>
                      <a:gd name="T83" fmla="*/ 21 h 1522"/>
                      <a:gd name="T84" fmla="*/ 1077 w 3278"/>
                      <a:gd name="T85" fmla="*/ 0 h 1522"/>
                      <a:gd name="T86" fmla="*/ 1469 w 3278"/>
                      <a:gd name="T87" fmla="*/ 66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8" h="1522">
                        <a:moveTo>
                          <a:pt x="1469" y="66"/>
                        </a:moveTo>
                        <a:lnTo>
                          <a:pt x="1391" y="67"/>
                        </a:lnTo>
                        <a:lnTo>
                          <a:pt x="1436" y="76"/>
                        </a:lnTo>
                        <a:lnTo>
                          <a:pt x="1490" y="75"/>
                        </a:lnTo>
                        <a:lnTo>
                          <a:pt x="3215" y="935"/>
                        </a:lnTo>
                        <a:lnTo>
                          <a:pt x="3189" y="940"/>
                        </a:lnTo>
                        <a:lnTo>
                          <a:pt x="3131" y="940"/>
                        </a:lnTo>
                        <a:lnTo>
                          <a:pt x="3116" y="967"/>
                        </a:lnTo>
                        <a:lnTo>
                          <a:pt x="3152" y="1041"/>
                        </a:lnTo>
                        <a:lnTo>
                          <a:pt x="3107" y="1090"/>
                        </a:lnTo>
                        <a:lnTo>
                          <a:pt x="3074" y="1093"/>
                        </a:lnTo>
                        <a:lnTo>
                          <a:pt x="3026" y="1111"/>
                        </a:lnTo>
                        <a:lnTo>
                          <a:pt x="2971" y="1127"/>
                        </a:lnTo>
                        <a:lnTo>
                          <a:pt x="2985" y="1171"/>
                        </a:lnTo>
                        <a:lnTo>
                          <a:pt x="3052" y="1222"/>
                        </a:lnTo>
                        <a:lnTo>
                          <a:pt x="3087" y="1270"/>
                        </a:lnTo>
                        <a:lnTo>
                          <a:pt x="3072" y="1327"/>
                        </a:lnTo>
                        <a:lnTo>
                          <a:pt x="3167" y="1385"/>
                        </a:lnTo>
                        <a:lnTo>
                          <a:pt x="3218" y="1446"/>
                        </a:lnTo>
                        <a:lnTo>
                          <a:pt x="3278" y="1517"/>
                        </a:lnTo>
                        <a:lnTo>
                          <a:pt x="3203" y="1522"/>
                        </a:lnTo>
                        <a:lnTo>
                          <a:pt x="3046" y="1462"/>
                        </a:lnTo>
                        <a:lnTo>
                          <a:pt x="2931" y="1461"/>
                        </a:lnTo>
                        <a:lnTo>
                          <a:pt x="2827" y="1421"/>
                        </a:lnTo>
                        <a:lnTo>
                          <a:pt x="2703" y="1350"/>
                        </a:lnTo>
                        <a:lnTo>
                          <a:pt x="2496" y="1258"/>
                        </a:lnTo>
                        <a:lnTo>
                          <a:pt x="2408" y="1212"/>
                        </a:lnTo>
                        <a:lnTo>
                          <a:pt x="2321" y="1147"/>
                        </a:lnTo>
                        <a:lnTo>
                          <a:pt x="2162" y="1082"/>
                        </a:lnTo>
                        <a:lnTo>
                          <a:pt x="2113" y="1030"/>
                        </a:lnTo>
                        <a:lnTo>
                          <a:pt x="2046" y="1005"/>
                        </a:lnTo>
                        <a:lnTo>
                          <a:pt x="1991" y="923"/>
                        </a:lnTo>
                        <a:lnTo>
                          <a:pt x="2035" y="898"/>
                        </a:lnTo>
                        <a:lnTo>
                          <a:pt x="2015" y="870"/>
                        </a:lnTo>
                        <a:lnTo>
                          <a:pt x="1951" y="816"/>
                        </a:lnTo>
                        <a:lnTo>
                          <a:pt x="1926" y="840"/>
                        </a:lnTo>
                        <a:lnTo>
                          <a:pt x="1911" y="850"/>
                        </a:lnTo>
                        <a:lnTo>
                          <a:pt x="1878" y="860"/>
                        </a:lnTo>
                        <a:lnTo>
                          <a:pt x="1783" y="837"/>
                        </a:lnTo>
                        <a:lnTo>
                          <a:pt x="1716" y="792"/>
                        </a:lnTo>
                        <a:lnTo>
                          <a:pt x="1685" y="756"/>
                        </a:lnTo>
                        <a:lnTo>
                          <a:pt x="1731" y="755"/>
                        </a:lnTo>
                        <a:lnTo>
                          <a:pt x="1861" y="772"/>
                        </a:lnTo>
                        <a:lnTo>
                          <a:pt x="1711" y="730"/>
                        </a:lnTo>
                        <a:lnTo>
                          <a:pt x="1632" y="707"/>
                        </a:lnTo>
                        <a:lnTo>
                          <a:pt x="1596" y="717"/>
                        </a:lnTo>
                        <a:lnTo>
                          <a:pt x="1528" y="700"/>
                        </a:lnTo>
                        <a:lnTo>
                          <a:pt x="1492" y="638"/>
                        </a:lnTo>
                        <a:lnTo>
                          <a:pt x="1425" y="615"/>
                        </a:lnTo>
                        <a:lnTo>
                          <a:pt x="1315" y="570"/>
                        </a:lnTo>
                        <a:lnTo>
                          <a:pt x="1145" y="501"/>
                        </a:lnTo>
                        <a:lnTo>
                          <a:pt x="1041" y="476"/>
                        </a:lnTo>
                        <a:lnTo>
                          <a:pt x="996" y="450"/>
                        </a:lnTo>
                        <a:lnTo>
                          <a:pt x="803" y="413"/>
                        </a:lnTo>
                        <a:lnTo>
                          <a:pt x="695" y="408"/>
                        </a:lnTo>
                        <a:lnTo>
                          <a:pt x="572" y="411"/>
                        </a:lnTo>
                        <a:lnTo>
                          <a:pt x="465" y="416"/>
                        </a:lnTo>
                        <a:lnTo>
                          <a:pt x="376" y="396"/>
                        </a:lnTo>
                        <a:lnTo>
                          <a:pt x="229" y="357"/>
                        </a:lnTo>
                        <a:lnTo>
                          <a:pt x="319" y="338"/>
                        </a:lnTo>
                        <a:lnTo>
                          <a:pt x="407" y="335"/>
                        </a:lnTo>
                        <a:lnTo>
                          <a:pt x="180" y="320"/>
                        </a:lnTo>
                        <a:lnTo>
                          <a:pt x="33" y="295"/>
                        </a:lnTo>
                        <a:lnTo>
                          <a:pt x="0" y="272"/>
                        </a:lnTo>
                        <a:lnTo>
                          <a:pt x="122" y="243"/>
                        </a:lnTo>
                        <a:lnTo>
                          <a:pt x="236" y="216"/>
                        </a:lnTo>
                        <a:lnTo>
                          <a:pt x="213" y="196"/>
                        </a:lnTo>
                        <a:lnTo>
                          <a:pt x="55" y="176"/>
                        </a:lnTo>
                        <a:lnTo>
                          <a:pt x="51" y="155"/>
                        </a:lnTo>
                        <a:lnTo>
                          <a:pt x="128" y="117"/>
                        </a:lnTo>
                        <a:lnTo>
                          <a:pt x="181" y="112"/>
                        </a:lnTo>
                        <a:lnTo>
                          <a:pt x="115" y="88"/>
                        </a:lnTo>
                        <a:lnTo>
                          <a:pt x="189" y="76"/>
                        </a:lnTo>
                        <a:lnTo>
                          <a:pt x="305" y="68"/>
                        </a:lnTo>
                        <a:lnTo>
                          <a:pt x="436" y="67"/>
                        </a:lnTo>
                        <a:lnTo>
                          <a:pt x="517" y="83"/>
                        </a:lnTo>
                        <a:lnTo>
                          <a:pt x="570" y="56"/>
                        </a:lnTo>
                        <a:lnTo>
                          <a:pt x="715" y="75"/>
                        </a:lnTo>
                        <a:lnTo>
                          <a:pt x="785" y="78"/>
                        </a:lnTo>
                        <a:lnTo>
                          <a:pt x="912" y="95"/>
                        </a:lnTo>
                        <a:lnTo>
                          <a:pt x="746" y="67"/>
                        </a:lnTo>
                        <a:lnTo>
                          <a:pt x="702" y="47"/>
                        </a:lnTo>
                        <a:lnTo>
                          <a:pt x="776" y="18"/>
                        </a:lnTo>
                        <a:lnTo>
                          <a:pt x="930" y="21"/>
                        </a:lnTo>
                        <a:lnTo>
                          <a:pt x="941" y="3"/>
                        </a:lnTo>
                        <a:lnTo>
                          <a:pt x="1077" y="0"/>
                        </a:lnTo>
                        <a:lnTo>
                          <a:pt x="1301" y="3"/>
                        </a:lnTo>
                        <a:lnTo>
                          <a:pt x="1469" y="6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5" name="Guatemala" descr="{&quot;Key&quot;:&quot;guatemala&quot;,&quot;Name&quot;:&quot;Guatemala&quot;,&quot;Value&quot;:1.0,&quot;Formula&quot;:&quot;&quot;,&quot;Text&quot;:&quot;&quot;,&quot;OfficeApplication&quot;:1,&quot;HasValue&quot;:true}">
                    <a:extLst>
                      <a:ext uri="{FF2B5EF4-FFF2-40B4-BE49-F238E27FC236}">
                        <a16:creationId xmlns:a16="http://schemas.microsoft.com/office/drawing/2014/main" id="{254FE04C-BD0C-2734-6378-9DF31D314C19}"/>
                      </a:ext>
                    </a:extLst>
                  </p:cNvPr>
                  <p:cNvSpPr>
                    <a:spLocks/>
                  </p:cNvSpPr>
                  <p:nvPr/>
                </p:nvSpPr>
                <p:spPr bwMode="auto">
                  <a:xfrm>
                    <a:off x="6151" y="2381"/>
                    <a:ext cx="77" cy="92"/>
                  </a:xfrm>
                  <a:custGeom>
                    <a:avLst/>
                    <a:gdLst>
                      <a:gd name="T0" fmla="*/ 185 w 278"/>
                      <a:gd name="T1" fmla="*/ 1 h 331"/>
                      <a:gd name="T2" fmla="*/ 197 w 278"/>
                      <a:gd name="T3" fmla="*/ 65 h 331"/>
                      <a:gd name="T4" fmla="*/ 205 w 278"/>
                      <a:gd name="T5" fmla="*/ 158 h 331"/>
                      <a:gd name="T6" fmla="*/ 227 w 278"/>
                      <a:gd name="T7" fmla="*/ 158 h 331"/>
                      <a:gd name="T8" fmla="*/ 252 w 278"/>
                      <a:gd name="T9" fmla="*/ 171 h 331"/>
                      <a:gd name="T10" fmla="*/ 257 w 278"/>
                      <a:gd name="T11" fmla="*/ 160 h 331"/>
                      <a:gd name="T12" fmla="*/ 278 w 278"/>
                      <a:gd name="T13" fmla="*/ 170 h 331"/>
                      <a:gd name="T14" fmla="*/ 250 w 278"/>
                      <a:gd name="T15" fmla="*/ 201 h 331"/>
                      <a:gd name="T16" fmla="*/ 220 w 278"/>
                      <a:gd name="T17" fmla="*/ 224 h 331"/>
                      <a:gd name="T18" fmla="*/ 218 w 278"/>
                      <a:gd name="T19" fmla="*/ 239 h 331"/>
                      <a:gd name="T20" fmla="*/ 225 w 278"/>
                      <a:gd name="T21" fmla="*/ 255 h 331"/>
                      <a:gd name="T22" fmla="*/ 214 w 278"/>
                      <a:gd name="T23" fmla="*/ 276 h 331"/>
                      <a:gd name="T24" fmla="*/ 198 w 278"/>
                      <a:gd name="T25" fmla="*/ 281 h 331"/>
                      <a:gd name="T26" fmla="*/ 203 w 278"/>
                      <a:gd name="T27" fmla="*/ 290 h 331"/>
                      <a:gd name="T28" fmla="*/ 190 w 278"/>
                      <a:gd name="T29" fmla="*/ 300 h 331"/>
                      <a:gd name="T30" fmla="*/ 169 w 278"/>
                      <a:gd name="T31" fmla="*/ 320 h 331"/>
                      <a:gd name="T32" fmla="*/ 168 w 278"/>
                      <a:gd name="T33" fmla="*/ 331 h 331"/>
                      <a:gd name="T34" fmla="*/ 130 w 278"/>
                      <a:gd name="T35" fmla="*/ 318 h 331"/>
                      <a:gd name="T36" fmla="*/ 85 w 278"/>
                      <a:gd name="T37" fmla="*/ 316 h 331"/>
                      <a:gd name="T38" fmla="*/ 50 w 278"/>
                      <a:gd name="T39" fmla="*/ 300 h 331"/>
                      <a:gd name="T40" fmla="*/ 8 w 278"/>
                      <a:gd name="T41" fmla="*/ 266 h 331"/>
                      <a:gd name="T42" fmla="*/ 7 w 278"/>
                      <a:gd name="T43" fmla="*/ 243 h 331"/>
                      <a:gd name="T44" fmla="*/ 12 w 278"/>
                      <a:gd name="T45" fmla="*/ 224 h 331"/>
                      <a:gd name="T46" fmla="*/ 0 w 278"/>
                      <a:gd name="T47" fmla="*/ 209 h 331"/>
                      <a:gd name="T48" fmla="*/ 24 w 278"/>
                      <a:gd name="T49" fmla="*/ 143 h 331"/>
                      <a:gd name="T50" fmla="*/ 115 w 278"/>
                      <a:gd name="T51" fmla="*/ 143 h 331"/>
                      <a:gd name="T52" fmla="*/ 113 w 278"/>
                      <a:gd name="T53" fmla="*/ 115 h 331"/>
                      <a:gd name="T54" fmla="*/ 100 w 278"/>
                      <a:gd name="T55" fmla="*/ 110 h 331"/>
                      <a:gd name="T56" fmla="*/ 89 w 278"/>
                      <a:gd name="T57" fmla="*/ 93 h 331"/>
                      <a:gd name="T58" fmla="*/ 60 w 278"/>
                      <a:gd name="T59" fmla="*/ 73 h 331"/>
                      <a:gd name="T60" fmla="*/ 29 w 278"/>
                      <a:gd name="T61" fmla="*/ 46 h 331"/>
                      <a:gd name="T62" fmla="*/ 62 w 278"/>
                      <a:gd name="T63" fmla="*/ 46 h 331"/>
                      <a:gd name="T64" fmla="*/ 54 w 278"/>
                      <a:gd name="T65" fmla="*/ 0 h 331"/>
                      <a:gd name="T66" fmla="*/ 120 w 278"/>
                      <a:gd name="T67" fmla="*/ 0 h 331"/>
                      <a:gd name="T68" fmla="*/ 185 w 278"/>
                      <a:gd name="T69" fmla="*/ 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331">
                        <a:moveTo>
                          <a:pt x="185" y="1"/>
                        </a:moveTo>
                        <a:lnTo>
                          <a:pt x="197" y="65"/>
                        </a:lnTo>
                        <a:lnTo>
                          <a:pt x="205" y="158"/>
                        </a:lnTo>
                        <a:lnTo>
                          <a:pt x="227" y="158"/>
                        </a:lnTo>
                        <a:lnTo>
                          <a:pt x="252" y="171"/>
                        </a:lnTo>
                        <a:lnTo>
                          <a:pt x="257" y="160"/>
                        </a:lnTo>
                        <a:lnTo>
                          <a:pt x="278" y="170"/>
                        </a:lnTo>
                        <a:lnTo>
                          <a:pt x="250" y="201"/>
                        </a:lnTo>
                        <a:lnTo>
                          <a:pt x="220" y="224"/>
                        </a:lnTo>
                        <a:lnTo>
                          <a:pt x="218" y="239"/>
                        </a:lnTo>
                        <a:lnTo>
                          <a:pt x="225" y="255"/>
                        </a:lnTo>
                        <a:lnTo>
                          <a:pt x="214" y="276"/>
                        </a:lnTo>
                        <a:lnTo>
                          <a:pt x="198" y="281"/>
                        </a:lnTo>
                        <a:lnTo>
                          <a:pt x="203" y="290"/>
                        </a:lnTo>
                        <a:lnTo>
                          <a:pt x="190" y="300"/>
                        </a:lnTo>
                        <a:lnTo>
                          <a:pt x="169" y="320"/>
                        </a:lnTo>
                        <a:lnTo>
                          <a:pt x="168" y="331"/>
                        </a:lnTo>
                        <a:lnTo>
                          <a:pt x="130" y="318"/>
                        </a:lnTo>
                        <a:lnTo>
                          <a:pt x="85" y="316"/>
                        </a:lnTo>
                        <a:lnTo>
                          <a:pt x="50" y="300"/>
                        </a:lnTo>
                        <a:lnTo>
                          <a:pt x="8" y="266"/>
                        </a:lnTo>
                        <a:lnTo>
                          <a:pt x="7" y="243"/>
                        </a:lnTo>
                        <a:lnTo>
                          <a:pt x="12" y="224"/>
                        </a:lnTo>
                        <a:lnTo>
                          <a:pt x="0" y="209"/>
                        </a:lnTo>
                        <a:lnTo>
                          <a:pt x="24" y="143"/>
                        </a:lnTo>
                        <a:lnTo>
                          <a:pt x="115" y="143"/>
                        </a:lnTo>
                        <a:lnTo>
                          <a:pt x="113" y="115"/>
                        </a:lnTo>
                        <a:lnTo>
                          <a:pt x="100" y="110"/>
                        </a:lnTo>
                        <a:lnTo>
                          <a:pt x="89" y="93"/>
                        </a:lnTo>
                        <a:lnTo>
                          <a:pt x="60" y="73"/>
                        </a:lnTo>
                        <a:lnTo>
                          <a:pt x="29" y="46"/>
                        </a:lnTo>
                        <a:lnTo>
                          <a:pt x="62" y="46"/>
                        </a:lnTo>
                        <a:lnTo>
                          <a:pt x="54" y="0"/>
                        </a:lnTo>
                        <a:lnTo>
                          <a:pt x="120" y="0"/>
                        </a:lnTo>
                        <a:lnTo>
                          <a:pt x="185" y="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6" name="Guyana" descr="{&quot;Key&quot;:&quot;guyana&quot;,&quot;Name&quot;:&quot;Guyana&quot;,&quot;Value&quot;:1.0,&quot;Formula&quot;:&quot;&quot;,&quot;Text&quot;:&quot;&quot;,&quot;OfficeApplication&quot;:1,&quot;HasValue&quot;:true}">
                    <a:extLst>
                      <a:ext uri="{FF2B5EF4-FFF2-40B4-BE49-F238E27FC236}">
                        <a16:creationId xmlns:a16="http://schemas.microsoft.com/office/drawing/2014/main" id="{E2E0E912-E8B4-96A8-E01A-A7286F2A58FF}"/>
                      </a:ext>
                    </a:extLst>
                  </p:cNvPr>
                  <p:cNvSpPr>
                    <a:spLocks/>
                  </p:cNvSpPr>
                  <p:nvPr/>
                </p:nvSpPr>
                <p:spPr bwMode="auto">
                  <a:xfrm>
                    <a:off x="6786" y="2595"/>
                    <a:ext cx="103" cy="161"/>
                  </a:xfrm>
                  <a:custGeom>
                    <a:avLst/>
                    <a:gdLst>
                      <a:gd name="T0" fmla="*/ 305 w 367"/>
                      <a:gd name="T1" fmla="*/ 194 h 576"/>
                      <a:gd name="T2" fmla="*/ 299 w 367"/>
                      <a:gd name="T3" fmla="*/ 267 h 576"/>
                      <a:gd name="T4" fmla="*/ 257 w 367"/>
                      <a:gd name="T5" fmla="*/ 288 h 576"/>
                      <a:gd name="T6" fmla="*/ 262 w 367"/>
                      <a:gd name="T7" fmla="*/ 307 h 576"/>
                      <a:gd name="T8" fmla="*/ 250 w 367"/>
                      <a:gd name="T9" fmla="*/ 350 h 576"/>
                      <a:gd name="T10" fmla="*/ 285 w 367"/>
                      <a:gd name="T11" fmla="*/ 408 h 576"/>
                      <a:gd name="T12" fmla="*/ 309 w 367"/>
                      <a:gd name="T13" fmla="*/ 408 h 576"/>
                      <a:gd name="T14" fmla="*/ 320 w 367"/>
                      <a:gd name="T15" fmla="*/ 455 h 576"/>
                      <a:gd name="T16" fmla="*/ 367 w 367"/>
                      <a:gd name="T17" fmla="*/ 525 h 576"/>
                      <a:gd name="T18" fmla="*/ 349 w 367"/>
                      <a:gd name="T19" fmla="*/ 527 h 576"/>
                      <a:gd name="T20" fmla="*/ 309 w 367"/>
                      <a:gd name="T21" fmla="*/ 521 h 576"/>
                      <a:gd name="T22" fmla="*/ 287 w 367"/>
                      <a:gd name="T23" fmla="*/ 542 h 576"/>
                      <a:gd name="T24" fmla="*/ 255 w 367"/>
                      <a:gd name="T25" fmla="*/ 557 h 576"/>
                      <a:gd name="T26" fmla="*/ 233 w 367"/>
                      <a:gd name="T27" fmla="*/ 560 h 576"/>
                      <a:gd name="T28" fmla="*/ 225 w 367"/>
                      <a:gd name="T29" fmla="*/ 576 h 576"/>
                      <a:gd name="T30" fmla="*/ 189 w 367"/>
                      <a:gd name="T31" fmla="*/ 572 h 576"/>
                      <a:gd name="T32" fmla="*/ 144 w 367"/>
                      <a:gd name="T33" fmla="*/ 533 h 576"/>
                      <a:gd name="T34" fmla="*/ 138 w 367"/>
                      <a:gd name="T35" fmla="*/ 496 h 576"/>
                      <a:gd name="T36" fmla="*/ 118 w 367"/>
                      <a:gd name="T37" fmla="*/ 456 h 576"/>
                      <a:gd name="T38" fmla="*/ 125 w 367"/>
                      <a:gd name="T39" fmla="*/ 386 h 576"/>
                      <a:gd name="T40" fmla="*/ 144 w 367"/>
                      <a:gd name="T41" fmla="*/ 357 h 576"/>
                      <a:gd name="T42" fmla="*/ 125 w 367"/>
                      <a:gd name="T43" fmla="*/ 320 h 576"/>
                      <a:gd name="T44" fmla="*/ 100 w 367"/>
                      <a:gd name="T45" fmla="*/ 307 h 576"/>
                      <a:gd name="T46" fmla="*/ 108 w 367"/>
                      <a:gd name="T47" fmla="*/ 272 h 576"/>
                      <a:gd name="T48" fmla="*/ 89 w 367"/>
                      <a:gd name="T49" fmla="*/ 253 h 576"/>
                      <a:gd name="T50" fmla="*/ 53 w 367"/>
                      <a:gd name="T51" fmla="*/ 257 h 576"/>
                      <a:gd name="T52" fmla="*/ 0 w 367"/>
                      <a:gd name="T53" fmla="*/ 195 h 576"/>
                      <a:gd name="T54" fmla="*/ 18 w 367"/>
                      <a:gd name="T55" fmla="*/ 172 h 576"/>
                      <a:gd name="T56" fmla="*/ 13 w 367"/>
                      <a:gd name="T57" fmla="*/ 135 h 576"/>
                      <a:gd name="T58" fmla="*/ 57 w 367"/>
                      <a:gd name="T59" fmla="*/ 122 h 576"/>
                      <a:gd name="T60" fmla="*/ 73 w 367"/>
                      <a:gd name="T61" fmla="*/ 107 h 576"/>
                      <a:gd name="T62" fmla="*/ 47 w 367"/>
                      <a:gd name="T63" fmla="*/ 76 h 576"/>
                      <a:gd name="T64" fmla="*/ 50 w 367"/>
                      <a:gd name="T65" fmla="*/ 47 h 576"/>
                      <a:gd name="T66" fmla="*/ 103 w 367"/>
                      <a:gd name="T67" fmla="*/ 0 h 576"/>
                      <a:gd name="T68" fmla="*/ 152 w 367"/>
                      <a:gd name="T69" fmla="*/ 28 h 576"/>
                      <a:gd name="T70" fmla="*/ 200 w 367"/>
                      <a:gd name="T71" fmla="*/ 82 h 576"/>
                      <a:gd name="T72" fmla="*/ 207 w 367"/>
                      <a:gd name="T73" fmla="*/ 123 h 576"/>
                      <a:gd name="T74" fmla="*/ 233 w 367"/>
                      <a:gd name="T75" fmla="*/ 126 h 576"/>
                      <a:gd name="T76" fmla="*/ 275 w 367"/>
                      <a:gd name="T77" fmla="*/ 166 h 576"/>
                      <a:gd name="T78" fmla="*/ 305 w 367"/>
                      <a:gd name="T79" fmla="*/ 19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7" h="576">
                        <a:moveTo>
                          <a:pt x="305" y="194"/>
                        </a:moveTo>
                        <a:lnTo>
                          <a:pt x="299" y="267"/>
                        </a:lnTo>
                        <a:lnTo>
                          <a:pt x="257" y="288"/>
                        </a:lnTo>
                        <a:lnTo>
                          <a:pt x="262" y="307"/>
                        </a:lnTo>
                        <a:lnTo>
                          <a:pt x="250" y="350"/>
                        </a:lnTo>
                        <a:lnTo>
                          <a:pt x="285" y="408"/>
                        </a:lnTo>
                        <a:lnTo>
                          <a:pt x="309" y="408"/>
                        </a:lnTo>
                        <a:lnTo>
                          <a:pt x="320" y="455"/>
                        </a:lnTo>
                        <a:lnTo>
                          <a:pt x="367" y="525"/>
                        </a:lnTo>
                        <a:lnTo>
                          <a:pt x="349" y="527"/>
                        </a:lnTo>
                        <a:lnTo>
                          <a:pt x="309" y="521"/>
                        </a:lnTo>
                        <a:lnTo>
                          <a:pt x="287" y="542"/>
                        </a:lnTo>
                        <a:lnTo>
                          <a:pt x="255" y="557"/>
                        </a:lnTo>
                        <a:lnTo>
                          <a:pt x="233" y="560"/>
                        </a:lnTo>
                        <a:lnTo>
                          <a:pt x="225" y="576"/>
                        </a:lnTo>
                        <a:lnTo>
                          <a:pt x="189" y="572"/>
                        </a:lnTo>
                        <a:lnTo>
                          <a:pt x="144" y="533"/>
                        </a:lnTo>
                        <a:lnTo>
                          <a:pt x="138" y="496"/>
                        </a:lnTo>
                        <a:lnTo>
                          <a:pt x="118" y="456"/>
                        </a:lnTo>
                        <a:lnTo>
                          <a:pt x="125" y="386"/>
                        </a:lnTo>
                        <a:lnTo>
                          <a:pt x="144" y="357"/>
                        </a:lnTo>
                        <a:lnTo>
                          <a:pt x="125" y="320"/>
                        </a:lnTo>
                        <a:lnTo>
                          <a:pt x="100" y="307"/>
                        </a:lnTo>
                        <a:lnTo>
                          <a:pt x="108" y="272"/>
                        </a:lnTo>
                        <a:lnTo>
                          <a:pt x="89" y="253"/>
                        </a:lnTo>
                        <a:lnTo>
                          <a:pt x="53" y="257"/>
                        </a:lnTo>
                        <a:lnTo>
                          <a:pt x="0" y="195"/>
                        </a:lnTo>
                        <a:lnTo>
                          <a:pt x="18" y="172"/>
                        </a:lnTo>
                        <a:lnTo>
                          <a:pt x="13" y="135"/>
                        </a:lnTo>
                        <a:lnTo>
                          <a:pt x="57" y="122"/>
                        </a:lnTo>
                        <a:lnTo>
                          <a:pt x="73" y="107"/>
                        </a:lnTo>
                        <a:lnTo>
                          <a:pt x="47" y="76"/>
                        </a:lnTo>
                        <a:lnTo>
                          <a:pt x="50" y="47"/>
                        </a:lnTo>
                        <a:lnTo>
                          <a:pt x="103" y="0"/>
                        </a:lnTo>
                        <a:lnTo>
                          <a:pt x="152" y="28"/>
                        </a:lnTo>
                        <a:lnTo>
                          <a:pt x="200" y="82"/>
                        </a:lnTo>
                        <a:lnTo>
                          <a:pt x="207" y="123"/>
                        </a:lnTo>
                        <a:lnTo>
                          <a:pt x="233" y="126"/>
                        </a:lnTo>
                        <a:lnTo>
                          <a:pt x="275" y="166"/>
                        </a:lnTo>
                        <a:lnTo>
                          <a:pt x="305" y="19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7" name="Honduras" descr="{&quot;Key&quot;:&quot;honduras&quot;,&quot;Name&quot;:&quot;Honduras&quot;,&quot;Value&quot;:1.0,&quot;Formula&quot;:&quot;&quot;,&quot;Text&quot;:&quot;&quot;,&quot;OfficeApplication&quot;:1,&quot;HasValue&quot;:true}">
                    <a:extLst>
                      <a:ext uri="{FF2B5EF4-FFF2-40B4-BE49-F238E27FC236}">
                        <a16:creationId xmlns:a16="http://schemas.microsoft.com/office/drawing/2014/main" id="{47878CFB-C602-EFB3-685A-60C4D32555B8}"/>
                      </a:ext>
                    </a:extLst>
                  </p:cNvPr>
                  <p:cNvSpPr>
                    <a:spLocks/>
                  </p:cNvSpPr>
                  <p:nvPr/>
                </p:nvSpPr>
                <p:spPr bwMode="auto">
                  <a:xfrm>
                    <a:off x="6210" y="2422"/>
                    <a:ext cx="121" cy="68"/>
                  </a:xfrm>
                  <a:custGeom>
                    <a:avLst/>
                    <a:gdLst>
                      <a:gd name="T0" fmla="*/ 434 w 434"/>
                      <a:gd name="T1" fmla="*/ 83 h 246"/>
                      <a:gd name="T2" fmla="*/ 410 w 434"/>
                      <a:gd name="T3" fmla="*/ 81 h 246"/>
                      <a:gd name="T4" fmla="*/ 401 w 434"/>
                      <a:gd name="T5" fmla="*/ 92 h 246"/>
                      <a:gd name="T6" fmla="*/ 379 w 434"/>
                      <a:gd name="T7" fmla="*/ 103 h 246"/>
                      <a:gd name="T8" fmla="*/ 360 w 434"/>
                      <a:gd name="T9" fmla="*/ 103 h 246"/>
                      <a:gd name="T10" fmla="*/ 346 w 434"/>
                      <a:gd name="T11" fmla="*/ 113 h 246"/>
                      <a:gd name="T12" fmla="*/ 331 w 434"/>
                      <a:gd name="T13" fmla="*/ 109 h 246"/>
                      <a:gd name="T14" fmla="*/ 318 w 434"/>
                      <a:gd name="T15" fmla="*/ 97 h 246"/>
                      <a:gd name="T16" fmla="*/ 310 w 434"/>
                      <a:gd name="T17" fmla="*/ 99 h 246"/>
                      <a:gd name="T18" fmla="*/ 304 w 434"/>
                      <a:gd name="T19" fmla="*/ 118 h 246"/>
                      <a:gd name="T20" fmla="*/ 298 w 434"/>
                      <a:gd name="T21" fmla="*/ 118 h 246"/>
                      <a:gd name="T22" fmla="*/ 299 w 434"/>
                      <a:gd name="T23" fmla="*/ 134 h 246"/>
                      <a:gd name="T24" fmla="*/ 276 w 434"/>
                      <a:gd name="T25" fmla="*/ 157 h 246"/>
                      <a:gd name="T26" fmla="*/ 265 w 434"/>
                      <a:gd name="T27" fmla="*/ 167 h 246"/>
                      <a:gd name="T28" fmla="*/ 259 w 434"/>
                      <a:gd name="T29" fmla="*/ 177 h 246"/>
                      <a:gd name="T30" fmla="*/ 236 w 434"/>
                      <a:gd name="T31" fmla="*/ 161 h 246"/>
                      <a:gd name="T32" fmla="*/ 224 w 434"/>
                      <a:gd name="T33" fmla="*/ 182 h 246"/>
                      <a:gd name="T34" fmla="*/ 209 w 434"/>
                      <a:gd name="T35" fmla="*/ 182 h 246"/>
                      <a:gd name="T36" fmla="*/ 191 w 434"/>
                      <a:gd name="T37" fmla="*/ 183 h 246"/>
                      <a:gd name="T38" fmla="*/ 199 w 434"/>
                      <a:gd name="T39" fmla="*/ 223 h 246"/>
                      <a:gd name="T40" fmla="*/ 187 w 434"/>
                      <a:gd name="T41" fmla="*/ 224 h 246"/>
                      <a:gd name="T42" fmla="*/ 181 w 434"/>
                      <a:gd name="T43" fmla="*/ 243 h 246"/>
                      <a:gd name="T44" fmla="*/ 160 w 434"/>
                      <a:gd name="T45" fmla="*/ 246 h 246"/>
                      <a:gd name="T46" fmla="*/ 144 w 434"/>
                      <a:gd name="T47" fmla="*/ 221 h 246"/>
                      <a:gd name="T48" fmla="*/ 121 w 434"/>
                      <a:gd name="T49" fmla="*/ 213 h 246"/>
                      <a:gd name="T50" fmla="*/ 122 w 434"/>
                      <a:gd name="T51" fmla="*/ 181 h 246"/>
                      <a:gd name="T52" fmla="*/ 111 w 434"/>
                      <a:gd name="T53" fmla="*/ 172 h 246"/>
                      <a:gd name="T54" fmla="*/ 96 w 434"/>
                      <a:gd name="T55" fmla="*/ 167 h 246"/>
                      <a:gd name="T56" fmla="*/ 66 w 434"/>
                      <a:gd name="T57" fmla="*/ 176 h 246"/>
                      <a:gd name="T58" fmla="*/ 62 w 434"/>
                      <a:gd name="T59" fmla="*/ 166 h 246"/>
                      <a:gd name="T60" fmla="*/ 39 w 434"/>
                      <a:gd name="T61" fmla="*/ 152 h 246"/>
                      <a:gd name="T62" fmla="*/ 21 w 434"/>
                      <a:gd name="T63" fmla="*/ 135 h 246"/>
                      <a:gd name="T64" fmla="*/ 0 w 434"/>
                      <a:gd name="T65" fmla="*/ 129 h 246"/>
                      <a:gd name="T66" fmla="*/ 11 w 434"/>
                      <a:gd name="T67" fmla="*/ 108 h 246"/>
                      <a:gd name="T68" fmla="*/ 4 w 434"/>
                      <a:gd name="T69" fmla="*/ 92 h 246"/>
                      <a:gd name="T70" fmla="*/ 6 w 434"/>
                      <a:gd name="T71" fmla="*/ 77 h 246"/>
                      <a:gd name="T72" fmla="*/ 36 w 434"/>
                      <a:gd name="T73" fmla="*/ 54 h 246"/>
                      <a:gd name="T74" fmla="*/ 64 w 434"/>
                      <a:gd name="T75" fmla="*/ 23 h 246"/>
                      <a:gd name="T76" fmla="*/ 72 w 434"/>
                      <a:gd name="T77" fmla="*/ 25 h 246"/>
                      <a:gd name="T78" fmla="*/ 85 w 434"/>
                      <a:gd name="T79" fmla="*/ 12 h 246"/>
                      <a:gd name="T80" fmla="*/ 106 w 434"/>
                      <a:gd name="T81" fmla="*/ 10 h 246"/>
                      <a:gd name="T82" fmla="*/ 114 w 434"/>
                      <a:gd name="T83" fmla="*/ 17 h 246"/>
                      <a:gd name="T84" fmla="*/ 124 w 434"/>
                      <a:gd name="T85" fmla="*/ 13 h 246"/>
                      <a:gd name="T86" fmla="*/ 157 w 434"/>
                      <a:gd name="T87" fmla="*/ 20 h 246"/>
                      <a:gd name="T88" fmla="*/ 190 w 434"/>
                      <a:gd name="T89" fmla="*/ 18 h 246"/>
                      <a:gd name="T90" fmla="*/ 211 w 434"/>
                      <a:gd name="T91" fmla="*/ 9 h 246"/>
                      <a:gd name="T92" fmla="*/ 219 w 434"/>
                      <a:gd name="T93" fmla="*/ 0 h 246"/>
                      <a:gd name="T94" fmla="*/ 242 w 434"/>
                      <a:gd name="T95" fmla="*/ 4 h 246"/>
                      <a:gd name="T96" fmla="*/ 260 w 434"/>
                      <a:gd name="T97" fmla="*/ 10 h 246"/>
                      <a:gd name="T98" fmla="*/ 277 w 434"/>
                      <a:gd name="T99" fmla="*/ 8 h 246"/>
                      <a:gd name="T100" fmla="*/ 291 w 434"/>
                      <a:gd name="T101" fmla="*/ 0 h 246"/>
                      <a:gd name="T102" fmla="*/ 325 w 434"/>
                      <a:gd name="T103" fmla="*/ 13 h 246"/>
                      <a:gd name="T104" fmla="*/ 336 w 434"/>
                      <a:gd name="T105" fmla="*/ 14 h 246"/>
                      <a:gd name="T106" fmla="*/ 361 w 434"/>
                      <a:gd name="T107" fmla="*/ 29 h 246"/>
                      <a:gd name="T108" fmla="*/ 384 w 434"/>
                      <a:gd name="T109" fmla="*/ 48 h 246"/>
                      <a:gd name="T110" fmla="*/ 412 w 434"/>
                      <a:gd name="T111" fmla="*/ 60 h 246"/>
                      <a:gd name="T112" fmla="*/ 434 w 434"/>
                      <a:gd name="T113" fmla="*/ 8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4" h="246">
                        <a:moveTo>
                          <a:pt x="434" y="83"/>
                        </a:moveTo>
                        <a:lnTo>
                          <a:pt x="410" y="81"/>
                        </a:lnTo>
                        <a:lnTo>
                          <a:pt x="401" y="92"/>
                        </a:lnTo>
                        <a:lnTo>
                          <a:pt x="379" y="103"/>
                        </a:lnTo>
                        <a:lnTo>
                          <a:pt x="360" y="103"/>
                        </a:lnTo>
                        <a:lnTo>
                          <a:pt x="346" y="113"/>
                        </a:lnTo>
                        <a:lnTo>
                          <a:pt x="331" y="109"/>
                        </a:lnTo>
                        <a:lnTo>
                          <a:pt x="318" y="97"/>
                        </a:lnTo>
                        <a:lnTo>
                          <a:pt x="310" y="99"/>
                        </a:lnTo>
                        <a:lnTo>
                          <a:pt x="304" y="118"/>
                        </a:lnTo>
                        <a:lnTo>
                          <a:pt x="298" y="118"/>
                        </a:lnTo>
                        <a:lnTo>
                          <a:pt x="299" y="134"/>
                        </a:lnTo>
                        <a:lnTo>
                          <a:pt x="276" y="157"/>
                        </a:lnTo>
                        <a:lnTo>
                          <a:pt x="265" y="167"/>
                        </a:lnTo>
                        <a:lnTo>
                          <a:pt x="259" y="177"/>
                        </a:lnTo>
                        <a:lnTo>
                          <a:pt x="236" y="161"/>
                        </a:lnTo>
                        <a:lnTo>
                          <a:pt x="224" y="182"/>
                        </a:lnTo>
                        <a:lnTo>
                          <a:pt x="209" y="182"/>
                        </a:lnTo>
                        <a:lnTo>
                          <a:pt x="191" y="183"/>
                        </a:lnTo>
                        <a:lnTo>
                          <a:pt x="199" y="223"/>
                        </a:lnTo>
                        <a:lnTo>
                          <a:pt x="187" y="224"/>
                        </a:lnTo>
                        <a:lnTo>
                          <a:pt x="181" y="243"/>
                        </a:lnTo>
                        <a:lnTo>
                          <a:pt x="160" y="246"/>
                        </a:lnTo>
                        <a:lnTo>
                          <a:pt x="144" y="221"/>
                        </a:lnTo>
                        <a:lnTo>
                          <a:pt x="121" y="213"/>
                        </a:lnTo>
                        <a:lnTo>
                          <a:pt x="122" y="181"/>
                        </a:lnTo>
                        <a:lnTo>
                          <a:pt x="111" y="172"/>
                        </a:lnTo>
                        <a:lnTo>
                          <a:pt x="96" y="167"/>
                        </a:lnTo>
                        <a:lnTo>
                          <a:pt x="66" y="176"/>
                        </a:lnTo>
                        <a:lnTo>
                          <a:pt x="62" y="166"/>
                        </a:lnTo>
                        <a:lnTo>
                          <a:pt x="39" y="152"/>
                        </a:lnTo>
                        <a:lnTo>
                          <a:pt x="21" y="135"/>
                        </a:lnTo>
                        <a:lnTo>
                          <a:pt x="0" y="129"/>
                        </a:lnTo>
                        <a:lnTo>
                          <a:pt x="11" y="108"/>
                        </a:lnTo>
                        <a:lnTo>
                          <a:pt x="4" y="92"/>
                        </a:lnTo>
                        <a:lnTo>
                          <a:pt x="6" y="77"/>
                        </a:lnTo>
                        <a:lnTo>
                          <a:pt x="36" y="54"/>
                        </a:lnTo>
                        <a:lnTo>
                          <a:pt x="64" y="23"/>
                        </a:lnTo>
                        <a:lnTo>
                          <a:pt x="72" y="25"/>
                        </a:lnTo>
                        <a:lnTo>
                          <a:pt x="85" y="12"/>
                        </a:lnTo>
                        <a:lnTo>
                          <a:pt x="106" y="10"/>
                        </a:lnTo>
                        <a:lnTo>
                          <a:pt x="114" y="17"/>
                        </a:lnTo>
                        <a:lnTo>
                          <a:pt x="124" y="13"/>
                        </a:lnTo>
                        <a:lnTo>
                          <a:pt x="157" y="20"/>
                        </a:lnTo>
                        <a:lnTo>
                          <a:pt x="190" y="18"/>
                        </a:lnTo>
                        <a:lnTo>
                          <a:pt x="211" y="9"/>
                        </a:lnTo>
                        <a:lnTo>
                          <a:pt x="219" y="0"/>
                        </a:lnTo>
                        <a:lnTo>
                          <a:pt x="242" y="4"/>
                        </a:lnTo>
                        <a:lnTo>
                          <a:pt x="260" y="10"/>
                        </a:lnTo>
                        <a:lnTo>
                          <a:pt x="277" y="8"/>
                        </a:lnTo>
                        <a:lnTo>
                          <a:pt x="291" y="0"/>
                        </a:lnTo>
                        <a:lnTo>
                          <a:pt x="325" y="13"/>
                        </a:lnTo>
                        <a:lnTo>
                          <a:pt x="336" y="14"/>
                        </a:lnTo>
                        <a:lnTo>
                          <a:pt x="361" y="29"/>
                        </a:lnTo>
                        <a:lnTo>
                          <a:pt x="384" y="48"/>
                        </a:lnTo>
                        <a:lnTo>
                          <a:pt x="412" y="60"/>
                        </a:lnTo>
                        <a:lnTo>
                          <a:pt x="434" y="8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8" name="Croatia" descr="{&quot;Key&quot;:&quot;croatia&quot;,&quot;Name&quot;:&quot;Croatia&quot;,&quot;Value&quot;:1.0,&quot;Formula&quot;:&quot;&quot;,&quot;Text&quot;:&quot;&quot;,&quot;OfficeApplication&quot;:1,&quot;HasValue&quot;:true}">
                    <a:extLst>
                      <a:ext uri="{FF2B5EF4-FFF2-40B4-BE49-F238E27FC236}">
                        <a16:creationId xmlns:a16="http://schemas.microsoft.com/office/drawing/2014/main" id="{BDBF2A54-A95D-3F5D-ACAA-37BC4FA3DAD3}"/>
                      </a:ext>
                    </a:extLst>
                  </p:cNvPr>
                  <p:cNvSpPr>
                    <a:spLocks/>
                  </p:cNvSpPr>
                  <p:nvPr/>
                </p:nvSpPr>
                <p:spPr bwMode="auto">
                  <a:xfrm>
                    <a:off x="1373" y="1733"/>
                    <a:ext cx="104" cy="90"/>
                  </a:xfrm>
                  <a:custGeom>
                    <a:avLst/>
                    <a:gdLst>
                      <a:gd name="T0" fmla="*/ 372 w 373"/>
                      <a:gd name="T1" fmla="*/ 48 h 323"/>
                      <a:gd name="T2" fmla="*/ 367 w 373"/>
                      <a:gd name="T3" fmla="*/ 79 h 323"/>
                      <a:gd name="T4" fmla="*/ 373 w 373"/>
                      <a:gd name="T5" fmla="*/ 102 h 323"/>
                      <a:gd name="T6" fmla="*/ 330 w 373"/>
                      <a:gd name="T7" fmla="*/ 132 h 323"/>
                      <a:gd name="T8" fmla="*/ 312 w 373"/>
                      <a:gd name="T9" fmla="*/ 114 h 323"/>
                      <a:gd name="T10" fmla="*/ 267 w 373"/>
                      <a:gd name="T11" fmla="*/ 115 h 323"/>
                      <a:gd name="T12" fmla="*/ 220 w 373"/>
                      <a:gd name="T13" fmla="*/ 102 h 323"/>
                      <a:gd name="T14" fmla="*/ 188 w 373"/>
                      <a:gd name="T15" fmla="*/ 104 h 323"/>
                      <a:gd name="T16" fmla="*/ 165 w 373"/>
                      <a:gd name="T17" fmla="*/ 120 h 323"/>
                      <a:gd name="T18" fmla="*/ 153 w 373"/>
                      <a:gd name="T19" fmla="*/ 102 h 323"/>
                      <a:gd name="T20" fmla="*/ 118 w 373"/>
                      <a:gd name="T21" fmla="*/ 135 h 323"/>
                      <a:gd name="T22" fmla="*/ 126 w 373"/>
                      <a:gd name="T23" fmla="*/ 173 h 323"/>
                      <a:gd name="T24" fmla="*/ 123 w 373"/>
                      <a:gd name="T25" fmla="*/ 197 h 323"/>
                      <a:gd name="T26" fmla="*/ 135 w 373"/>
                      <a:gd name="T27" fmla="*/ 227 h 323"/>
                      <a:gd name="T28" fmla="*/ 148 w 373"/>
                      <a:gd name="T29" fmla="*/ 245 h 323"/>
                      <a:gd name="T30" fmla="*/ 152 w 373"/>
                      <a:gd name="T31" fmla="*/ 278 h 323"/>
                      <a:gd name="T32" fmla="*/ 191 w 373"/>
                      <a:gd name="T33" fmla="*/ 309 h 323"/>
                      <a:gd name="T34" fmla="*/ 176 w 373"/>
                      <a:gd name="T35" fmla="*/ 323 h 323"/>
                      <a:gd name="T36" fmla="*/ 132 w 373"/>
                      <a:gd name="T37" fmla="*/ 293 h 323"/>
                      <a:gd name="T38" fmla="*/ 112 w 373"/>
                      <a:gd name="T39" fmla="*/ 264 h 323"/>
                      <a:gd name="T40" fmla="*/ 68 w 373"/>
                      <a:gd name="T41" fmla="*/ 240 h 323"/>
                      <a:gd name="T42" fmla="*/ 51 w 373"/>
                      <a:gd name="T43" fmla="*/ 182 h 323"/>
                      <a:gd name="T44" fmla="*/ 68 w 373"/>
                      <a:gd name="T45" fmla="*/ 175 h 323"/>
                      <a:gd name="T46" fmla="*/ 61 w 373"/>
                      <a:gd name="T47" fmla="*/ 142 h 323"/>
                      <a:gd name="T48" fmla="*/ 77 w 373"/>
                      <a:gd name="T49" fmla="*/ 114 h 323"/>
                      <a:gd name="T50" fmla="*/ 43 w 373"/>
                      <a:gd name="T51" fmla="*/ 102 h 323"/>
                      <a:gd name="T52" fmla="*/ 1 w 373"/>
                      <a:gd name="T53" fmla="*/ 137 h 323"/>
                      <a:gd name="T54" fmla="*/ 0 w 373"/>
                      <a:gd name="T55" fmla="*/ 109 h 323"/>
                      <a:gd name="T56" fmla="*/ 20 w 373"/>
                      <a:gd name="T57" fmla="*/ 82 h 323"/>
                      <a:gd name="T58" fmla="*/ 22 w 373"/>
                      <a:gd name="T59" fmla="*/ 80 h 323"/>
                      <a:gd name="T60" fmla="*/ 66 w 373"/>
                      <a:gd name="T61" fmla="*/ 83 h 323"/>
                      <a:gd name="T62" fmla="*/ 86 w 373"/>
                      <a:gd name="T63" fmla="*/ 70 h 323"/>
                      <a:gd name="T64" fmla="*/ 100 w 373"/>
                      <a:gd name="T65" fmla="*/ 83 h 323"/>
                      <a:gd name="T66" fmla="*/ 123 w 373"/>
                      <a:gd name="T67" fmla="*/ 84 h 323"/>
                      <a:gd name="T68" fmla="*/ 138 w 373"/>
                      <a:gd name="T69" fmla="*/ 62 h 323"/>
                      <a:gd name="T70" fmla="*/ 166 w 373"/>
                      <a:gd name="T71" fmla="*/ 54 h 323"/>
                      <a:gd name="T72" fmla="*/ 193 w 373"/>
                      <a:gd name="T73" fmla="*/ 22 h 323"/>
                      <a:gd name="T74" fmla="*/ 258 w 373"/>
                      <a:gd name="T75" fmla="*/ 0 h 323"/>
                      <a:gd name="T76" fmla="*/ 272 w 373"/>
                      <a:gd name="T77" fmla="*/ 10 h 323"/>
                      <a:gd name="T78" fmla="*/ 297 w 373"/>
                      <a:gd name="T79" fmla="*/ 44 h 323"/>
                      <a:gd name="T80" fmla="*/ 340 w 373"/>
                      <a:gd name="T81" fmla="*/ 60 h 323"/>
                      <a:gd name="T82" fmla="*/ 372 w 373"/>
                      <a:gd name="T83" fmla="*/ 48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3" h="323">
                        <a:moveTo>
                          <a:pt x="372" y="48"/>
                        </a:moveTo>
                        <a:lnTo>
                          <a:pt x="367" y="79"/>
                        </a:lnTo>
                        <a:lnTo>
                          <a:pt x="373" y="102"/>
                        </a:lnTo>
                        <a:lnTo>
                          <a:pt x="330" y="132"/>
                        </a:lnTo>
                        <a:lnTo>
                          <a:pt x="312" y="114"/>
                        </a:lnTo>
                        <a:lnTo>
                          <a:pt x="267" y="115"/>
                        </a:lnTo>
                        <a:lnTo>
                          <a:pt x="220" y="102"/>
                        </a:lnTo>
                        <a:lnTo>
                          <a:pt x="188" y="104"/>
                        </a:lnTo>
                        <a:lnTo>
                          <a:pt x="165" y="120"/>
                        </a:lnTo>
                        <a:lnTo>
                          <a:pt x="153" y="102"/>
                        </a:lnTo>
                        <a:lnTo>
                          <a:pt x="118" y="135"/>
                        </a:lnTo>
                        <a:lnTo>
                          <a:pt x="126" y="173"/>
                        </a:lnTo>
                        <a:lnTo>
                          <a:pt x="123" y="197"/>
                        </a:lnTo>
                        <a:lnTo>
                          <a:pt x="135" y="227"/>
                        </a:lnTo>
                        <a:lnTo>
                          <a:pt x="148" y="245"/>
                        </a:lnTo>
                        <a:lnTo>
                          <a:pt x="152" y="278"/>
                        </a:lnTo>
                        <a:lnTo>
                          <a:pt x="191" y="309"/>
                        </a:lnTo>
                        <a:lnTo>
                          <a:pt x="176" y="323"/>
                        </a:lnTo>
                        <a:lnTo>
                          <a:pt x="132" y="293"/>
                        </a:lnTo>
                        <a:lnTo>
                          <a:pt x="112" y="264"/>
                        </a:lnTo>
                        <a:lnTo>
                          <a:pt x="68" y="240"/>
                        </a:lnTo>
                        <a:lnTo>
                          <a:pt x="51" y="182"/>
                        </a:lnTo>
                        <a:lnTo>
                          <a:pt x="68" y="175"/>
                        </a:lnTo>
                        <a:lnTo>
                          <a:pt x="61" y="142"/>
                        </a:lnTo>
                        <a:lnTo>
                          <a:pt x="77" y="114"/>
                        </a:lnTo>
                        <a:lnTo>
                          <a:pt x="43" y="102"/>
                        </a:lnTo>
                        <a:lnTo>
                          <a:pt x="1" y="137"/>
                        </a:lnTo>
                        <a:lnTo>
                          <a:pt x="0" y="109"/>
                        </a:lnTo>
                        <a:lnTo>
                          <a:pt x="20" y="82"/>
                        </a:lnTo>
                        <a:lnTo>
                          <a:pt x="22" y="80"/>
                        </a:lnTo>
                        <a:lnTo>
                          <a:pt x="66" y="83"/>
                        </a:lnTo>
                        <a:lnTo>
                          <a:pt x="86" y="70"/>
                        </a:lnTo>
                        <a:lnTo>
                          <a:pt x="100" y="83"/>
                        </a:lnTo>
                        <a:lnTo>
                          <a:pt x="123" y="84"/>
                        </a:lnTo>
                        <a:lnTo>
                          <a:pt x="138" y="62"/>
                        </a:lnTo>
                        <a:lnTo>
                          <a:pt x="166" y="54"/>
                        </a:lnTo>
                        <a:lnTo>
                          <a:pt x="193" y="22"/>
                        </a:lnTo>
                        <a:lnTo>
                          <a:pt x="258" y="0"/>
                        </a:lnTo>
                        <a:lnTo>
                          <a:pt x="272" y="10"/>
                        </a:lnTo>
                        <a:lnTo>
                          <a:pt x="297" y="44"/>
                        </a:lnTo>
                        <a:lnTo>
                          <a:pt x="340" y="60"/>
                        </a:lnTo>
                        <a:lnTo>
                          <a:pt x="372" y="4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49" name="Haiti" descr="{&quot;Key&quot;:&quot;haiti&quot;,&quot;Name&quot;:&quot;Haiti&quot;,&quot;Value&quot;:1.0,&quot;Formula&quot;:&quot;&quot;,&quot;Text&quot;:&quot;&quot;,&quot;OfficeApplication&quot;:1,&quot;HasValue&quot;:true}">
                    <a:extLst>
                      <a:ext uri="{FF2B5EF4-FFF2-40B4-BE49-F238E27FC236}">
                        <a16:creationId xmlns:a16="http://schemas.microsoft.com/office/drawing/2014/main" id="{22E899D0-F080-F42B-FE9C-4D52AC497966}"/>
                      </a:ext>
                    </a:extLst>
                  </p:cNvPr>
                  <p:cNvSpPr>
                    <a:spLocks/>
                  </p:cNvSpPr>
                  <p:nvPr/>
                </p:nvSpPr>
                <p:spPr bwMode="auto">
                  <a:xfrm>
                    <a:off x="6490" y="2333"/>
                    <a:ext cx="55" cy="43"/>
                  </a:xfrm>
                  <a:custGeom>
                    <a:avLst/>
                    <a:gdLst>
                      <a:gd name="T0" fmla="*/ 171 w 198"/>
                      <a:gd name="T1" fmla="*/ 16 h 153"/>
                      <a:gd name="T2" fmla="*/ 186 w 198"/>
                      <a:gd name="T3" fmla="*/ 60 h 153"/>
                      <a:gd name="T4" fmla="*/ 187 w 198"/>
                      <a:gd name="T5" fmla="*/ 91 h 153"/>
                      <a:gd name="T6" fmla="*/ 173 w 198"/>
                      <a:gd name="T7" fmla="*/ 105 h 153"/>
                      <a:gd name="T8" fmla="*/ 196 w 198"/>
                      <a:gd name="T9" fmla="*/ 130 h 153"/>
                      <a:gd name="T10" fmla="*/ 198 w 198"/>
                      <a:gd name="T11" fmla="*/ 151 h 153"/>
                      <a:gd name="T12" fmla="*/ 150 w 198"/>
                      <a:gd name="T13" fmla="*/ 138 h 153"/>
                      <a:gd name="T14" fmla="*/ 117 w 198"/>
                      <a:gd name="T15" fmla="*/ 144 h 153"/>
                      <a:gd name="T16" fmla="*/ 72 w 198"/>
                      <a:gd name="T17" fmla="*/ 138 h 153"/>
                      <a:gd name="T18" fmla="*/ 42 w 198"/>
                      <a:gd name="T19" fmla="*/ 153 h 153"/>
                      <a:gd name="T20" fmla="*/ 0 w 198"/>
                      <a:gd name="T21" fmla="*/ 128 h 153"/>
                      <a:gd name="T22" fmla="*/ 1 w 198"/>
                      <a:gd name="T23" fmla="*/ 101 h 153"/>
                      <a:gd name="T24" fmla="*/ 68 w 198"/>
                      <a:gd name="T25" fmla="*/ 112 h 153"/>
                      <a:gd name="T26" fmla="*/ 122 w 198"/>
                      <a:gd name="T27" fmla="*/ 119 h 153"/>
                      <a:gd name="T28" fmla="*/ 145 w 198"/>
                      <a:gd name="T29" fmla="*/ 101 h 153"/>
                      <a:gd name="T30" fmla="*/ 104 w 198"/>
                      <a:gd name="T31" fmla="*/ 66 h 153"/>
                      <a:gd name="T32" fmla="*/ 99 w 198"/>
                      <a:gd name="T33" fmla="*/ 35 h 153"/>
                      <a:gd name="T34" fmla="*/ 52 w 198"/>
                      <a:gd name="T35" fmla="*/ 23 h 153"/>
                      <a:gd name="T36" fmla="*/ 63 w 198"/>
                      <a:gd name="T37" fmla="*/ 0 h 153"/>
                      <a:gd name="T38" fmla="*/ 107 w 198"/>
                      <a:gd name="T39" fmla="*/ 2 h 153"/>
                      <a:gd name="T40" fmla="*/ 171 w 198"/>
                      <a:gd name="T41" fmla="*/ 1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8" h="153">
                        <a:moveTo>
                          <a:pt x="171" y="16"/>
                        </a:moveTo>
                        <a:lnTo>
                          <a:pt x="186" y="60"/>
                        </a:lnTo>
                        <a:lnTo>
                          <a:pt x="187" y="91"/>
                        </a:lnTo>
                        <a:lnTo>
                          <a:pt x="173" y="105"/>
                        </a:lnTo>
                        <a:lnTo>
                          <a:pt x="196" y="130"/>
                        </a:lnTo>
                        <a:lnTo>
                          <a:pt x="198" y="151"/>
                        </a:lnTo>
                        <a:lnTo>
                          <a:pt x="150" y="138"/>
                        </a:lnTo>
                        <a:lnTo>
                          <a:pt x="117" y="144"/>
                        </a:lnTo>
                        <a:lnTo>
                          <a:pt x="72" y="138"/>
                        </a:lnTo>
                        <a:lnTo>
                          <a:pt x="42" y="153"/>
                        </a:lnTo>
                        <a:lnTo>
                          <a:pt x="0" y="128"/>
                        </a:lnTo>
                        <a:lnTo>
                          <a:pt x="1" y="101"/>
                        </a:lnTo>
                        <a:lnTo>
                          <a:pt x="68" y="112"/>
                        </a:lnTo>
                        <a:lnTo>
                          <a:pt x="122" y="119"/>
                        </a:lnTo>
                        <a:lnTo>
                          <a:pt x="145" y="101"/>
                        </a:lnTo>
                        <a:lnTo>
                          <a:pt x="104" y="66"/>
                        </a:lnTo>
                        <a:lnTo>
                          <a:pt x="99" y="35"/>
                        </a:lnTo>
                        <a:lnTo>
                          <a:pt x="52" y="23"/>
                        </a:lnTo>
                        <a:lnTo>
                          <a:pt x="63" y="0"/>
                        </a:lnTo>
                        <a:lnTo>
                          <a:pt x="107" y="2"/>
                        </a:lnTo>
                        <a:lnTo>
                          <a:pt x="171" y="1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0" name="Hungary" descr="{&quot;Key&quot;:&quot;hungary&quot;,&quot;Name&quot;:&quot;Hungary&quot;,&quot;Value&quot;:1.0,&quot;Formula&quot;:&quot;&quot;,&quot;Text&quot;:&quot;&quot;,&quot;OfficeApplication&quot;:1,&quot;HasValue&quot;:true}">
                    <a:extLst>
                      <a:ext uri="{FF2B5EF4-FFF2-40B4-BE49-F238E27FC236}">
                        <a16:creationId xmlns:a16="http://schemas.microsoft.com/office/drawing/2014/main" id="{12F14E20-918B-176B-AC06-A3112E41B562}"/>
                      </a:ext>
                    </a:extLst>
                  </p:cNvPr>
                  <p:cNvSpPr>
                    <a:spLocks/>
                  </p:cNvSpPr>
                  <p:nvPr/>
                </p:nvSpPr>
                <p:spPr bwMode="auto">
                  <a:xfrm>
                    <a:off x="1444" y="1686"/>
                    <a:ext cx="133" cy="63"/>
                  </a:xfrm>
                  <a:custGeom>
                    <a:avLst/>
                    <a:gdLst>
                      <a:gd name="T0" fmla="*/ 455 w 477"/>
                      <a:gd name="T1" fmla="*/ 15 h 227"/>
                      <a:gd name="T2" fmla="*/ 477 w 477"/>
                      <a:gd name="T3" fmla="*/ 37 h 227"/>
                      <a:gd name="T4" fmla="*/ 467 w 477"/>
                      <a:gd name="T5" fmla="*/ 59 h 227"/>
                      <a:gd name="T6" fmla="*/ 418 w 477"/>
                      <a:gd name="T7" fmla="*/ 75 h 227"/>
                      <a:gd name="T8" fmla="*/ 353 w 477"/>
                      <a:gd name="T9" fmla="*/ 129 h 227"/>
                      <a:gd name="T10" fmla="*/ 279 w 477"/>
                      <a:gd name="T11" fmla="*/ 182 h 227"/>
                      <a:gd name="T12" fmla="*/ 219 w 477"/>
                      <a:gd name="T13" fmla="*/ 197 h 227"/>
                      <a:gd name="T14" fmla="*/ 182 w 477"/>
                      <a:gd name="T15" fmla="*/ 194 h 227"/>
                      <a:gd name="T16" fmla="*/ 119 w 477"/>
                      <a:gd name="T17" fmla="*/ 215 h 227"/>
                      <a:gd name="T18" fmla="*/ 87 w 477"/>
                      <a:gd name="T19" fmla="*/ 227 h 227"/>
                      <a:gd name="T20" fmla="*/ 44 w 477"/>
                      <a:gd name="T21" fmla="*/ 211 h 227"/>
                      <a:gd name="T22" fmla="*/ 19 w 477"/>
                      <a:gd name="T23" fmla="*/ 177 h 227"/>
                      <a:gd name="T24" fmla="*/ 5 w 477"/>
                      <a:gd name="T25" fmla="*/ 167 h 227"/>
                      <a:gd name="T26" fmla="*/ 10 w 477"/>
                      <a:gd name="T27" fmla="*/ 141 h 227"/>
                      <a:gd name="T28" fmla="*/ 0 w 477"/>
                      <a:gd name="T29" fmla="*/ 140 h 227"/>
                      <a:gd name="T30" fmla="*/ 55 w 477"/>
                      <a:gd name="T31" fmla="*/ 89 h 227"/>
                      <a:gd name="T32" fmla="*/ 55 w 477"/>
                      <a:gd name="T33" fmla="*/ 71 h 227"/>
                      <a:gd name="T34" fmla="*/ 90 w 477"/>
                      <a:gd name="T35" fmla="*/ 71 h 227"/>
                      <a:gd name="T36" fmla="*/ 118 w 477"/>
                      <a:gd name="T37" fmla="*/ 39 h 227"/>
                      <a:gd name="T38" fmla="*/ 136 w 477"/>
                      <a:gd name="T39" fmla="*/ 60 h 227"/>
                      <a:gd name="T40" fmla="*/ 154 w 477"/>
                      <a:gd name="T41" fmla="*/ 67 h 227"/>
                      <a:gd name="T42" fmla="*/ 213 w 477"/>
                      <a:gd name="T43" fmla="*/ 59 h 227"/>
                      <a:gd name="T44" fmla="*/ 229 w 477"/>
                      <a:gd name="T45" fmla="*/ 42 h 227"/>
                      <a:gd name="T46" fmla="*/ 255 w 477"/>
                      <a:gd name="T47" fmla="*/ 40 h 227"/>
                      <a:gd name="T48" fmla="*/ 295 w 477"/>
                      <a:gd name="T49" fmla="*/ 27 h 227"/>
                      <a:gd name="T50" fmla="*/ 298 w 477"/>
                      <a:gd name="T51" fmla="*/ 32 h 227"/>
                      <a:gd name="T52" fmla="*/ 334 w 477"/>
                      <a:gd name="T53" fmla="*/ 22 h 227"/>
                      <a:gd name="T54" fmla="*/ 361 w 477"/>
                      <a:gd name="T55" fmla="*/ 4 h 227"/>
                      <a:gd name="T56" fmla="*/ 385 w 477"/>
                      <a:gd name="T57" fmla="*/ 0 h 227"/>
                      <a:gd name="T58" fmla="*/ 436 w 477"/>
                      <a:gd name="T59" fmla="*/ 24 h 227"/>
                      <a:gd name="T60" fmla="*/ 455 w 477"/>
                      <a:gd name="T61" fmla="*/ 1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7" h="227">
                        <a:moveTo>
                          <a:pt x="455" y="15"/>
                        </a:moveTo>
                        <a:lnTo>
                          <a:pt x="477" y="37"/>
                        </a:lnTo>
                        <a:lnTo>
                          <a:pt x="467" y="59"/>
                        </a:lnTo>
                        <a:lnTo>
                          <a:pt x="418" y="75"/>
                        </a:lnTo>
                        <a:lnTo>
                          <a:pt x="353" y="129"/>
                        </a:lnTo>
                        <a:lnTo>
                          <a:pt x="279" y="182"/>
                        </a:lnTo>
                        <a:lnTo>
                          <a:pt x="219" y="197"/>
                        </a:lnTo>
                        <a:lnTo>
                          <a:pt x="182" y="194"/>
                        </a:lnTo>
                        <a:lnTo>
                          <a:pt x="119" y="215"/>
                        </a:lnTo>
                        <a:lnTo>
                          <a:pt x="87" y="227"/>
                        </a:lnTo>
                        <a:lnTo>
                          <a:pt x="44" y="211"/>
                        </a:lnTo>
                        <a:lnTo>
                          <a:pt x="19" y="177"/>
                        </a:lnTo>
                        <a:lnTo>
                          <a:pt x="5" y="167"/>
                        </a:lnTo>
                        <a:lnTo>
                          <a:pt x="10" y="141"/>
                        </a:lnTo>
                        <a:lnTo>
                          <a:pt x="0" y="140"/>
                        </a:lnTo>
                        <a:lnTo>
                          <a:pt x="55" y="89"/>
                        </a:lnTo>
                        <a:lnTo>
                          <a:pt x="55" y="71"/>
                        </a:lnTo>
                        <a:lnTo>
                          <a:pt x="90" y="71"/>
                        </a:lnTo>
                        <a:lnTo>
                          <a:pt x="118" y="39"/>
                        </a:lnTo>
                        <a:lnTo>
                          <a:pt x="136" y="60"/>
                        </a:lnTo>
                        <a:lnTo>
                          <a:pt x="154" y="67"/>
                        </a:lnTo>
                        <a:lnTo>
                          <a:pt x="213" y="59"/>
                        </a:lnTo>
                        <a:lnTo>
                          <a:pt x="229" y="42"/>
                        </a:lnTo>
                        <a:lnTo>
                          <a:pt x="255" y="40"/>
                        </a:lnTo>
                        <a:lnTo>
                          <a:pt x="295" y="27"/>
                        </a:lnTo>
                        <a:lnTo>
                          <a:pt x="298" y="32"/>
                        </a:lnTo>
                        <a:lnTo>
                          <a:pt x="334" y="22"/>
                        </a:lnTo>
                        <a:lnTo>
                          <a:pt x="361" y="4"/>
                        </a:lnTo>
                        <a:lnTo>
                          <a:pt x="385" y="0"/>
                        </a:lnTo>
                        <a:lnTo>
                          <a:pt x="436" y="24"/>
                        </a:lnTo>
                        <a:lnTo>
                          <a:pt x="455" y="1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1" name="Indonesia" descr="{&quot;Key&quot;:&quot;indonesia&quot;,&quot;Name&quot;:&quot;Indonesia&quot;,&quot;Value&quot;:1.0,&quot;Formula&quot;:&quot;&quot;,&quot;Text&quot;:&quot;&quot;,&quot;OfficeApplication&quot;:1,&quot;HasValue&quot;:true}">
                    <a:extLst>
                      <a:ext uri="{FF2B5EF4-FFF2-40B4-BE49-F238E27FC236}">
                        <a16:creationId xmlns:a16="http://schemas.microsoft.com/office/drawing/2014/main" id="{31A04715-975F-EFB1-13E6-A9274CF8B4C2}"/>
                      </a:ext>
                    </a:extLst>
                  </p:cNvPr>
                  <p:cNvSpPr>
                    <a:spLocks noEditPoints="1"/>
                  </p:cNvSpPr>
                  <p:nvPr/>
                </p:nvSpPr>
                <p:spPr bwMode="auto">
                  <a:xfrm>
                    <a:off x="2724" y="2661"/>
                    <a:ext cx="914" cy="358"/>
                  </a:xfrm>
                  <a:custGeom>
                    <a:avLst/>
                    <a:gdLst>
                      <a:gd name="T0" fmla="*/ 1770 w 3280"/>
                      <a:gd name="T1" fmla="*/ 1206 h 1287"/>
                      <a:gd name="T2" fmla="*/ 2132 w 3280"/>
                      <a:gd name="T3" fmla="*/ 1168 h 1287"/>
                      <a:gd name="T4" fmla="*/ 2034 w 3280"/>
                      <a:gd name="T5" fmla="*/ 1287 h 1287"/>
                      <a:gd name="T6" fmla="*/ 2132 w 3280"/>
                      <a:gd name="T7" fmla="*/ 1168 h 1287"/>
                      <a:gd name="T8" fmla="*/ 1714 w 3280"/>
                      <a:gd name="T9" fmla="*/ 1153 h 1287"/>
                      <a:gd name="T10" fmla="*/ 1567 w 3280"/>
                      <a:gd name="T11" fmla="*/ 1133 h 1287"/>
                      <a:gd name="T12" fmla="*/ 1973 w 3280"/>
                      <a:gd name="T13" fmla="*/ 1148 h 1287"/>
                      <a:gd name="T14" fmla="*/ 1827 w 3280"/>
                      <a:gd name="T15" fmla="*/ 1115 h 1287"/>
                      <a:gd name="T16" fmla="*/ 958 w 3280"/>
                      <a:gd name="T17" fmla="*/ 996 h 1287"/>
                      <a:gd name="T18" fmla="*/ 1272 w 3280"/>
                      <a:gd name="T19" fmla="*/ 1063 h 1287"/>
                      <a:gd name="T20" fmla="*/ 1308 w 3280"/>
                      <a:gd name="T21" fmla="*/ 1124 h 1287"/>
                      <a:gd name="T22" fmla="*/ 1018 w 3280"/>
                      <a:gd name="T23" fmla="*/ 1074 h 1287"/>
                      <a:gd name="T24" fmla="*/ 790 w 3280"/>
                      <a:gd name="T25" fmla="*/ 1008 h 1287"/>
                      <a:gd name="T26" fmla="*/ 918 w 3280"/>
                      <a:gd name="T27" fmla="*/ 961 h 1287"/>
                      <a:gd name="T28" fmla="*/ 2792 w 3280"/>
                      <a:gd name="T29" fmla="*/ 1006 h 1287"/>
                      <a:gd name="T30" fmla="*/ 2828 w 3280"/>
                      <a:gd name="T31" fmla="*/ 912 h 1287"/>
                      <a:gd name="T32" fmla="*/ 2214 w 3280"/>
                      <a:gd name="T33" fmla="*/ 738 h 1287"/>
                      <a:gd name="T34" fmla="*/ 2520 w 3280"/>
                      <a:gd name="T35" fmla="*/ 697 h 1287"/>
                      <a:gd name="T36" fmla="*/ 2387 w 3280"/>
                      <a:gd name="T37" fmla="*/ 724 h 1287"/>
                      <a:gd name="T38" fmla="*/ 2520 w 3280"/>
                      <a:gd name="T39" fmla="*/ 697 h 1287"/>
                      <a:gd name="T40" fmla="*/ 3217 w 3280"/>
                      <a:gd name="T41" fmla="*/ 1120 h 1287"/>
                      <a:gd name="T42" fmla="*/ 3065 w 3280"/>
                      <a:gd name="T43" fmla="*/ 1063 h 1287"/>
                      <a:gd name="T44" fmla="*/ 2918 w 3280"/>
                      <a:gd name="T45" fmla="*/ 815 h 1287"/>
                      <a:gd name="T46" fmla="*/ 2702 w 3280"/>
                      <a:gd name="T47" fmla="*/ 780 h 1287"/>
                      <a:gd name="T48" fmla="*/ 2707 w 3280"/>
                      <a:gd name="T49" fmla="*/ 646 h 1287"/>
                      <a:gd name="T50" fmla="*/ 2618 w 3280"/>
                      <a:gd name="T51" fmla="*/ 577 h 1287"/>
                      <a:gd name="T52" fmla="*/ 2657 w 3280"/>
                      <a:gd name="T53" fmla="*/ 476 h 1287"/>
                      <a:gd name="T54" fmla="*/ 2879 w 3280"/>
                      <a:gd name="T55" fmla="*/ 720 h 1287"/>
                      <a:gd name="T56" fmla="*/ 3145 w 3280"/>
                      <a:gd name="T57" fmla="*/ 612 h 1287"/>
                      <a:gd name="T58" fmla="*/ 2087 w 3280"/>
                      <a:gd name="T59" fmla="*/ 411 h 1287"/>
                      <a:gd name="T60" fmla="*/ 1782 w 3280"/>
                      <a:gd name="T61" fmla="*/ 426 h 1287"/>
                      <a:gd name="T62" fmla="*/ 2008 w 3280"/>
                      <a:gd name="T63" fmla="*/ 496 h 1287"/>
                      <a:gd name="T64" fmla="*/ 1877 w 3280"/>
                      <a:gd name="T65" fmla="*/ 601 h 1287"/>
                      <a:gd name="T66" fmla="*/ 1998 w 3280"/>
                      <a:gd name="T67" fmla="*/ 879 h 1287"/>
                      <a:gd name="T68" fmla="*/ 1895 w 3280"/>
                      <a:gd name="T69" fmla="*/ 839 h 1287"/>
                      <a:gd name="T70" fmla="*/ 1839 w 3280"/>
                      <a:gd name="T71" fmla="*/ 660 h 1287"/>
                      <a:gd name="T72" fmla="*/ 1758 w 3280"/>
                      <a:gd name="T73" fmla="*/ 907 h 1287"/>
                      <a:gd name="T74" fmla="*/ 1704 w 3280"/>
                      <a:gd name="T75" fmla="*/ 728 h 1287"/>
                      <a:gd name="T76" fmla="*/ 1755 w 3280"/>
                      <a:gd name="T77" fmla="*/ 433 h 1287"/>
                      <a:gd name="T78" fmla="*/ 1979 w 3280"/>
                      <a:gd name="T79" fmla="*/ 375 h 1287"/>
                      <a:gd name="T80" fmla="*/ 2392 w 3280"/>
                      <a:gd name="T81" fmla="*/ 353 h 1287"/>
                      <a:gd name="T82" fmla="*/ 2370 w 3280"/>
                      <a:gd name="T83" fmla="*/ 508 h 1287"/>
                      <a:gd name="T84" fmla="*/ 2314 w 3280"/>
                      <a:gd name="T85" fmla="*/ 298 h 1287"/>
                      <a:gd name="T86" fmla="*/ 2392 w 3280"/>
                      <a:gd name="T87" fmla="*/ 353 h 1287"/>
                      <a:gd name="T88" fmla="*/ 1134 w 3280"/>
                      <a:gd name="T89" fmla="*/ 366 h 1287"/>
                      <a:gd name="T90" fmla="*/ 1324 w 3280"/>
                      <a:gd name="T91" fmla="*/ 346 h 1287"/>
                      <a:gd name="T92" fmla="*/ 1474 w 3280"/>
                      <a:gd name="T93" fmla="*/ 96 h 1287"/>
                      <a:gd name="T94" fmla="*/ 1629 w 3280"/>
                      <a:gd name="T95" fmla="*/ 259 h 1287"/>
                      <a:gd name="T96" fmla="*/ 1587 w 3280"/>
                      <a:gd name="T97" fmla="*/ 437 h 1287"/>
                      <a:gd name="T98" fmla="*/ 1494 w 3280"/>
                      <a:gd name="T99" fmla="*/ 772 h 1287"/>
                      <a:gd name="T100" fmla="*/ 1322 w 3280"/>
                      <a:gd name="T101" fmla="*/ 724 h 1287"/>
                      <a:gd name="T102" fmla="*/ 1127 w 3280"/>
                      <a:gd name="T103" fmla="*/ 693 h 1287"/>
                      <a:gd name="T104" fmla="*/ 985 w 3280"/>
                      <a:gd name="T105" fmla="*/ 483 h 1287"/>
                      <a:gd name="T106" fmla="*/ 755 w 3280"/>
                      <a:gd name="T107" fmla="*/ 921 h 1287"/>
                      <a:gd name="T108" fmla="*/ 490 w 3280"/>
                      <a:gd name="T109" fmla="*/ 740 h 1287"/>
                      <a:gd name="T110" fmla="*/ 279 w 3280"/>
                      <a:gd name="T111" fmla="*/ 431 h 1287"/>
                      <a:gd name="T112" fmla="*/ 133 w 3280"/>
                      <a:gd name="T113" fmla="*/ 177 h 1287"/>
                      <a:gd name="T114" fmla="*/ 47 w 3280"/>
                      <a:gd name="T115" fmla="*/ 3 h 1287"/>
                      <a:gd name="T116" fmla="*/ 313 w 3280"/>
                      <a:gd name="T117" fmla="*/ 187 h 1287"/>
                      <a:gd name="T118" fmla="*/ 553 w 3280"/>
                      <a:gd name="T119" fmla="*/ 400 h 1287"/>
                      <a:gd name="T120" fmla="*/ 647 w 3280"/>
                      <a:gd name="T121" fmla="*/ 533 h 1287"/>
                      <a:gd name="T122" fmla="*/ 773 w 3280"/>
                      <a:gd name="T123" fmla="*/ 695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0" h="1287">
                        <a:moveTo>
                          <a:pt x="1830" y="1278"/>
                        </a:moveTo>
                        <a:lnTo>
                          <a:pt x="1799" y="1280"/>
                        </a:lnTo>
                        <a:lnTo>
                          <a:pt x="1704" y="1222"/>
                        </a:lnTo>
                        <a:lnTo>
                          <a:pt x="1770" y="1206"/>
                        </a:lnTo>
                        <a:lnTo>
                          <a:pt x="1808" y="1231"/>
                        </a:lnTo>
                        <a:lnTo>
                          <a:pt x="1834" y="1256"/>
                        </a:lnTo>
                        <a:lnTo>
                          <a:pt x="1830" y="1278"/>
                        </a:lnTo>
                        <a:close/>
                        <a:moveTo>
                          <a:pt x="2132" y="1168"/>
                        </a:moveTo>
                        <a:lnTo>
                          <a:pt x="2139" y="1185"/>
                        </a:lnTo>
                        <a:lnTo>
                          <a:pt x="2140" y="1208"/>
                        </a:lnTo>
                        <a:lnTo>
                          <a:pt x="2095" y="1269"/>
                        </a:lnTo>
                        <a:lnTo>
                          <a:pt x="2034" y="1287"/>
                        </a:lnTo>
                        <a:lnTo>
                          <a:pt x="2025" y="1278"/>
                        </a:lnTo>
                        <a:lnTo>
                          <a:pt x="2032" y="1249"/>
                        </a:lnTo>
                        <a:lnTo>
                          <a:pt x="2062" y="1201"/>
                        </a:lnTo>
                        <a:lnTo>
                          <a:pt x="2132" y="1168"/>
                        </a:lnTo>
                        <a:close/>
                        <a:moveTo>
                          <a:pt x="1625" y="1103"/>
                        </a:moveTo>
                        <a:lnTo>
                          <a:pt x="1652" y="1125"/>
                        </a:lnTo>
                        <a:lnTo>
                          <a:pt x="1695" y="1118"/>
                        </a:lnTo>
                        <a:lnTo>
                          <a:pt x="1714" y="1153"/>
                        </a:lnTo>
                        <a:lnTo>
                          <a:pt x="1632" y="1169"/>
                        </a:lnTo>
                        <a:lnTo>
                          <a:pt x="1582" y="1181"/>
                        </a:lnTo>
                        <a:lnTo>
                          <a:pt x="1543" y="1179"/>
                        </a:lnTo>
                        <a:lnTo>
                          <a:pt x="1567" y="1133"/>
                        </a:lnTo>
                        <a:lnTo>
                          <a:pt x="1607" y="1132"/>
                        </a:lnTo>
                        <a:lnTo>
                          <a:pt x="1625" y="1103"/>
                        </a:lnTo>
                        <a:close/>
                        <a:moveTo>
                          <a:pt x="1983" y="1103"/>
                        </a:moveTo>
                        <a:lnTo>
                          <a:pt x="1973" y="1148"/>
                        </a:lnTo>
                        <a:lnTo>
                          <a:pt x="1867" y="1172"/>
                        </a:lnTo>
                        <a:lnTo>
                          <a:pt x="1770" y="1162"/>
                        </a:lnTo>
                        <a:lnTo>
                          <a:pt x="1770" y="1132"/>
                        </a:lnTo>
                        <a:lnTo>
                          <a:pt x="1827" y="1115"/>
                        </a:lnTo>
                        <a:lnTo>
                          <a:pt x="1872" y="1140"/>
                        </a:lnTo>
                        <a:lnTo>
                          <a:pt x="1919" y="1133"/>
                        </a:lnTo>
                        <a:lnTo>
                          <a:pt x="1983" y="1103"/>
                        </a:lnTo>
                        <a:close/>
                        <a:moveTo>
                          <a:pt x="958" y="996"/>
                        </a:moveTo>
                        <a:lnTo>
                          <a:pt x="1095" y="1005"/>
                        </a:lnTo>
                        <a:lnTo>
                          <a:pt x="1110" y="971"/>
                        </a:lnTo>
                        <a:lnTo>
                          <a:pt x="1244" y="1010"/>
                        </a:lnTo>
                        <a:lnTo>
                          <a:pt x="1272" y="1063"/>
                        </a:lnTo>
                        <a:lnTo>
                          <a:pt x="1379" y="1077"/>
                        </a:lnTo>
                        <a:lnTo>
                          <a:pt x="1468" y="1126"/>
                        </a:lnTo>
                        <a:lnTo>
                          <a:pt x="1388" y="1157"/>
                        </a:lnTo>
                        <a:lnTo>
                          <a:pt x="1308" y="1124"/>
                        </a:lnTo>
                        <a:lnTo>
                          <a:pt x="1243" y="1126"/>
                        </a:lnTo>
                        <a:lnTo>
                          <a:pt x="1169" y="1121"/>
                        </a:lnTo>
                        <a:lnTo>
                          <a:pt x="1102" y="1106"/>
                        </a:lnTo>
                        <a:lnTo>
                          <a:pt x="1018" y="1074"/>
                        </a:lnTo>
                        <a:lnTo>
                          <a:pt x="965" y="1067"/>
                        </a:lnTo>
                        <a:lnTo>
                          <a:pt x="935" y="1077"/>
                        </a:lnTo>
                        <a:lnTo>
                          <a:pt x="804" y="1043"/>
                        </a:lnTo>
                        <a:lnTo>
                          <a:pt x="790" y="1008"/>
                        </a:lnTo>
                        <a:lnTo>
                          <a:pt x="725" y="1002"/>
                        </a:lnTo>
                        <a:lnTo>
                          <a:pt x="773" y="924"/>
                        </a:lnTo>
                        <a:lnTo>
                          <a:pt x="860" y="929"/>
                        </a:lnTo>
                        <a:lnTo>
                          <a:pt x="918" y="961"/>
                        </a:lnTo>
                        <a:lnTo>
                          <a:pt x="948" y="967"/>
                        </a:lnTo>
                        <a:lnTo>
                          <a:pt x="958" y="996"/>
                        </a:lnTo>
                        <a:close/>
                        <a:moveTo>
                          <a:pt x="2828" y="951"/>
                        </a:moveTo>
                        <a:lnTo>
                          <a:pt x="2792" y="1006"/>
                        </a:lnTo>
                        <a:lnTo>
                          <a:pt x="2784" y="944"/>
                        </a:lnTo>
                        <a:lnTo>
                          <a:pt x="2797" y="916"/>
                        </a:lnTo>
                        <a:lnTo>
                          <a:pt x="2812" y="888"/>
                        </a:lnTo>
                        <a:lnTo>
                          <a:pt x="2828" y="912"/>
                        </a:lnTo>
                        <a:lnTo>
                          <a:pt x="2828" y="951"/>
                        </a:lnTo>
                        <a:close/>
                        <a:moveTo>
                          <a:pt x="2290" y="727"/>
                        </a:moveTo>
                        <a:lnTo>
                          <a:pt x="2263" y="753"/>
                        </a:lnTo>
                        <a:lnTo>
                          <a:pt x="2214" y="738"/>
                        </a:lnTo>
                        <a:lnTo>
                          <a:pt x="2199" y="703"/>
                        </a:lnTo>
                        <a:lnTo>
                          <a:pt x="2272" y="700"/>
                        </a:lnTo>
                        <a:lnTo>
                          <a:pt x="2290" y="727"/>
                        </a:lnTo>
                        <a:close/>
                        <a:moveTo>
                          <a:pt x="2520" y="697"/>
                        </a:moveTo>
                        <a:lnTo>
                          <a:pt x="2548" y="760"/>
                        </a:lnTo>
                        <a:lnTo>
                          <a:pt x="2487" y="726"/>
                        </a:lnTo>
                        <a:lnTo>
                          <a:pt x="2427" y="718"/>
                        </a:lnTo>
                        <a:lnTo>
                          <a:pt x="2387" y="724"/>
                        </a:lnTo>
                        <a:lnTo>
                          <a:pt x="2337" y="721"/>
                        </a:lnTo>
                        <a:lnTo>
                          <a:pt x="2353" y="677"/>
                        </a:lnTo>
                        <a:lnTo>
                          <a:pt x="2442" y="673"/>
                        </a:lnTo>
                        <a:lnTo>
                          <a:pt x="2520" y="697"/>
                        </a:lnTo>
                        <a:close/>
                        <a:moveTo>
                          <a:pt x="3277" y="657"/>
                        </a:moveTo>
                        <a:lnTo>
                          <a:pt x="3278" y="922"/>
                        </a:lnTo>
                        <a:lnTo>
                          <a:pt x="3280" y="1187"/>
                        </a:lnTo>
                        <a:lnTo>
                          <a:pt x="3217" y="1120"/>
                        </a:lnTo>
                        <a:lnTo>
                          <a:pt x="3144" y="1103"/>
                        </a:lnTo>
                        <a:lnTo>
                          <a:pt x="3127" y="1127"/>
                        </a:lnTo>
                        <a:lnTo>
                          <a:pt x="3035" y="1130"/>
                        </a:lnTo>
                        <a:lnTo>
                          <a:pt x="3065" y="1063"/>
                        </a:lnTo>
                        <a:lnTo>
                          <a:pt x="3110" y="1041"/>
                        </a:lnTo>
                        <a:lnTo>
                          <a:pt x="3092" y="952"/>
                        </a:lnTo>
                        <a:lnTo>
                          <a:pt x="3057" y="883"/>
                        </a:lnTo>
                        <a:lnTo>
                          <a:pt x="2918" y="815"/>
                        </a:lnTo>
                        <a:lnTo>
                          <a:pt x="2858" y="808"/>
                        </a:lnTo>
                        <a:lnTo>
                          <a:pt x="2750" y="733"/>
                        </a:lnTo>
                        <a:lnTo>
                          <a:pt x="2729" y="772"/>
                        </a:lnTo>
                        <a:lnTo>
                          <a:pt x="2702" y="780"/>
                        </a:lnTo>
                        <a:lnTo>
                          <a:pt x="2685" y="750"/>
                        </a:lnTo>
                        <a:lnTo>
                          <a:pt x="2685" y="715"/>
                        </a:lnTo>
                        <a:lnTo>
                          <a:pt x="2629" y="675"/>
                        </a:lnTo>
                        <a:lnTo>
                          <a:pt x="2707" y="646"/>
                        </a:lnTo>
                        <a:lnTo>
                          <a:pt x="2758" y="647"/>
                        </a:lnTo>
                        <a:lnTo>
                          <a:pt x="2752" y="626"/>
                        </a:lnTo>
                        <a:lnTo>
                          <a:pt x="2647" y="626"/>
                        </a:lnTo>
                        <a:lnTo>
                          <a:pt x="2618" y="577"/>
                        </a:lnTo>
                        <a:lnTo>
                          <a:pt x="2554" y="562"/>
                        </a:lnTo>
                        <a:lnTo>
                          <a:pt x="2524" y="522"/>
                        </a:lnTo>
                        <a:lnTo>
                          <a:pt x="2620" y="502"/>
                        </a:lnTo>
                        <a:lnTo>
                          <a:pt x="2657" y="476"/>
                        </a:lnTo>
                        <a:lnTo>
                          <a:pt x="2773" y="508"/>
                        </a:lnTo>
                        <a:lnTo>
                          <a:pt x="2784" y="540"/>
                        </a:lnTo>
                        <a:lnTo>
                          <a:pt x="2804" y="671"/>
                        </a:lnTo>
                        <a:lnTo>
                          <a:pt x="2879" y="720"/>
                        </a:lnTo>
                        <a:lnTo>
                          <a:pt x="2938" y="633"/>
                        </a:lnTo>
                        <a:lnTo>
                          <a:pt x="3020" y="583"/>
                        </a:lnTo>
                        <a:lnTo>
                          <a:pt x="3084" y="583"/>
                        </a:lnTo>
                        <a:lnTo>
                          <a:pt x="3145" y="612"/>
                        </a:lnTo>
                        <a:lnTo>
                          <a:pt x="3199" y="641"/>
                        </a:lnTo>
                        <a:lnTo>
                          <a:pt x="3277" y="657"/>
                        </a:lnTo>
                        <a:close/>
                        <a:moveTo>
                          <a:pt x="2145" y="329"/>
                        </a:moveTo>
                        <a:lnTo>
                          <a:pt x="2087" y="411"/>
                        </a:lnTo>
                        <a:lnTo>
                          <a:pt x="2033" y="426"/>
                        </a:lnTo>
                        <a:lnTo>
                          <a:pt x="1964" y="411"/>
                        </a:lnTo>
                        <a:lnTo>
                          <a:pt x="1844" y="414"/>
                        </a:lnTo>
                        <a:lnTo>
                          <a:pt x="1782" y="426"/>
                        </a:lnTo>
                        <a:lnTo>
                          <a:pt x="1772" y="487"/>
                        </a:lnTo>
                        <a:lnTo>
                          <a:pt x="1835" y="559"/>
                        </a:lnTo>
                        <a:lnTo>
                          <a:pt x="1874" y="523"/>
                        </a:lnTo>
                        <a:lnTo>
                          <a:pt x="2008" y="496"/>
                        </a:lnTo>
                        <a:lnTo>
                          <a:pt x="2003" y="533"/>
                        </a:lnTo>
                        <a:lnTo>
                          <a:pt x="1972" y="521"/>
                        </a:lnTo>
                        <a:lnTo>
                          <a:pt x="1940" y="568"/>
                        </a:lnTo>
                        <a:lnTo>
                          <a:pt x="1877" y="601"/>
                        </a:lnTo>
                        <a:lnTo>
                          <a:pt x="1945" y="704"/>
                        </a:lnTo>
                        <a:lnTo>
                          <a:pt x="1933" y="732"/>
                        </a:lnTo>
                        <a:lnTo>
                          <a:pt x="1998" y="826"/>
                        </a:lnTo>
                        <a:lnTo>
                          <a:pt x="1998" y="879"/>
                        </a:lnTo>
                        <a:lnTo>
                          <a:pt x="1960" y="903"/>
                        </a:lnTo>
                        <a:lnTo>
                          <a:pt x="1932" y="874"/>
                        </a:lnTo>
                        <a:lnTo>
                          <a:pt x="1965" y="808"/>
                        </a:lnTo>
                        <a:lnTo>
                          <a:pt x="1895" y="839"/>
                        </a:lnTo>
                        <a:lnTo>
                          <a:pt x="1878" y="817"/>
                        </a:lnTo>
                        <a:lnTo>
                          <a:pt x="1887" y="786"/>
                        </a:lnTo>
                        <a:lnTo>
                          <a:pt x="1834" y="738"/>
                        </a:lnTo>
                        <a:lnTo>
                          <a:pt x="1839" y="660"/>
                        </a:lnTo>
                        <a:lnTo>
                          <a:pt x="1792" y="683"/>
                        </a:lnTo>
                        <a:lnTo>
                          <a:pt x="1798" y="778"/>
                        </a:lnTo>
                        <a:lnTo>
                          <a:pt x="1803" y="894"/>
                        </a:lnTo>
                        <a:lnTo>
                          <a:pt x="1758" y="907"/>
                        </a:lnTo>
                        <a:lnTo>
                          <a:pt x="1727" y="883"/>
                        </a:lnTo>
                        <a:lnTo>
                          <a:pt x="1745" y="808"/>
                        </a:lnTo>
                        <a:lnTo>
                          <a:pt x="1734" y="730"/>
                        </a:lnTo>
                        <a:lnTo>
                          <a:pt x="1704" y="728"/>
                        </a:lnTo>
                        <a:lnTo>
                          <a:pt x="1680" y="673"/>
                        </a:lnTo>
                        <a:lnTo>
                          <a:pt x="1710" y="620"/>
                        </a:lnTo>
                        <a:lnTo>
                          <a:pt x="1720" y="556"/>
                        </a:lnTo>
                        <a:lnTo>
                          <a:pt x="1755" y="433"/>
                        </a:lnTo>
                        <a:lnTo>
                          <a:pt x="1770" y="400"/>
                        </a:lnTo>
                        <a:lnTo>
                          <a:pt x="1832" y="340"/>
                        </a:lnTo>
                        <a:lnTo>
                          <a:pt x="1888" y="363"/>
                        </a:lnTo>
                        <a:lnTo>
                          <a:pt x="1979" y="375"/>
                        </a:lnTo>
                        <a:lnTo>
                          <a:pt x="2062" y="371"/>
                        </a:lnTo>
                        <a:lnTo>
                          <a:pt x="2133" y="312"/>
                        </a:lnTo>
                        <a:lnTo>
                          <a:pt x="2145" y="329"/>
                        </a:lnTo>
                        <a:close/>
                        <a:moveTo>
                          <a:pt x="2392" y="353"/>
                        </a:moveTo>
                        <a:lnTo>
                          <a:pt x="2388" y="424"/>
                        </a:lnTo>
                        <a:lnTo>
                          <a:pt x="2352" y="416"/>
                        </a:lnTo>
                        <a:lnTo>
                          <a:pt x="2340" y="466"/>
                        </a:lnTo>
                        <a:lnTo>
                          <a:pt x="2370" y="508"/>
                        </a:lnTo>
                        <a:lnTo>
                          <a:pt x="2350" y="518"/>
                        </a:lnTo>
                        <a:lnTo>
                          <a:pt x="2320" y="467"/>
                        </a:lnTo>
                        <a:lnTo>
                          <a:pt x="2299" y="363"/>
                        </a:lnTo>
                        <a:lnTo>
                          <a:pt x="2314" y="298"/>
                        </a:lnTo>
                        <a:lnTo>
                          <a:pt x="2338" y="268"/>
                        </a:lnTo>
                        <a:lnTo>
                          <a:pt x="2343" y="313"/>
                        </a:lnTo>
                        <a:lnTo>
                          <a:pt x="2385" y="319"/>
                        </a:lnTo>
                        <a:lnTo>
                          <a:pt x="2392" y="353"/>
                        </a:lnTo>
                        <a:close/>
                        <a:moveTo>
                          <a:pt x="1027" y="282"/>
                        </a:moveTo>
                        <a:lnTo>
                          <a:pt x="1039" y="337"/>
                        </a:lnTo>
                        <a:lnTo>
                          <a:pt x="1088" y="382"/>
                        </a:lnTo>
                        <a:lnTo>
                          <a:pt x="1134" y="366"/>
                        </a:lnTo>
                        <a:lnTo>
                          <a:pt x="1179" y="372"/>
                        </a:lnTo>
                        <a:lnTo>
                          <a:pt x="1222" y="331"/>
                        </a:lnTo>
                        <a:lnTo>
                          <a:pt x="1257" y="323"/>
                        </a:lnTo>
                        <a:lnTo>
                          <a:pt x="1324" y="346"/>
                        </a:lnTo>
                        <a:lnTo>
                          <a:pt x="1383" y="329"/>
                        </a:lnTo>
                        <a:lnTo>
                          <a:pt x="1420" y="216"/>
                        </a:lnTo>
                        <a:lnTo>
                          <a:pt x="1448" y="188"/>
                        </a:lnTo>
                        <a:lnTo>
                          <a:pt x="1474" y="96"/>
                        </a:lnTo>
                        <a:lnTo>
                          <a:pt x="1557" y="96"/>
                        </a:lnTo>
                        <a:lnTo>
                          <a:pt x="1619" y="109"/>
                        </a:lnTo>
                        <a:lnTo>
                          <a:pt x="1577" y="182"/>
                        </a:lnTo>
                        <a:lnTo>
                          <a:pt x="1629" y="259"/>
                        </a:lnTo>
                        <a:lnTo>
                          <a:pt x="1617" y="297"/>
                        </a:lnTo>
                        <a:lnTo>
                          <a:pt x="1697" y="372"/>
                        </a:lnTo>
                        <a:lnTo>
                          <a:pt x="1612" y="382"/>
                        </a:lnTo>
                        <a:lnTo>
                          <a:pt x="1587" y="437"/>
                        </a:lnTo>
                        <a:lnTo>
                          <a:pt x="1590" y="511"/>
                        </a:lnTo>
                        <a:lnTo>
                          <a:pt x="1522" y="566"/>
                        </a:lnTo>
                        <a:lnTo>
                          <a:pt x="1520" y="647"/>
                        </a:lnTo>
                        <a:lnTo>
                          <a:pt x="1494" y="772"/>
                        </a:lnTo>
                        <a:lnTo>
                          <a:pt x="1483" y="742"/>
                        </a:lnTo>
                        <a:lnTo>
                          <a:pt x="1402" y="779"/>
                        </a:lnTo>
                        <a:lnTo>
                          <a:pt x="1373" y="729"/>
                        </a:lnTo>
                        <a:lnTo>
                          <a:pt x="1322" y="724"/>
                        </a:lnTo>
                        <a:lnTo>
                          <a:pt x="1285" y="698"/>
                        </a:lnTo>
                        <a:lnTo>
                          <a:pt x="1200" y="728"/>
                        </a:lnTo>
                        <a:lnTo>
                          <a:pt x="1174" y="688"/>
                        </a:lnTo>
                        <a:lnTo>
                          <a:pt x="1127" y="693"/>
                        </a:lnTo>
                        <a:lnTo>
                          <a:pt x="1068" y="683"/>
                        </a:lnTo>
                        <a:lnTo>
                          <a:pt x="1055" y="574"/>
                        </a:lnTo>
                        <a:lnTo>
                          <a:pt x="1020" y="552"/>
                        </a:lnTo>
                        <a:lnTo>
                          <a:pt x="985" y="483"/>
                        </a:lnTo>
                        <a:lnTo>
                          <a:pt x="975" y="412"/>
                        </a:lnTo>
                        <a:lnTo>
                          <a:pt x="984" y="336"/>
                        </a:lnTo>
                        <a:lnTo>
                          <a:pt x="1027" y="282"/>
                        </a:lnTo>
                        <a:close/>
                        <a:moveTo>
                          <a:pt x="755" y="921"/>
                        </a:moveTo>
                        <a:lnTo>
                          <a:pt x="677" y="923"/>
                        </a:lnTo>
                        <a:lnTo>
                          <a:pt x="615" y="855"/>
                        </a:lnTo>
                        <a:lnTo>
                          <a:pt x="522" y="788"/>
                        </a:lnTo>
                        <a:lnTo>
                          <a:pt x="490" y="740"/>
                        </a:lnTo>
                        <a:lnTo>
                          <a:pt x="434" y="673"/>
                        </a:lnTo>
                        <a:lnTo>
                          <a:pt x="398" y="612"/>
                        </a:lnTo>
                        <a:lnTo>
                          <a:pt x="343" y="498"/>
                        </a:lnTo>
                        <a:lnTo>
                          <a:pt x="279" y="431"/>
                        </a:lnTo>
                        <a:lnTo>
                          <a:pt x="259" y="361"/>
                        </a:lnTo>
                        <a:lnTo>
                          <a:pt x="233" y="297"/>
                        </a:lnTo>
                        <a:lnTo>
                          <a:pt x="169" y="246"/>
                        </a:lnTo>
                        <a:lnTo>
                          <a:pt x="133" y="177"/>
                        </a:lnTo>
                        <a:lnTo>
                          <a:pt x="79" y="131"/>
                        </a:lnTo>
                        <a:lnTo>
                          <a:pt x="7" y="41"/>
                        </a:lnTo>
                        <a:lnTo>
                          <a:pt x="0" y="0"/>
                        </a:lnTo>
                        <a:lnTo>
                          <a:pt x="47" y="3"/>
                        </a:lnTo>
                        <a:lnTo>
                          <a:pt x="158" y="20"/>
                        </a:lnTo>
                        <a:lnTo>
                          <a:pt x="219" y="98"/>
                        </a:lnTo>
                        <a:lnTo>
                          <a:pt x="274" y="153"/>
                        </a:lnTo>
                        <a:lnTo>
                          <a:pt x="313" y="187"/>
                        </a:lnTo>
                        <a:lnTo>
                          <a:pt x="379" y="275"/>
                        </a:lnTo>
                        <a:lnTo>
                          <a:pt x="453" y="276"/>
                        </a:lnTo>
                        <a:lnTo>
                          <a:pt x="512" y="332"/>
                        </a:lnTo>
                        <a:lnTo>
                          <a:pt x="553" y="400"/>
                        </a:lnTo>
                        <a:lnTo>
                          <a:pt x="608" y="437"/>
                        </a:lnTo>
                        <a:lnTo>
                          <a:pt x="579" y="503"/>
                        </a:lnTo>
                        <a:lnTo>
                          <a:pt x="620" y="532"/>
                        </a:lnTo>
                        <a:lnTo>
                          <a:pt x="647" y="533"/>
                        </a:lnTo>
                        <a:lnTo>
                          <a:pt x="659" y="591"/>
                        </a:lnTo>
                        <a:lnTo>
                          <a:pt x="684" y="636"/>
                        </a:lnTo>
                        <a:lnTo>
                          <a:pt x="737" y="643"/>
                        </a:lnTo>
                        <a:lnTo>
                          <a:pt x="773" y="695"/>
                        </a:lnTo>
                        <a:lnTo>
                          <a:pt x="757" y="796"/>
                        </a:lnTo>
                        <a:lnTo>
                          <a:pt x="755" y="92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2" name="India" descr="{&quot;Key&quot;:&quot;india&quot;,&quot;Name&quot;:&quot;India&quot;,&quot;Value&quot;:1.0,&quot;Formula&quot;:&quot;&quot;,&quot;Text&quot;:&quot;&quot;,&quot;OfficeApplication&quot;:1,&quot;HasValue&quot;:true}">
                    <a:extLst>
                      <a:ext uri="{FF2B5EF4-FFF2-40B4-BE49-F238E27FC236}">
                        <a16:creationId xmlns:a16="http://schemas.microsoft.com/office/drawing/2014/main" id="{8F98F6EA-8362-F455-2032-5AFF482850AC}"/>
                      </a:ext>
                    </a:extLst>
                  </p:cNvPr>
                  <p:cNvSpPr>
                    <a:spLocks/>
                  </p:cNvSpPr>
                  <p:nvPr/>
                </p:nvSpPr>
                <p:spPr bwMode="auto">
                  <a:xfrm>
                    <a:off x="2219" y="1980"/>
                    <a:ext cx="581" cy="624"/>
                  </a:xfrm>
                  <a:custGeom>
                    <a:avLst/>
                    <a:gdLst>
                      <a:gd name="T0" fmla="*/ 895 w 2084"/>
                      <a:gd name="T1" fmla="*/ 544 h 2237"/>
                      <a:gd name="T2" fmla="*/ 1100 w 2084"/>
                      <a:gd name="T3" fmla="*/ 660 h 2237"/>
                      <a:gd name="T4" fmla="*/ 1280 w 2084"/>
                      <a:gd name="T5" fmla="*/ 720 h 2237"/>
                      <a:gd name="T6" fmla="*/ 1432 w 2084"/>
                      <a:gd name="T7" fmla="*/ 705 h 2237"/>
                      <a:gd name="T8" fmla="*/ 1485 w 2084"/>
                      <a:gd name="T9" fmla="*/ 601 h 2237"/>
                      <a:gd name="T10" fmla="*/ 1540 w 2084"/>
                      <a:gd name="T11" fmla="*/ 712 h 2237"/>
                      <a:gd name="T12" fmla="*/ 1700 w 2084"/>
                      <a:gd name="T13" fmla="*/ 702 h 2237"/>
                      <a:gd name="T14" fmla="*/ 1744 w 2084"/>
                      <a:gd name="T15" fmla="*/ 617 h 2237"/>
                      <a:gd name="T16" fmla="*/ 1958 w 2084"/>
                      <a:gd name="T17" fmla="*/ 525 h 2237"/>
                      <a:gd name="T18" fmla="*/ 2009 w 2084"/>
                      <a:gd name="T19" fmla="*/ 575 h 2237"/>
                      <a:gd name="T20" fmla="*/ 2058 w 2084"/>
                      <a:gd name="T21" fmla="*/ 632 h 2237"/>
                      <a:gd name="T22" fmla="*/ 1913 w 2084"/>
                      <a:gd name="T23" fmla="*/ 725 h 2237"/>
                      <a:gd name="T24" fmla="*/ 1857 w 2084"/>
                      <a:gd name="T25" fmla="*/ 878 h 2237"/>
                      <a:gd name="T26" fmla="*/ 1754 w 2084"/>
                      <a:gd name="T27" fmla="*/ 1011 h 2237"/>
                      <a:gd name="T28" fmla="*/ 1704 w 2084"/>
                      <a:gd name="T29" fmla="*/ 1092 h 2237"/>
                      <a:gd name="T30" fmla="*/ 1643 w 2084"/>
                      <a:gd name="T31" fmla="*/ 1016 h 2237"/>
                      <a:gd name="T32" fmla="*/ 1667 w 2084"/>
                      <a:gd name="T33" fmla="*/ 923 h 2237"/>
                      <a:gd name="T34" fmla="*/ 1603 w 2084"/>
                      <a:gd name="T35" fmla="*/ 841 h 2237"/>
                      <a:gd name="T36" fmla="*/ 1505 w 2084"/>
                      <a:gd name="T37" fmla="*/ 770 h 2237"/>
                      <a:gd name="T38" fmla="*/ 1468 w 2084"/>
                      <a:gd name="T39" fmla="*/ 832 h 2237"/>
                      <a:gd name="T40" fmla="*/ 1443 w 2084"/>
                      <a:gd name="T41" fmla="*/ 915 h 2237"/>
                      <a:gd name="T42" fmla="*/ 1448 w 2084"/>
                      <a:gd name="T43" fmla="*/ 1091 h 2237"/>
                      <a:gd name="T44" fmla="*/ 1299 w 2084"/>
                      <a:gd name="T45" fmla="*/ 1137 h 2237"/>
                      <a:gd name="T46" fmla="*/ 1149 w 2084"/>
                      <a:gd name="T47" fmla="*/ 1301 h 2237"/>
                      <a:gd name="T48" fmla="*/ 926 w 2084"/>
                      <a:gd name="T49" fmla="*/ 1501 h 2237"/>
                      <a:gd name="T50" fmla="*/ 819 w 2084"/>
                      <a:gd name="T51" fmla="*/ 1587 h 2237"/>
                      <a:gd name="T52" fmla="*/ 765 w 2084"/>
                      <a:gd name="T53" fmla="*/ 1760 h 2237"/>
                      <a:gd name="T54" fmla="*/ 721 w 2084"/>
                      <a:gd name="T55" fmla="*/ 2042 h 2237"/>
                      <a:gd name="T56" fmla="*/ 669 w 2084"/>
                      <a:gd name="T57" fmla="*/ 2135 h 2237"/>
                      <a:gd name="T58" fmla="*/ 545 w 2084"/>
                      <a:gd name="T59" fmla="*/ 2237 h 2237"/>
                      <a:gd name="T60" fmla="*/ 432 w 2084"/>
                      <a:gd name="T61" fmla="*/ 1965 h 2237"/>
                      <a:gd name="T62" fmla="*/ 367 w 2084"/>
                      <a:gd name="T63" fmla="*/ 1747 h 2237"/>
                      <a:gd name="T64" fmla="*/ 292 w 2084"/>
                      <a:gd name="T65" fmla="*/ 1427 h 2237"/>
                      <a:gd name="T66" fmla="*/ 289 w 2084"/>
                      <a:gd name="T67" fmla="*/ 1148 h 2237"/>
                      <a:gd name="T68" fmla="*/ 53 w 2084"/>
                      <a:gd name="T69" fmla="*/ 1088 h 2237"/>
                      <a:gd name="T70" fmla="*/ 0 w 2084"/>
                      <a:gd name="T71" fmla="*/ 958 h 2237"/>
                      <a:gd name="T72" fmla="*/ 205 w 2084"/>
                      <a:gd name="T73" fmla="*/ 835 h 2237"/>
                      <a:gd name="T74" fmla="*/ 135 w 2084"/>
                      <a:gd name="T75" fmla="*/ 695 h 2237"/>
                      <a:gd name="T76" fmla="*/ 395 w 2084"/>
                      <a:gd name="T77" fmla="*/ 530 h 2237"/>
                      <a:gd name="T78" fmla="*/ 552 w 2084"/>
                      <a:gd name="T79" fmla="*/ 308 h 2237"/>
                      <a:gd name="T80" fmla="*/ 564 w 2084"/>
                      <a:gd name="T81" fmla="*/ 166 h 2237"/>
                      <a:gd name="T82" fmla="*/ 698 w 2084"/>
                      <a:gd name="T83" fmla="*/ 80 h 2237"/>
                      <a:gd name="T84" fmla="*/ 908 w 2084"/>
                      <a:gd name="T85" fmla="*/ 95 h 2237"/>
                      <a:gd name="T86" fmla="*/ 892 w 2084"/>
                      <a:gd name="T87" fmla="*/ 243 h 2237"/>
                      <a:gd name="T88" fmla="*/ 903 w 2084"/>
                      <a:gd name="T89" fmla="*/ 373 h 2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84" h="2237">
                        <a:moveTo>
                          <a:pt x="987" y="431"/>
                        </a:moveTo>
                        <a:lnTo>
                          <a:pt x="937" y="467"/>
                        </a:lnTo>
                        <a:lnTo>
                          <a:pt x="895" y="544"/>
                        </a:lnTo>
                        <a:lnTo>
                          <a:pt x="958" y="575"/>
                        </a:lnTo>
                        <a:lnTo>
                          <a:pt x="1017" y="615"/>
                        </a:lnTo>
                        <a:lnTo>
                          <a:pt x="1100" y="660"/>
                        </a:lnTo>
                        <a:lnTo>
                          <a:pt x="1193" y="671"/>
                        </a:lnTo>
                        <a:lnTo>
                          <a:pt x="1228" y="712"/>
                        </a:lnTo>
                        <a:lnTo>
                          <a:pt x="1280" y="720"/>
                        </a:lnTo>
                        <a:lnTo>
                          <a:pt x="1362" y="739"/>
                        </a:lnTo>
                        <a:lnTo>
                          <a:pt x="1419" y="737"/>
                        </a:lnTo>
                        <a:lnTo>
                          <a:pt x="1432" y="705"/>
                        </a:lnTo>
                        <a:lnTo>
                          <a:pt x="1430" y="653"/>
                        </a:lnTo>
                        <a:lnTo>
                          <a:pt x="1440" y="618"/>
                        </a:lnTo>
                        <a:lnTo>
                          <a:pt x="1485" y="601"/>
                        </a:lnTo>
                        <a:lnTo>
                          <a:pt x="1482" y="665"/>
                        </a:lnTo>
                        <a:lnTo>
                          <a:pt x="1480" y="681"/>
                        </a:lnTo>
                        <a:lnTo>
                          <a:pt x="1540" y="712"/>
                        </a:lnTo>
                        <a:lnTo>
                          <a:pt x="1585" y="700"/>
                        </a:lnTo>
                        <a:lnTo>
                          <a:pt x="1643" y="705"/>
                        </a:lnTo>
                        <a:lnTo>
                          <a:pt x="1700" y="702"/>
                        </a:lnTo>
                        <a:lnTo>
                          <a:pt x="1712" y="652"/>
                        </a:lnTo>
                        <a:lnTo>
                          <a:pt x="1687" y="627"/>
                        </a:lnTo>
                        <a:lnTo>
                          <a:pt x="1744" y="617"/>
                        </a:lnTo>
                        <a:lnTo>
                          <a:pt x="1815" y="556"/>
                        </a:lnTo>
                        <a:lnTo>
                          <a:pt x="1903" y="505"/>
                        </a:lnTo>
                        <a:lnTo>
                          <a:pt x="1958" y="525"/>
                        </a:lnTo>
                        <a:lnTo>
                          <a:pt x="2012" y="490"/>
                        </a:lnTo>
                        <a:lnTo>
                          <a:pt x="2038" y="541"/>
                        </a:lnTo>
                        <a:lnTo>
                          <a:pt x="2009" y="575"/>
                        </a:lnTo>
                        <a:lnTo>
                          <a:pt x="2083" y="587"/>
                        </a:lnTo>
                        <a:lnTo>
                          <a:pt x="2084" y="619"/>
                        </a:lnTo>
                        <a:lnTo>
                          <a:pt x="2058" y="632"/>
                        </a:lnTo>
                        <a:lnTo>
                          <a:pt x="2058" y="682"/>
                        </a:lnTo>
                        <a:lnTo>
                          <a:pt x="2009" y="669"/>
                        </a:lnTo>
                        <a:lnTo>
                          <a:pt x="1913" y="725"/>
                        </a:lnTo>
                        <a:lnTo>
                          <a:pt x="1909" y="771"/>
                        </a:lnTo>
                        <a:lnTo>
                          <a:pt x="1864" y="839"/>
                        </a:lnTo>
                        <a:lnTo>
                          <a:pt x="1857" y="878"/>
                        </a:lnTo>
                        <a:lnTo>
                          <a:pt x="1818" y="946"/>
                        </a:lnTo>
                        <a:lnTo>
                          <a:pt x="1765" y="927"/>
                        </a:lnTo>
                        <a:lnTo>
                          <a:pt x="1754" y="1011"/>
                        </a:lnTo>
                        <a:lnTo>
                          <a:pt x="1737" y="1038"/>
                        </a:lnTo>
                        <a:lnTo>
                          <a:pt x="1740" y="1073"/>
                        </a:lnTo>
                        <a:lnTo>
                          <a:pt x="1704" y="1092"/>
                        </a:lnTo>
                        <a:lnTo>
                          <a:pt x="1679" y="963"/>
                        </a:lnTo>
                        <a:lnTo>
                          <a:pt x="1659" y="963"/>
                        </a:lnTo>
                        <a:lnTo>
                          <a:pt x="1643" y="1016"/>
                        </a:lnTo>
                        <a:lnTo>
                          <a:pt x="1609" y="973"/>
                        </a:lnTo>
                        <a:lnTo>
                          <a:pt x="1635" y="927"/>
                        </a:lnTo>
                        <a:lnTo>
                          <a:pt x="1667" y="923"/>
                        </a:lnTo>
                        <a:lnTo>
                          <a:pt x="1707" y="853"/>
                        </a:lnTo>
                        <a:lnTo>
                          <a:pt x="1668" y="840"/>
                        </a:lnTo>
                        <a:lnTo>
                          <a:pt x="1603" y="841"/>
                        </a:lnTo>
                        <a:lnTo>
                          <a:pt x="1538" y="830"/>
                        </a:lnTo>
                        <a:lnTo>
                          <a:pt x="1538" y="773"/>
                        </a:lnTo>
                        <a:lnTo>
                          <a:pt x="1505" y="770"/>
                        </a:lnTo>
                        <a:lnTo>
                          <a:pt x="1455" y="735"/>
                        </a:lnTo>
                        <a:lnTo>
                          <a:pt x="1423" y="790"/>
                        </a:lnTo>
                        <a:lnTo>
                          <a:pt x="1468" y="832"/>
                        </a:lnTo>
                        <a:lnTo>
                          <a:pt x="1421" y="863"/>
                        </a:lnTo>
                        <a:lnTo>
                          <a:pt x="1403" y="892"/>
                        </a:lnTo>
                        <a:lnTo>
                          <a:pt x="1443" y="915"/>
                        </a:lnTo>
                        <a:lnTo>
                          <a:pt x="1425" y="963"/>
                        </a:lnTo>
                        <a:lnTo>
                          <a:pt x="1444" y="1025"/>
                        </a:lnTo>
                        <a:lnTo>
                          <a:pt x="1448" y="1091"/>
                        </a:lnTo>
                        <a:lnTo>
                          <a:pt x="1435" y="1121"/>
                        </a:lnTo>
                        <a:lnTo>
                          <a:pt x="1388" y="1120"/>
                        </a:lnTo>
                        <a:lnTo>
                          <a:pt x="1299" y="1137"/>
                        </a:lnTo>
                        <a:lnTo>
                          <a:pt x="1298" y="1198"/>
                        </a:lnTo>
                        <a:lnTo>
                          <a:pt x="1255" y="1246"/>
                        </a:lnTo>
                        <a:lnTo>
                          <a:pt x="1149" y="1301"/>
                        </a:lnTo>
                        <a:lnTo>
                          <a:pt x="1060" y="1397"/>
                        </a:lnTo>
                        <a:lnTo>
                          <a:pt x="1003" y="1448"/>
                        </a:lnTo>
                        <a:lnTo>
                          <a:pt x="926" y="1501"/>
                        </a:lnTo>
                        <a:lnTo>
                          <a:pt x="923" y="1538"/>
                        </a:lnTo>
                        <a:lnTo>
                          <a:pt x="887" y="1558"/>
                        </a:lnTo>
                        <a:lnTo>
                          <a:pt x="819" y="1587"/>
                        </a:lnTo>
                        <a:lnTo>
                          <a:pt x="787" y="1592"/>
                        </a:lnTo>
                        <a:lnTo>
                          <a:pt x="759" y="1653"/>
                        </a:lnTo>
                        <a:lnTo>
                          <a:pt x="765" y="1760"/>
                        </a:lnTo>
                        <a:lnTo>
                          <a:pt x="765" y="1827"/>
                        </a:lnTo>
                        <a:lnTo>
                          <a:pt x="729" y="1905"/>
                        </a:lnTo>
                        <a:lnTo>
                          <a:pt x="721" y="2042"/>
                        </a:lnTo>
                        <a:lnTo>
                          <a:pt x="684" y="2046"/>
                        </a:lnTo>
                        <a:lnTo>
                          <a:pt x="648" y="2108"/>
                        </a:lnTo>
                        <a:lnTo>
                          <a:pt x="669" y="2135"/>
                        </a:lnTo>
                        <a:lnTo>
                          <a:pt x="603" y="2158"/>
                        </a:lnTo>
                        <a:lnTo>
                          <a:pt x="575" y="2213"/>
                        </a:lnTo>
                        <a:lnTo>
                          <a:pt x="545" y="2237"/>
                        </a:lnTo>
                        <a:lnTo>
                          <a:pt x="482" y="2161"/>
                        </a:lnTo>
                        <a:lnTo>
                          <a:pt x="454" y="2047"/>
                        </a:lnTo>
                        <a:lnTo>
                          <a:pt x="432" y="1965"/>
                        </a:lnTo>
                        <a:lnTo>
                          <a:pt x="409" y="1927"/>
                        </a:lnTo>
                        <a:lnTo>
                          <a:pt x="377" y="1848"/>
                        </a:lnTo>
                        <a:lnTo>
                          <a:pt x="367" y="1747"/>
                        </a:lnTo>
                        <a:lnTo>
                          <a:pt x="359" y="1696"/>
                        </a:lnTo>
                        <a:lnTo>
                          <a:pt x="305" y="1585"/>
                        </a:lnTo>
                        <a:lnTo>
                          <a:pt x="292" y="1427"/>
                        </a:lnTo>
                        <a:lnTo>
                          <a:pt x="283" y="1323"/>
                        </a:lnTo>
                        <a:lnTo>
                          <a:pt x="294" y="1225"/>
                        </a:lnTo>
                        <a:lnTo>
                          <a:pt x="289" y="1148"/>
                        </a:lnTo>
                        <a:lnTo>
                          <a:pt x="180" y="1197"/>
                        </a:lnTo>
                        <a:lnTo>
                          <a:pt x="133" y="1187"/>
                        </a:lnTo>
                        <a:lnTo>
                          <a:pt x="53" y="1088"/>
                        </a:lnTo>
                        <a:lnTo>
                          <a:pt x="90" y="1060"/>
                        </a:lnTo>
                        <a:lnTo>
                          <a:pt x="74" y="1027"/>
                        </a:lnTo>
                        <a:lnTo>
                          <a:pt x="0" y="958"/>
                        </a:lnTo>
                        <a:lnTo>
                          <a:pt x="55" y="905"/>
                        </a:lnTo>
                        <a:lnTo>
                          <a:pt x="209" y="905"/>
                        </a:lnTo>
                        <a:lnTo>
                          <a:pt x="205" y="835"/>
                        </a:lnTo>
                        <a:lnTo>
                          <a:pt x="173" y="793"/>
                        </a:lnTo>
                        <a:lnTo>
                          <a:pt x="175" y="731"/>
                        </a:lnTo>
                        <a:lnTo>
                          <a:pt x="135" y="695"/>
                        </a:lnTo>
                        <a:lnTo>
                          <a:pt x="228" y="610"/>
                        </a:lnTo>
                        <a:lnTo>
                          <a:pt x="308" y="616"/>
                        </a:lnTo>
                        <a:lnTo>
                          <a:pt x="395" y="530"/>
                        </a:lnTo>
                        <a:lnTo>
                          <a:pt x="455" y="447"/>
                        </a:lnTo>
                        <a:lnTo>
                          <a:pt x="539" y="366"/>
                        </a:lnTo>
                        <a:lnTo>
                          <a:pt x="552" y="308"/>
                        </a:lnTo>
                        <a:lnTo>
                          <a:pt x="620" y="261"/>
                        </a:lnTo>
                        <a:lnTo>
                          <a:pt x="574" y="221"/>
                        </a:lnTo>
                        <a:lnTo>
                          <a:pt x="564" y="166"/>
                        </a:lnTo>
                        <a:lnTo>
                          <a:pt x="558" y="95"/>
                        </a:lnTo>
                        <a:lnTo>
                          <a:pt x="599" y="60"/>
                        </a:lnTo>
                        <a:lnTo>
                          <a:pt x="698" y="80"/>
                        </a:lnTo>
                        <a:lnTo>
                          <a:pt x="775" y="67"/>
                        </a:lnTo>
                        <a:lnTo>
                          <a:pt x="858" y="0"/>
                        </a:lnTo>
                        <a:lnTo>
                          <a:pt x="908" y="95"/>
                        </a:lnTo>
                        <a:lnTo>
                          <a:pt x="885" y="161"/>
                        </a:lnTo>
                        <a:lnTo>
                          <a:pt x="903" y="202"/>
                        </a:lnTo>
                        <a:lnTo>
                          <a:pt x="892" y="243"/>
                        </a:lnTo>
                        <a:lnTo>
                          <a:pt x="845" y="233"/>
                        </a:lnTo>
                        <a:lnTo>
                          <a:pt x="845" y="322"/>
                        </a:lnTo>
                        <a:lnTo>
                          <a:pt x="903" y="373"/>
                        </a:lnTo>
                        <a:lnTo>
                          <a:pt x="987" y="43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3" name="Ireland" descr="{&quot;Key&quot;:&quot;ireland&quot;,&quot;Name&quot;:&quot;Ireland&quot;,&quot;Value&quot;:1.0,&quot;Formula&quot;:&quot;&quot;,&quot;Text&quot;:&quot;&quot;,&quot;OfficeApplication&quot;:1,&quot;HasValue&quot;:true}">
                    <a:extLst>
                      <a:ext uri="{FF2B5EF4-FFF2-40B4-BE49-F238E27FC236}">
                        <a16:creationId xmlns:a16="http://schemas.microsoft.com/office/drawing/2014/main" id="{5B4E2972-F7F6-EB10-B24E-182C950C264C}"/>
                      </a:ext>
                    </a:extLst>
                  </p:cNvPr>
                  <p:cNvSpPr>
                    <a:spLocks/>
                  </p:cNvSpPr>
                  <p:nvPr/>
                </p:nvSpPr>
                <p:spPr bwMode="auto">
                  <a:xfrm>
                    <a:off x="1074" y="1545"/>
                    <a:ext cx="112" cy="74"/>
                  </a:xfrm>
                  <a:custGeom>
                    <a:avLst/>
                    <a:gdLst>
                      <a:gd name="T0" fmla="*/ 385 w 402"/>
                      <a:gd name="T1" fmla="*/ 98 h 268"/>
                      <a:gd name="T2" fmla="*/ 342 w 402"/>
                      <a:gd name="T3" fmla="*/ 153 h 268"/>
                      <a:gd name="T4" fmla="*/ 229 w 402"/>
                      <a:gd name="T5" fmla="*/ 222 h 268"/>
                      <a:gd name="T6" fmla="*/ 77 w 402"/>
                      <a:gd name="T7" fmla="*/ 268 h 268"/>
                      <a:gd name="T8" fmla="*/ 0 w 402"/>
                      <a:gd name="T9" fmla="*/ 257 h 268"/>
                      <a:gd name="T10" fmla="*/ 129 w 402"/>
                      <a:gd name="T11" fmla="*/ 175 h 268"/>
                      <a:gd name="T12" fmla="*/ 175 w 402"/>
                      <a:gd name="T13" fmla="*/ 96 h 268"/>
                      <a:gd name="T14" fmla="*/ 319 w 402"/>
                      <a:gd name="T15" fmla="*/ 35 h 268"/>
                      <a:gd name="T16" fmla="*/ 402 w 402"/>
                      <a:gd name="T17" fmla="*/ 0 h 268"/>
                      <a:gd name="T18" fmla="*/ 372 w 402"/>
                      <a:gd name="T19" fmla="*/ 41 h 268"/>
                      <a:gd name="T20" fmla="*/ 318 w 402"/>
                      <a:gd name="T21" fmla="*/ 83 h 268"/>
                      <a:gd name="T22" fmla="*/ 355 w 402"/>
                      <a:gd name="T23" fmla="*/ 82 h 268"/>
                      <a:gd name="T24" fmla="*/ 385 w 402"/>
                      <a:gd name="T25" fmla="*/ 9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2" h="268">
                        <a:moveTo>
                          <a:pt x="385" y="98"/>
                        </a:moveTo>
                        <a:lnTo>
                          <a:pt x="342" y="153"/>
                        </a:lnTo>
                        <a:lnTo>
                          <a:pt x="229" y="222"/>
                        </a:lnTo>
                        <a:lnTo>
                          <a:pt x="77" y="268"/>
                        </a:lnTo>
                        <a:lnTo>
                          <a:pt x="0" y="257"/>
                        </a:lnTo>
                        <a:lnTo>
                          <a:pt x="129" y="175"/>
                        </a:lnTo>
                        <a:lnTo>
                          <a:pt x="175" y="96"/>
                        </a:lnTo>
                        <a:lnTo>
                          <a:pt x="319" y="35"/>
                        </a:lnTo>
                        <a:lnTo>
                          <a:pt x="402" y="0"/>
                        </a:lnTo>
                        <a:lnTo>
                          <a:pt x="372" y="41"/>
                        </a:lnTo>
                        <a:lnTo>
                          <a:pt x="318" y="83"/>
                        </a:lnTo>
                        <a:lnTo>
                          <a:pt x="355" y="82"/>
                        </a:lnTo>
                        <a:lnTo>
                          <a:pt x="385" y="9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4" name="Iran" descr="{&quot;Key&quot;:&quot;iran&quot;,&quot;Name&quot;:&quot;Iran&quot;,&quot;Value&quot;:1.0,&quot;Formula&quot;:&quot;&quot;,&quot;Text&quot;:&quot;&quot;,&quot;OfficeApplication&quot;:1,&quot;HasValue&quot;:true}">
                    <a:extLst>
                      <a:ext uri="{FF2B5EF4-FFF2-40B4-BE49-F238E27FC236}">
                        <a16:creationId xmlns:a16="http://schemas.microsoft.com/office/drawing/2014/main" id="{5C106ED4-FB94-CE60-A0C2-B26BE3AD27DA}"/>
                      </a:ext>
                    </a:extLst>
                  </p:cNvPr>
                  <p:cNvSpPr>
                    <a:spLocks/>
                  </p:cNvSpPr>
                  <p:nvPr/>
                </p:nvSpPr>
                <p:spPr bwMode="auto">
                  <a:xfrm>
                    <a:off x="1835" y="1885"/>
                    <a:ext cx="315" cy="331"/>
                  </a:xfrm>
                  <a:custGeom>
                    <a:avLst/>
                    <a:gdLst>
                      <a:gd name="T0" fmla="*/ 218 w 1129"/>
                      <a:gd name="T1" fmla="*/ 77 h 1189"/>
                      <a:gd name="T2" fmla="*/ 348 w 1129"/>
                      <a:gd name="T3" fmla="*/ 11 h 1189"/>
                      <a:gd name="T4" fmla="*/ 319 w 1129"/>
                      <a:gd name="T5" fmla="*/ 75 h 1189"/>
                      <a:gd name="T6" fmla="*/ 361 w 1129"/>
                      <a:gd name="T7" fmla="*/ 113 h 1189"/>
                      <a:gd name="T8" fmla="*/ 416 w 1129"/>
                      <a:gd name="T9" fmla="*/ 190 h 1189"/>
                      <a:gd name="T10" fmla="*/ 539 w 1129"/>
                      <a:gd name="T11" fmla="*/ 244 h 1189"/>
                      <a:gd name="T12" fmla="*/ 665 w 1129"/>
                      <a:gd name="T13" fmla="*/ 204 h 1189"/>
                      <a:gd name="T14" fmla="*/ 793 w 1129"/>
                      <a:gd name="T15" fmla="*/ 141 h 1189"/>
                      <a:gd name="T16" fmla="*/ 872 w 1129"/>
                      <a:gd name="T17" fmla="*/ 129 h 1189"/>
                      <a:gd name="T18" fmla="*/ 977 w 1129"/>
                      <a:gd name="T19" fmla="*/ 178 h 1189"/>
                      <a:gd name="T20" fmla="*/ 1080 w 1129"/>
                      <a:gd name="T21" fmla="*/ 258 h 1189"/>
                      <a:gd name="T22" fmla="*/ 1114 w 1129"/>
                      <a:gd name="T23" fmla="*/ 329 h 1189"/>
                      <a:gd name="T24" fmla="*/ 1020 w 1129"/>
                      <a:gd name="T25" fmla="*/ 490 h 1189"/>
                      <a:gd name="T26" fmla="*/ 1004 w 1129"/>
                      <a:gd name="T27" fmla="*/ 547 h 1189"/>
                      <a:gd name="T28" fmla="*/ 1000 w 1129"/>
                      <a:gd name="T29" fmla="*/ 663 h 1189"/>
                      <a:gd name="T30" fmla="*/ 1041 w 1129"/>
                      <a:gd name="T31" fmla="*/ 729 h 1189"/>
                      <a:gd name="T32" fmla="*/ 985 w 1129"/>
                      <a:gd name="T33" fmla="*/ 845 h 1189"/>
                      <a:gd name="T34" fmla="*/ 1060 w 1129"/>
                      <a:gd name="T35" fmla="*/ 930 h 1189"/>
                      <a:gd name="T36" fmla="*/ 1078 w 1129"/>
                      <a:gd name="T37" fmla="*/ 1015 h 1189"/>
                      <a:gd name="T38" fmla="*/ 969 w 1129"/>
                      <a:gd name="T39" fmla="*/ 1094 h 1189"/>
                      <a:gd name="T40" fmla="*/ 799 w 1129"/>
                      <a:gd name="T41" fmla="*/ 1164 h 1189"/>
                      <a:gd name="T42" fmla="*/ 649 w 1129"/>
                      <a:gd name="T43" fmla="*/ 1135 h 1189"/>
                      <a:gd name="T44" fmla="*/ 609 w 1129"/>
                      <a:gd name="T45" fmla="*/ 1021 h 1189"/>
                      <a:gd name="T46" fmla="*/ 474 w 1129"/>
                      <a:gd name="T47" fmla="*/ 1075 h 1189"/>
                      <a:gd name="T48" fmla="*/ 338 w 1129"/>
                      <a:gd name="T49" fmla="*/ 985 h 1189"/>
                      <a:gd name="T50" fmla="*/ 249 w 1129"/>
                      <a:gd name="T51" fmla="*/ 885 h 1189"/>
                      <a:gd name="T52" fmla="*/ 185 w 1129"/>
                      <a:gd name="T53" fmla="*/ 790 h 1189"/>
                      <a:gd name="T54" fmla="*/ 114 w 1129"/>
                      <a:gd name="T55" fmla="*/ 795 h 1189"/>
                      <a:gd name="T56" fmla="*/ 100 w 1129"/>
                      <a:gd name="T57" fmla="*/ 709 h 1189"/>
                      <a:gd name="T58" fmla="*/ 106 w 1129"/>
                      <a:gd name="T59" fmla="*/ 650 h 1189"/>
                      <a:gd name="T60" fmla="*/ 21 w 1129"/>
                      <a:gd name="T61" fmla="*/ 544 h 1189"/>
                      <a:gd name="T62" fmla="*/ 38 w 1129"/>
                      <a:gd name="T63" fmla="*/ 403 h 1189"/>
                      <a:gd name="T64" fmla="*/ 93 w 1129"/>
                      <a:gd name="T65" fmla="*/ 328 h 1189"/>
                      <a:gd name="T66" fmla="*/ 50 w 1129"/>
                      <a:gd name="T67" fmla="*/ 207 h 1189"/>
                      <a:gd name="T68" fmla="*/ 63 w 1129"/>
                      <a:gd name="T69" fmla="*/ 117 h 1189"/>
                      <a:gd name="T70" fmla="*/ 136 w 1129"/>
                      <a:gd name="T71" fmla="*/ 0 h 1189"/>
                      <a:gd name="T72" fmla="*/ 151 w 1129"/>
                      <a:gd name="T73" fmla="*/ 68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29" h="1189">
                        <a:moveTo>
                          <a:pt x="193" y="79"/>
                        </a:moveTo>
                        <a:lnTo>
                          <a:pt x="218" y="77"/>
                        </a:lnTo>
                        <a:lnTo>
                          <a:pt x="320" y="16"/>
                        </a:lnTo>
                        <a:lnTo>
                          <a:pt x="348" y="11"/>
                        </a:lnTo>
                        <a:lnTo>
                          <a:pt x="358" y="35"/>
                        </a:lnTo>
                        <a:lnTo>
                          <a:pt x="319" y="75"/>
                        </a:lnTo>
                        <a:lnTo>
                          <a:pt x="344" y="116"/>
                        </a:lnTo>
                        <a:lnTo>
                          <a:pt x="361" y="113"/>
                        </a:lnTo>
                        <a:lnTo>
                          <a:pt x="360" y="173"/>
                        </a:lnTo>
                        <a:lnTo>
                          <a:pt x="416" y="190"/>
                        </a:lnTo>
                        <a:lnTo>
                          <a:pt x="449" y="230"/>
                        </a:lnTo>
                        <a:lnTo>
                          <a:pt x="539" y="244"/>
                        </a:lnTo>
                        <a:lnTo>
                          <a:pt x="651" y="223"/>
                        </a:lnTo>
                        <a:lnTo>
                          <a:pt x="665" y="204"/>
                        </a:lnTo>
                        <a:lnTo>
                          <a:pt x="729" y="188"/>
                        </a:lnTo>
                        <a:lnTo>
                          <a:pt x="793" y="141"/>
                        </a:lnTo>
                        <a:lnTo>
                          <a:pt x="838" y="144"/>
                        </a:lnTo>
                        <a:lnTo>
                          <a:pt x="872" y="129"/>
                        </a:lnTo>
                        <a:lnTo>
                          <a:pt x="917" y="137"/>
                        </a:lnTo>
                        <a:lnTo>
                          <a:pt x="977" y="178"/>
                        </a:lnTo>
                        <a:lnTo>
                          <a:pt x="1027" y="187"/>
                        </a:lnTo>
                        <a:lnTo>
                          <a:pt x="1080" y="258"/>
                        </a:lnTo>
                        <a:lnTo>
                          <a:pt x="1129" y="262"/>
                        </a:lnTo>
                        <a:lnTo>
                          <a:pt x="1114" y="329"/>
                        </a:lnTo>
                        <a:lnTo>
                          <a:pt x="1055" y="430"/>
                        </a:lnTo>
                        <a:lnTo>
                          <a:pt x="1020" y="490"/>
                        </a:lnTo>
                        <a:lnTo>
                          <a:pt x="1046" y="502"/>
                        </a:lnTo>
                        <a:lnTo>
                          <a:pt x="1004" y="547"/>
                        </a:lnTo>
                        <a:lnTo>
                          <a:pt x="1009" y="612"/>
                        </a:lnTo>
                        <a:lnTo>
                          <a:pt x="1000" y="663"/>
                        </a:lnTo>
                        <a:lnTo>
                          <a:pt x="1049" y="677"/>
                        </a:lnTo>
                        <a:lnTo>
                          <a:pt x="1041" y="729"/>
                        </a:lnTo>
                        <a:lnTo>
                          <a:pt x="961" y="803"/>
                        </a:lnTo>
                        <a:lnTo>
                          <a:pt x="985" y="845"/>
                        </a:lnTo>
                        <a:lnTo>
                          <a:pt x="1001" y="894"/>
                        </a:lnTo>
                        <a:lnTo>
                          <a:pt x="1060" y="930"/>
                        </a:lnTo>
                        <a:lnTo>
                          <a:pt x="1048" y="1001"/>
                        </a:lnTo>
                        <a:lnTo>
                          <a:pt x="1078" y="1015"/>
                        </a:lnTo>
                        <a:lnTo>
                          <a:pt x="1076" y="1053"/>
                        </a:lnTo>
                        <a:lnTo>
                          <a:pt x="969" y="1094"/>
                        </a:lnTo>
                        <a:lnTo>
                          <a:pt x="925" y="1189"/>
                        </a:lnTo>
                        <a:lnTo>
                          <a:pt x="799" y="1164"/>
                        </a:lnTo>
                        <a:lnTo>
                          <a:pt x="725" y="1145"/>
                        </a:lnTo>
                        <a:lnTo>
                          <a:pt x="649" y="1135"/>
                        </a:lnTo>
                        <a:lnTo>
                          <a:pt x="639" y="1035"/>
                        </a:lnTo>
                        <a:lnTo>
                          <a:pt x="609" y="1021"/>
                        </a:lnTo>
                        <a:lnTo>
                          <a:pt x="553" y="1035"/>
                        </a:lnTo>
                        <a:lnTo>
                          <a:pt x="474" y="1075"/>
                        </a:lnTo>
                        <a:lnTo>
                          <a:pt x="394" y="1048"/>
                        </a:lnTo>
                        <a:lnTo>
                          <a:pt x="338" y="985"/>
                        </a:lnTo>
                        <a:lnTo>
                          <a:pt x="276" y="963"/>
                        </a:lnTo>
                        <a:lnTo>
                          <a:pt x="249" y="885"/>
                        </a:lnTo>
                        <a:lnTo>
                          <a:pt x="226" y="777"/>
                        </a:lnTo>
                        <a:lnTo>
                          <a:pt x="185" y="790"/>
                        </a:lnTo>
                        <a:lnTo>
                          <a:pt x="149" y="763"/>
                        </a:lnTo>
                        <a:lnTo>
                          <a:pt x="114" y="795"/>
                        </a:lnTo>
                        <a:lnTo>
                          <a:pt x="88" y="752"/>
                        </a:lnTo>
                        <a:lnTo>
                          <a:pt x="100" y="709"/>
                        </a:lnTo>
                        <a:lnTo>
                          <a:pt x="78" y="709"/>
                        </a:lnTo>
                        <a:lnTo>
                          <a:pt x="106" y="650"/>
                        </a:lnTo>
                        <a:lnTo>
                          <a:pt x="90" y="588"/>
                        </a:lnTo>
                        <a:lnTo>
                          <a:pt x="21" y="544"/>
                        </a:lnTo>
                        <a:lnTo>
                          <a:pt x="0" y="467"/>
                        </a:lnTo>
                        <a:lnTo>
                          <a:pt x="38" y="403"/>
                        </a:lnTo>
                        <a:lnTo>
                          <a:pt x="81" y="375"/>
                        </a:lnTo>
                        <a:lnTo>
                          <a:pt x="93" y="328"/>
                        </a:lnTo>
                        <a:lnTo>
                          <a:pt x="58" y="303"/>
                        </a:lnTo>
                        <a:lnTo>
                          <a:pt x="50" y="207"/>
                        </a:lnTo>
                        <a:lnTo>
                          <a:pt x="39" y="142"/>
                        </a:lnTo>
                        <a:lnTo>
                          <a:pt x="63" y="117"/>
                        </a:lnTo>
                        <a:lnTo>
                          <a:pt x="80" y="24"/>
                        </a:lnTo>
                        <a:lnTo>
                          <a:pt x="136" y="0"/>
                        </a:lnTo>
                        <a:lnTo>
                          <a:pt x="134" y="32"/>
                        </a:lnTo>
                        <a:lnTo>
                          <a:pt x="151" y="68"/>
                        </a:lnTo>
                        <a:lnTo>
                          <a:pt x="193" y="7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5" name="Iraq" descr="{&quot;Key&quot;:&quot;iraq&quot;,&quot;Name&quot;:&quot;Iraq&quot;,&quot;Value&quot;:1.0,&quot;Formula&quot;:&quot;&quot;,&quot;Text&quot;:&quot;&quot;,&quot;OfficeApplication&quot;:1,&quot;HasValue&quot;:true}">
                    <a:extLst>
                      <a:ext uri="{FF2B5EF4-FFF2-40B4-BE49-F238E27FC236}">
                        <a16:creationId xmlns:a16="http://schemas.microsoft.com/office/drawing/2014/main" id="{D58DAD50-2737-A7D1-F0C9-8FE24CAF6294}"/>
                      </a:ext>
                    </a:extLst>
                  </p:cNvPr>
                  <p:cNvSpPr>
                    <a:spLocks/>
                  </p:cNvSpPr>
                  <p:nvPr/>
                </p:nvSpPr>
                <p:spPr bwMode="auto">
                  <a:xfrm>
                    <a:off x="1703" y="1937"/>
                    <a:ext cx="164" cy="188"/>
                  </a:xfrm>
                  <a:custGeom>
                    <a:avLst/>
                    <a:gdLst>
                      <a:gd name="T0" fmla="*/ 525 w 589"/>
                      <a:gd name="T1" fmla="*/ 18 h 673"/>
                      <a:gd name="T2" fmla="*/ 533 w 589"/>
                      <a:gd name="T3" fmla="*/ 114 h 673"/>
                      <a:gd name="T4" fmla="*/ 568 w 589"/>
                      <a:gd name="T5" fmla="*/ 139 h 673"/>
                      <a:gd name="T6" fmla="*/ 557 w 589"/>
                      <a:gd name="T7" fmla="*/ 186 h 673"/>
                      <a:gd name="T8" fmla="*/ 513 w 589"/>
                      <a:gd name="T9" fmla="*/ 214 h 673"/>
                      <a:gd name="T10" fmla="*/ 475 w 589"/>
                      <a:gd name="T11" fmla="*/ 278 h 673"/>
                      <a:gd name="T12" fmla="*/ 497 w 589"/>
                      <a:gd name="T13" fmla="*/ 355 h 673"/>
                      <a:gd name="T14" fmla="*/ 565 w 589"/>
                      <a:gd name="T15" fmla="*/ 399 h 673"/>
                      <a:gd name="T16" fmla="*/ 582 w 589"/>
                      <a:gd name="T17" fmla="*/ 461 h 673"/>
                      <a:gd name="T18" fmla="*/ 553 w 589"/>
                      <a:gd name="T19" fmla="*/ 520 h 673"/>
                      <a:gd name="T20" fmla="*/ 575 w 589"/>
                      <a:gd name="T21" fmla="*/ 520 h 673"/>
                      <a:gd name="T22" fmla="*/ 563 w 589"/>
                      <a:gd name="T23" fmla="*/ 563 h 673"/>
                      <a:gd name="T24" fmla="*/ 589 w 589"/>
                      <a:gd name="T25" fmla="*/ 606 h 673"/>
                      <a:gd name="T26" fmla="*/ 550 w 589"/>
                      <a:gd name="T27" fmla="*/ 601 h 673"/>
                      <a:gd name="T28" fmla="*/ 505 w 589"/>
                      <a:gd name="T29" fmla="*/ 595 h 673"/>
                      <a:gd name="T30" fmla="*/ 434 w 589"/>
                      <a:gd name="T31" fmla="*/ 673 h 673"/>
                      <a:gd name="T32" fmla="*/ 307 w 589"/>
                      <a:gd name="T33" fmla="*/ 666 h 673"/>
                      <a:gd name="T34" fmla="*/ 160 w 589"/>
                      <a:gd name="T35" fmla="*/ 502 h 673"/>
                      <a:gd name="T36" fmla="*/ 77 w 589"/>
                      <a:gd name="T37" fmla="*/ 446 h 673"/>
                      <a:gd name="T38" fmla="*/ 0 w 589"/>
                      <a:gd name="T39" fmla="*/ 424 h 673"/>
                      <a:gd name="T40" fmla="*/ 8 w 589"/>
                      <a:gd name="T41" fmla="*/ 325 h 673"/>
                      <a:gd name="T42" fmla="*/ 188 w 589"/>
                      <a:gd name="T43" fmla="*/ 240 h 673"/>
                      <a:gd name="T44" fmla="*/ 250 w 589"/>
                      <a:gd name="T45" fmla="*/ 142 h 673"/>
                      <a:gd name="T46" fmla="*/ 267 w 589"/>
                      <a:gd name="T47" fmla="*/ 82 h 673"/>
                      <a:gd name="T48" fmla="*/ 310 w 589"/>
                      <a:gd name="T49" fmla="*/ 62 h 673"/>
                      <a:gd name="T50" fmla="*/ 365 w 589"/>
                      <a:gd name="T51" fmla="*/ 12 h 673"/>
                      <a:gd name="T52" fmla="*/ 399 w 589"/>
                      <a:gd name="T53" fmla="*/ 0 h 673"/>
                      <a:gd name="T54" fmla="*/ 473 w 589"/>
                      <a:gd name="T55" fmla="*/ 10 h 673"/>
                      <a:gd name="T56" fmla="*/ 488 w 589"/>
                      <a:gd name="T57" fmla="*/ 31 h 673"/>
                      <a:gd name="T58" fmla="*/ 525 w 589"/>
                      <a:gd name="T59" fmla="*/ 1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9" h="673">
                        <a:moveTo>
                          <a:pt x="525" y="18"/>
                        </a:moveTo>
                        <a:lnTo>
                          <a:pt x="533" y="114"/>
                        </a:lnTo>
                        <a:lnTo>
                          <a:pt x="568" y="139"/>
                        </a:lnTo>
                        <a:lnTo>
                          <a:pt x="557" y="186"/>
                        </a:lnTo>
                        <a:lnTo>
                          <a:pt x="513" y="214"/>
                        </a:lnTo>
                        <a:lnTo>
                          <a:pt x="475" y="278"/>
                        </a:lnTo>
                        <a:lnTo>
                          <a:pt x="497" y="355"/>
                        </a:lnTo>
                        <a:lnTo>
                          <a:pt x="565" y="399"/>
                        </a:lnTo>
                        <a:lnTo>
                          <a:pt x="582" y="461"/>
                        </a:lnTo>
                        <a:lnTo>
                          <a:pt x="553" y="520"/>
                        </a:lnTo>
                        <a:lnTo>
                          <a:pt x="575" y="520"/>
                        </a:lnTo>
                        <a:lnTo>
                          <a:pt x="563" y="563"/>
                        </a:lnTo>
                        <a:lnTo>
                          <a:pt x="589" y="606"/>
                        </a:lnTo>
                        <a:lnTo>
                          <a:pt x="550" y="601"/>
                        </a:lnTo>
                        <a:lnTo>
                          <a:pt x="505" y="595"/>
                        </a:lnTo>
                        <a:lnTo>
                          <a:pt x="434" y="673"/>
                        </a:lnTo>
                        <a:lnTo>
                          <a:pt x="307" y="666"/>
                        </a:lnTo>
                        <a:lnTo>
                          <a:pt x="160" y="502"/>
                        </a:lnTo>
                        <a:lnTo>
                          <a:pt x="77" y="446"/>
                        </a:lnTo>
                        <a:lnTo>
                          <a:pt x="0" y="424"/>
                        </a:lnTo>
                        <a:lnTo>
                          <a:pt x="8" y="325"/>
                        </a:lnTo>
                        <a:lnTo>
                          <a:pt x="188" y="240"/>
                        </a:lnTo>
                        <a:lnTo>
                          <a:pt x="250" y="142"/>
                        </a:lnTo>
                        <a:lnTo>
                          <a:pt x="267" y="82"/>
                        </a:lnTo>
                        <a:lnTo>
                          <a:pt x="310" y="62"/>
                        </a:lnTo>
                        <a:lnTo>
                          <a:pt x="365" y="12"/>
                        </a:lnTo>
                        <a:lnTo>
                          <a:pt x="399" y="0"/>
                        </a:lnTo>
                        <a:lnTo>
                          <a:pt x="473" y="10"/>
                        </a:lnTo>
                        <a:lnTo>
                          <a:pt x="488" y="31"/>
                        </a:lnTo>
                        <a:lnTo>
                          <a:pt x="525" y="1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6" name="Iceland" descr="{&quot;Key&quot;:&quot;iceland&quot;,&quot;Name&quot;:&quot;Iceland&quot;,&quot;Value&quot;:1.0,&quot;Formula&quot;:&quot;&quot;,&quot;Text&quot;:&quot;&quot;,&quot;OfficeApplication&quot;:1,&quot;HasValue&quot;:true}">
                    <a:extLst>
                      <a:ext uri="{FF2B5EF4-FFF2-40B4-BE49-F238E27FC236}">
                        <a16:creationId xmlns:a16="http://schemas.microsoft.com/office/drawing/2014/main" id="{5887A1B6-A2C6-0F6D-A2A2-6656B698F7A4}"/>
                      </a:ext>
                    </a:extLst>
                  </p:cNvPr>
                  <p:cNvSpPr>
                    <a:spLocks/>
                  </p:cNvSpPr>
                  <p:nvPr/>
                </p:nvSpPr>
                <p:spPr bwMode="auto">
                  <a:xfrm>
                    <a:off x="1161" y="1310"/>
                    <a:ext cx="193" cy="60"/>
                  </a:xfrm>
                  <a:custGeom>
                    <a:avLst/>
                    <a:gdLst>
                      <a:gd name="T0" fmla="*/ 691 w 691"/>
                      <a:gd name="T1" fmla="*/ 5 h 217"/>
                      <a:gd name="T2" fmla="*/ 617 w 691"/>
                      <a:gd name="T3" fmla="*/ 51 h 217"/>
                      <a:gd name="T4" fmla="*/ 613 w 691"/>
                      <a:gd name="T5" fmla="*/ 100 h 217"/>
                      <a:gd name="T6" fmla="*/ 471 w 691"/>
                      <a:gd name="T7" fmla="*/ 155 h 217"/>
                      <a:gd name="T8" fmla="*/ 247 w 691"/>
                      <a:gd name="T9" fmla="*/ 204 h 217"/>
                      <a:gd name="T10" fmla="*/ 182 w 691"/>
                      <a:gd name="T11" fmla="*/ 217 h 217"/>
                      <a:gd name="T12" fmla="*/ 123 w 691"/>
                      <a:gd name="T13" fmla="*/ 206 h 217"/>
                      <a:gd name="T14" fmla="*/ 0 w 691"/>
                      <a:gd name="T15" fmla="*/ 184 h 217"/>
                      <a:gd name="T16" fmla="*/ 97 w 691"/>
                      <a:gd name="T17" fmla="*/ 151 h 217"/>
                      <a:gd name="T18" fmla="*/ 26 w 691"/>
                      <a:gd name="T19" fmla="*/ 116 h 217"/>
                      <a:gd name="T20" fmla="*/ 142 w 691"/>
                      <a:gd name="T21" fmla="*/ 102 h 217"/>
                      <a:gd name="T22" fmla="*/ 168 w 691"/>
                      <a:gd name="T23" fmla="*/ 82 h 217"/>
                      <a:gd name="T24" fmla="*/ 78 w 691"/>
                      <a:gd name="T25" fmla="*/ 65 h 217"/>
                      <a:gd name="T26" fmla="*/ 181 w 691"/>
                      <a:gd name="T27" fmla="*/ 19 h 217"/>
                      <a:gd name="T28" fmla="*/ 277 w 691"/>
                      <a:gd name="T29" fmla="*/ 9 h 217"/>
                      <a:gd name="T30" fmla="*/ 293 w 691"/>
                      <a:gd name="T31" fmla="*/ 56 h 217"/>
                      <a:gd name="T32" fmla="*/ 428 w 691"/>
                      <a:gd name="T33" fmla="*/ 19 h 217"/>
                      <a:gd name="T34" fmla="*/ 470 w 691"/>
                      <a:gd name="T35" fmla="*/ 39 h 217"/>
                      <a:gd name="T36" fmla="*/ 608 w 691"/>
                      <a:gd name="T37" fmla="*/ 0 h 217"/>
                      <a:gd name="T38" fmla="*/ 691 w 691"/>
                      <a:gd name="T39" fmla="*/ 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217">
                        <a:moveTo>
                          <a:pt x="691" y="5"/>
                        </a:moveTo>
                        <a:lnTo>
                          <a:pt x="617" y="51"/>
                        </a:lnTo>
                        <a:lnTo>
                          <a:pt x="613" y="100"/>
                        </a:lnTo>
                        <a:lnTo>
                          <a:pt x="471" y="155"/>
                        </a:lnTo>
                        <a:lnTo>
                          <a:pt x="247" y="204"/>
                        </a:lnTo>
                        <a:lnTo>
                          <a:pt x="182" y="217"/>
                        </a:lnTo>
                        <a:lnTo>
                          <a:pt x="123" y="206"/>
                        </a:lnTo>
                        <a:lnTo>
                          <a:pt x="0" y="184"/>
                        </a:lnTo>
                        <a:lnTo>
                          <a:pt x="97" y="151"/>
                        </a:lnTo>
                        <a:lnTo>
                          <a:pt x="26" y="116"/>
                        </a:lnTo>
                        <a:lnTo>
                          <a:pt x="142" y="102"/>
                        </a:lnTo>
                        <a:lnTo>
                          <a:pt x="168" y="82"/>
                        </a:lnTo>
                        <a:lnTo>
                          <a:pt x="78" y="65"/>
                        </a:lnTo>
                        <a:lnTo>
                          <a:pt x="181" y="19"/>
                        </a:lnTo>
                        <a:lnTo>
                          <a:pt x="277" y="9"/>
                        </a:lnTo>
                        <a:lnTo>
                          <a:pt x="293" y="56"/>
                        </a:lnTo>
                        <a:lnTo>
                          <a:pt x="428" y="19"/>
                        </a:lnTo>
                        <a:lnTo>
                          <a:pt x="470" y="39"/>
                        </a:lnTo>
                        <a:lnTo>
                          <a:pt x="608" y="0"/>
                        </a:lnTo>
                        <a:lnTo>
                          <a:pt x="691" y="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7" name="Israel" descr="{&quot;Key&quot;:&quot;israel&quot;,&quot;Name&quot;:&quot;Israel&quot;,&quot;Value&quot;:1.0,&quot;Formula&quot;:&quot;&quot;,&quot;Text&quot;:&quot;&quot;,&quot;OfficeApplication&quot;:1,&quot;HasValue&quot;:true}">
                    <a:extLst>
                      <a:ext uri="{FF2B5EF4-FFF2-40B4-BE49-F238E27FC236}">
                        <a16:creationId xmlns:a16="http://schemas.microsoft.com/office/drawing/2014/main" id="{A77EB1C6-037A-C38F-A207-E4EA44D1A589}"/>
                      </a:ext>
                    </a:extLst>
                  </p:cNvPr>
                  <p:cNvSpPr>
                    <a:spLocks/>
                  </p:cNvSpPr>
                  <p:nvPr/>
                </p:nvSpPr>
                <p:spPr bwMode="auto">
                  <a:xfrm>
                    <a:off x="1602" y="2031"/>
                    <a:ext cx="46" cy="85"/>
                  </a:xfrm>
                  <a:custGeom>
                    <a:avLst/>
                    <a:gdLst>
                      <a:gd name="T0" fmla="*/ 164 w 164"/>
                      <a:gd name="T1" fmla="*/ 0 h 306"/>
                      <a:gd name="T2" fmla="*/ 154 w 164"/>
                      <a:gd name="T3" fmla="*/ 32 h 306"/>
                      <a:gd name="T4" fmla="*/ 140 w 164"/>
                      <a:gd name="T5" fmla="*/ 45 h 306"/>
                      <a:gd name="T6" fmla="*/ 141 w 164"/>
                      <a:gd name="T7" fmla="*/ 46 h 306"/>
                      <a:gd name="T8" fmla="*/ 120 w 164"/>
                      <a:gd name="T9" fmla="*/ 71 h 306"/>
                      <a:gd name="T10" fmla="*/ 99 w 164"/>
                      <a:gd name="T11" fmla="*/ 60 h 306"/>
                      <a:gd name="T12" fmla="*/ 66 w 164"/>
                      <a:gd name="T13" fmla="*/ 114 h 306"/>
                      <a:gd name="T14" fmla="*/ 80 w 164"/>
                      <a:gd name="T15" fmla="*/ 124 h 306"/>
                      <a:gd name="T16" fmla="*/ 59 w 164"/>
                      <a:gd name="T17" fmla="*/ 135 h 306"/>
                      <a:gd name="T18" fmla="*/ 49 w 164"/>
                      <a:gd name="T19" fmla="*/ 156 h 306"/>
                      <a:gd name="T20" fmla="*/ 85 w 164"/>
                      <a:gd name="T21" fmla="*/ 145 h 306"/>
                      <a:gd name="T22" fmla="*/ 76 w 164"/>
                      <a:gd name="T23" fmla="*/ 176 h 306"/>
                      <a:gd name="T24" fmla="*/ 0 w 164"/>
                      <a:gd name="T25" fmla="*/ 306 h 306"/>
                      <a:gd name="T26" fmla="*/ 0 w 164"/>
                      <a:gd name="T27" fmla="*/ 285 h 306"/>
                      <a:gd name="T28" fmla="*/ 0 w 164"/>
                      <a:gd name="T29" fmla="*/ 167 h 306"/>
                      <a:gd name="T30" fmla="*/ 29 w 164"/>
                      <a:gd name="T31" fmla="*/ 140 h 306"/>
                      <a:gd name="T32" fmla="*/ 25 w 164"/>
                      <a:gd name="T33" fmla="*/ 135 h 306"/>
                      <a:gd name="T34" fmla="*/ 56 w 164"/>
                      <a:gd name="T35" fmla="*/ 97 h 306"/>
                      <a:gd name="T36" fmla="*/ 92 w 164"/>
                      <a:gd name="T37" fmla="*/ 36 h 306"/>
                      <a:gd name="T38" fmla="*/ 109 w 164"/>
                      <a:gd name="T39" fmla="*/ 15 h 306"/>
                      <a:gd name="T40" fmla="*/ 111 w 164"/>
                      <a:gd name="T41" fmla="*/ 15 h 306"/>
                      <a:gd name="T42" fmla="*/ 134 w 164"/>
                      <a:gd name="T43" fmla="*/ 15 h 306"/>
                      <a:gd name="T44" fmla="*/ 145 w 164"/>
                      <a:gd name="T45" fmla="*/ 1 h 306"/>
                      <a:gd name="T46" fmla="*/ 164 w 164"/>
                      <a:gd name="T4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306">
                        <a:moveTo>
                          <a:pt x="164" y="0"/>
                        </a:moveTo>
                        <a:lnTo>
                          <a:pt x="154" y="32"/>
                        </a:lnTo>
                        <a:lnTo>
                          <a:pt x="140" y="45"/>
                        </a:lnTo>
                        <a:lnTo>
                          <a:pt x="141" y="46"/>
                        </a:lnTo>
                        <a:lnTo>
                          <a:pt x="120" y="71"/>
                        </a:lnTo>
                        <a:lnTo>
                          <a:pt x="99" y="60"/>
                        </a:lnTo>
                        <a:lnTo>
                          <a:pt x="66" y="114"/>
                        </a:lnTo>
                        <a:lnTo>
                          <a:pt x="80" y="124"/>
                        </a:lnTo>
                        <a:lnTo>
                          <a:pt x="59" y="135"/>
                        </a:lnTo>
                        <a:lnTo>
                          <a:pt x="49" y="156"/>
                        </a:lnTo>
                        <a:lnTo>
                          <a:pt x="85" y="145"/>
                        </a:lnTo>
                        <a:lnTo>
                          <a:pt x="76" y="176"/>
                        </a:lnTo>
                        <a:lnTo>
                          <a:pt x="0" y="306"/>
                        </a:lnTo>
                        <a:lnTo>
                          <a:pt x="0" y="285"/>
                        </a:lnTo>
                        <a:lnTo>
                          <a:pt x="0" y="167"/>
                        </a:lnTo>
                        <a:lnTo>
                          <a:pt x="29" y="140"/>
                        </a:lnTo>
                        <a:lnTo>
                          <a:pt x="25" y="135"/>
                        </a:lnTo>
                        <a:lnTo>
                          <a:pt x="56" y="97"/>
                        </a:lnTo>
                        <a:lnTo>
                          <a:pt x="92" y="36"/>
                        </a:lnTo>
                        <a:lnTo>
                          <a:pt x="109" y="15"/>
                        </a:lnTo>
                        <a:lnTo>
                          <a:pt x="111" y="15"/>
                        </a:lnTo>
                        <a:lnTo>
                          <a:pt x="134" y="15"/>
                        </a:lnTo>
                        <a:lnTo>
                          <a:pt x="145" y="1"/>
                        </a:lnTo>
                        <a:lnTo>
                          <a:pt x="164"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8" name="Italy" descr="{&quot;Key&quot;:&quot;italy&quot;,&quot;Name&quot;:&quot;Italy&quot;,&quot;Value&quot;:1.0,&quot;Formula&quot;:&quot;&quot;,&quot;Text&quot;:&quot;&quot;,&quot;OfficeApplication&quot;:1,&quot;HasValue&quot;:true}">
                    <a:extLst>
                      <a:ext uri="{FF2B5EF4-FFF2-40B4-BE49-F238E27FC236}">
                        <a16:creationId xmlns:a16="http://schemas.microsoft.com/office/drawing/2014/main" id="{4F8F84AE-5468-0D05-98A1-D91E1A43D402}"/>
                      </a:ext>
                    </a:extLst>
                  </p:cNvPr>
                  <p:cNvSpPr>
                    <a:spLocks noEditPoints="1"/>
                  </p:cNvSpPr>
                  <p:nvPr/>
                </p:nvSpPr>
                <p:spPr bwMode="auto">
                  <a:xfrm>
                    <a:off x="1195" y="1719"/>
                    <a:ext cx="201" cy="235"/>
                  </a:xfrm>
                  <a:custGeom>
                    <a:avLst/>
                    <a:gdLst>
                      <a:gd name="T0" fmla="*/ 373 w 722"/>
                      <a:gd name="T1" fmla="*/ 777 h 843"/>
                      <a:gd name="T2" fmla="*/ 337 w 722"/>
                      <a:gd name="T3" fmla="*/ 843 h 843"/>
                      <a:gd name="T4" fmla="*/ 271 w 722"/>
                      <a:gd name="T5" fmla="*/ 805 h 843"/>
                      <a:gd name="T6" fmla="*/ 230 w 722"/>
                      <a:gd name="T7" fmla="*/ 722 h 843"/>
                      <a:gd name="T8" fmla="*/ 376 w 722"/>
                      <a:gd name="T9" fmla="*/ 721 h 843"/>
                      <a:gd name="T10" fmla="*/ 148 w 722"/>
                      <a:gd name="T11" fmla="*/ 472 h 843"/>
                      <a:gd name="T12" fmla="*/ 82 w 722"/>
                      <a:gd name="T13" fmla="*/ 637 h 843"/>
                      <a:gd name="T14" fmla="*/ 12 w 722"/>
                      <a:gd name="T15" fmla="*/ 658 h 843"/>
                      <a:gd name="T16" fmla="*/ 53 w 722"/>
                      <a:gd name="T17" fmla="*/ 539 h 843"/>
                      <a:gd name="T18" fmla="*/ 100 w 722"/>
                      <a:gd name="T19" fmla="*/ 497 h 843"/>
                      <a:gd name="T20" fmla="*/ 722 w 722"/>
                      <a:gd name="T21" fmla="*/ 48 h 843"/>
                      <a:gd name="T22" fmla="*/ 682 w 722"/>
                      <a:gd name="T23" fmla="*/ 121 h 843"/>
                      <a:gd name="T24" fmla="*/ 567 w 722"/>
                      <a:gd name="T25" fmla="*/ 138 h 843"/>
                      <a:gd name="T26" fmla="*/ 522 w 722"/>
                      <a:gd name="T27" fmla="*/ 201 h 843"/>
                      <a:gd name="T28" fmla="*/ 551 w 722"/>
                      <a:gd name="T29" fmla="*/ 282 h 843"/>
                      <a:gd name="T30" fmla="*/ 575 w 722"/>
                      <a:gd name="T31" fmla="*/ 412 h 843"/>
                      <a:gd name="T32" fmla="*/ 631 w 722"/>
                      <a:gd name="T33" fmla="*/ 429 h 843"/>
                      <a:gd name="T34" fmla="*/ 645 w 722"/>
                      <a:gd name="T35" fmla="*/ 475 h 843"/>
                      <a:gd name="T36" fmla="*/ 712 w 722"/>
                      <a:gd name="T37" fmla="*/ 542 h 843"/>
                      <a:gd name="T38" fmla="*/ 682 w 722"/>
                      <a:gd name="T39" fmla="*/ 586 h 843"/>
                      <a:gd name="T40" fmla="*/ 616 w 722"/>
                      <a:gd name="T41" fmla="*/ 535 h 843"/>
                      <a:gd name="T42" fmla="*/ 591 w 722"/>
                      <a:gd name="T43" fmla="*/ 617 h 843"/>
                      <a:gd name="T44" fmla="*/ 531 w 722"/>
                      <a:gd name="T45" fmla="*/ 663 h 843"/>
                      <a:gd name="T46" fmla="*/ 428 w 722"/>
                      <a:gd name="T47" fmla="*/ 740 h 843"/>
                      <a:gd name="T48" fmla="*/ 477 w 722"/>
                      <a:gd name="T49" fmla="*/ 671 h 843"/>
                      <a:gd name="T50" fmla="*/ 500 w 722"/>
                      <a:gd name="T51" fmla="*/ 607 h 843"/>
                      <a:gd name="T52" fmla="*/ 481 w 722"/>
                      <a:gd name="T53" fmla="*/ 556 h 843"/>
                      <a:gd name="T54" fmla="*/ 447 w 722"/>
                      <a:gd name="T55" fmla="*/ 507 h 843"/>
                      <a:gd name="T56" fmla="*/ 392 w 722"/>
                      <a:gd name="T57" fmla="*/ 470 h 843"/>
                      <a:gd name="T58" fmla="*/ 336 w 722"/>
                      <a:gd name="T59" fmla="*/ 381 h 843"/>
                      <a:gd name="T60" fmla="*/ 352 w 722"/>
                      <a:gd name="T61" fmla="*/ 255 h 843"/>
                      <a:gd name="T62" fmla="*/ 292 w 722"/>
                      <a:gd name="T63" fmla="*/ 220 h 843"/>
                      <a:gd name="T64" fmla="*/ 192 w 722"/>
                      <a:gd name="T65" fmla="*/ 267 h 843"/>
                      <a:gd name="T66" fmla="*/ 192 w 722"/>
                      <a:gd name="T67" fmla="*/ 238 h 843"/>
                      <a:gd name="T68" fmla="*/ 190 w 722"/>
                      <a:gd name="T69" fmla="*/ 166 h 843"/>
                      <a:gd name="T70" fmla="*/ 231 w 722"/>
                      <a:gd name="T71" fmla="*/ 112 h 843"/>
                      <a:gd name="T72" fmla="*/ 265 w 722"/>
                      <a:gd name="T73" fmla="*/ 106 h 843"/>
                      <a:gd name="T74" fmla="*/ 353 w 722"/>
                      <a:gd name="T75" fmla="*/ 76 h 843"/>
                      <a:gd name="T76" fmla="*/ 387 w 722"/>
                      <a:gd name="T77" fmla="*/ 86 h 843"/>
                      <a:gd name="T78" fmla="*/ 463 w 722"/>
                      <a:gd name="T79" fmla="*/ 63 h 843"/>
                      <a:gd name="T80" fmla="*/ 530 w 722"/>
                      <a:gd name="T81" fmla="*/ 17 h 843"/>
                      <a:gd name="T82" fmla="*/ 577 w 722"/>
                      <a:gd name="T83" fmla="*/ 13 h 843"/>
                      <a:gd name="T84" fmla="*/ 645 w 722"/>
                      <a:gd name="T85" fmla="*/ 27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2" h="843">
                        <a:moveTo>
                          <a:pt x="431" y="713"/>
                        </a:moveTo>
                        <a:lnTo>
                          <a:pt x="373" y="777"/>
                        </a:lnTo>
                        <a:lnTo>
                          <a:pt x="371" y="802"/>
                        </a:lnTo>
                        <a:lnTo>
                          <a:pt x="337" y="843"/>
                        </a:lnTo>
                        <a:lnTo>
                          <a:pt x="301" y="813"/>
                        </a:lnTo>
                        <a:lnTo>
                          <a:pt x="271" y="805"/>
                        </a:lnTo>
                        <a:lnTo>
                          <a:pt x="198" y="763"/>
                        </a:lnTo>
                        <a:lnTo>
                          <a:pt x="230" y="722"/>
                        </a:lnTo>
                        <a:lnTo>
                          <a:pt x="303" y="730"/>
                        </a:lnTo>
                        <a:lnTo>
                          <a:pt x="376" y="721"/>
                        </a:lnTo>
                        <a:lnTo>
                          <a:pt x="431" y="713"/>
                        </a:lnTo>
                        <a:close/>
                        <a:moveTo>
                          <a:pt x="148" y="472"/>
                        </a:moveTo>
                        <a:lnTo>
                          <a:pt x="153" y="529"/>
                        </a:lnTo>
                        <a:lnTo>
                          <a:pt x="82" y="637"/>
                        </a:lnTo>
                        <a:lnTo>
                          <a:pt x="55" y="632"/>
                        </a:lnTo>
                        <a:lnTo>
                          <a:pt x="12" y="658"/>
                        </a:lnTo>
                        <a:lnTo>
                          <a:pt x="0" y="637"/>
                        </a:lnTo>
                        <a:lnTo>
                          <a:pt x="53" y="539"/>
                        </a:lnTo>
                        <a:lnTo>
                          <a:pt x="66" y="493"/>
                        </a:lnTo>
                        <a:lnTo>
                          <a:pt x="100" y="497"/>
                        </a:lnTo>
                        <a:lnTo>
                          <a:pt x="148" y="472"/>
                        </a:lnTo>
                        <a:close/>
                        <a:moveTo>
                          <a:pt x="722" y="48"/>
                        </a:moveTo>
                        <a:lnTo>
                          <a:pt x="688" y="87"/>
                        </a:lnTo>
                        <a:lnTo>
                          <a:pt x="682" y="121"/>
                        </a:lnTo>
                        <a:lnTo>
                          <a:pt x="638" y="109"/>
                        </a:lnTo>
                        <a:lnTo>
                          <a:pt x="567" y="138"/>
                        </a:lnTo>
                        <a:lnTo>
                          <a:pt x="545" y="177"/>
                        </a:lnTo>
                        <a:lnTo>
                          <a:pt x="522" y="201"/>
                        </a:lnTo>
                        <a:lnTo>
                          <a:pt x="516" y="241"/>
                        </a:lnTo>
                        <a:lnTo>
                          <a:pt x="551" y="282"/>
                        </a:lnTo>
                        <a:lnTo>
                          <a:pt x="541" y="348"/>
                        </a:lnTo>
                        <a:lnTo>
                          <a:pt x="575" y="412"/>
                        </a:lnTo>
                        <a:lnTo>
                          <a:pt x="626" y="412"/>
                        </a:lnTo>
                        <a:lnTo>
                          <a:pt x="631" y="429"/>
                        </a:lnTo>
                        <a:lnTo>
                          <a:pt x="603" y="446"/>
                        </a:lnTo>
                        <a:lnTo>
                          <a:pt x="645" y="475"/>
                        </a:lnTo>
                        <a:lnTo>
                          <a:pt x="680" y="500"/>
                        </a:lnTo>
                        <a:lnTo>
                          <a:pt x="712" y="542"/>
                        </a:lnTo>
                        <a:lnTo>
                          <a:pt x="711" y="557"/>
                        </a:lnTo>
                        <a:lnTo>
                          <a:pt x="682" y="586"/>
                        </a:lnTo>
                        <a:lnTo>
                          <a:pt x="666" y="548"/>
                        </a:lnTo>
                        <a:lnTo>
                          <a:pt x="616" y="535"/>
                        </a:lnTo>
                        <a:lnTo>
                          <a:pt x="560" y="587"/>
                        </a:lnTo>
                        <a:lnTo>
                          <a:pt x="591" y="617"/>
                        </a:lnTo>
                        <a:lnTo>
                          <a:pt x="561" y="660"/>
                        </a:lnTo>
                        <a:lnTo>
                          <a:pt x="531" y="663"/>
                        </a:lnTo>
                        <a:lnTo>
                          <a:pt x="458" y="733"/>
                        </a:lnTo>
                        <a:lnTo>
                          <a:pt x="428" y="740"/>
                        </a:lnTo>
                        <a:lnTo>
                          <a:pt x="441" y="715"/>
                        </a:lnTo>
                        <a:lnTo>
                          <a:pt x="477" y="671"/>
                        </a:lnTo>
                        <a:lnTo>
                          <a:pt x="501" y="655"/>
                        </a:lnTo>
                        <a:lnTo>
                          <a:pt x="500" y="607"/>
                        </a:lnTo>
                        <a:lnTo>
                          <a:pt x="502" y="566"/>
                        </a:lnTo>
                        <a:lnTo>
                          <a:pt x="481" y="556"/>
                        </a:lnTo>
                        <a:lnTo>
                          <a:pt x="481" y="522"/>
                        </a:lnTo>
                        <a:lnTo>
                          <a:pt x="447" y="507"/>
                        </a:lnTo>
                        <a:lnTo>
                          <a:pt x="438" y="475"/>
                        </a:lnTo>
                        <a:lnTo>
                          <a:pt x="392" y="470"/>
                        </a:lnTo>
                        <a:lnTo>
                          <a:pt x="363" y="433"/>
                        </a:lnTo>
                        <a:lnTo>
                          <a:pt x="336" y="381"/>
                        </a:lnTo>
                        <a:lnTo>
                          <a:pt x="321" y="335"/>
                        </a:lnTo>
                        <a:lnTo>
                          <a:pt x="352" y="255"/>
                        </a:lnTo>
                        <a:lnTo>
                          <a:pt x="326" y="246"/>
                        </a:lnTo>
                        <a:lnTo>
                          <a:pt x="292" y="220"/>
                        </a:lnTo>
                        <a:lnTo>
                          <a:pt x="255" y="230"/>
                        </a:lnTo>
                        <a:lnTo>
                          <a:pt x="192" y="267"/>
                        </a:lnTo>
                        <a:lnTo>
                          <a:pt x="161" y="273"/>
                        </a:lnTo>
                        <a:lnTo>
                          <a:pt x="192" y="238"/>
                        </a:lnTo>
                        <a:lnTo>
                          <a:pt x="163" y="228"/>
                        </a:lnTo>
                        <a:lnTo>
                          <a:pt x="190" y="166"/>
                        </a:lnTo>
                        <a:lnTo>
                          <a:pt x="228" y="142"/>
                        </a:lnTo>
                        <a:lnTo>
                          <a:pt x="231" y="112"/>
                        </a:lnTo>
                        <a:lnTo>
                          <a:pt x="250" y="90"/>
                        </a:lnTo>
                        <a:lnTo>
                          <a:pt x="265" y="106"/>
                        </a:lnTo>
                        <a:lnTo>
                          <a:pt x="298" y="102"/>
                        </a:lnTo>
                        <a:lnTo>
                          <a:pt x="353" y="76"/>
                        </a:lnTo>
                        <a:lnTo>
                          <a:pt x="356" y="88"/>
                        </a:lnTo>
                        <a:lnTo>
                          <a:pt x="387" y="86"/>
                        </a:lnTo>
                        <a:lnTo>
                          <a:pt x="423" y="53"/>
                        </a:lnTo>
                        <a:lnTo>
                          <a:pt x="463" y="63"/>
                        </a:lnTo>
                        <a:lnTo>
                          <a:pt x="501" y="50"/>
                        </a:lnTo>
                        <a:lnTo>
                          <a:pt x="530" y="17"/>
                        </a:lnTo>
                        <a:lnTo>
                          <a:pt x="559" y="28"/>
                        </a:lnTo>
                        <a:lnTo>
                          <a:pt x="577" y="13"/>
                        </a:lnTo>
                        <a:lnTo>
                          <a:pt x="649" y="0"/>
                        </a:lnTo>
                        <a:lnTo>
                          <a:pt x="645" y="27"/>
                        </a:lnTo>
                        <a:lnTo>
                          <a:pt x="722" y="4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59" name="Jamaica" descr="{&quot;Key&quot;:&quot;jamaica&quot;,&quot;Name&quot;:&quot;Jamaica&quot;,&quot;Value&quot;:1.0,&quot;Formula&quot;:&quot;&quot;,&quot;Text&quot;:&quot;&quot;,&quot;OfficeApplication&quot;:1,&quot;HasValue&quot;:true}">
                    <a:extLst>
                      <a:ext uri="{FF2B5EF4-FFF2-40B4-BE49-F238E27FC236}">
                        <a16:creationId xmlns:a16="http://schemas.microsoft.com/office/drawing/2014/main" id="{E6C062E5-C76C-D5B5-CB49-4EFF96139356}"/>
                      </a:ext>
                    </a:extLst>
                  </p:cNvPr>
                  <p:cNvSpPr>
                    <a:spLocks/>
                  </p:cNvSpPr>
                  <p:nvPr/>
                </p:nvSpPr>
                <p:spPr bwMode="auto">
                  <a:xfrm>
                    <a:off x="6414" y="2365"/>
                    <a:ext cx="43" cy="19"/>
                  </a:xfrm>
                  <a:custGeom>
                    <a:avLst/>
                    <a:gdLst>
                      <a:gd name="T0" fmla="*/ 108 w 156"/>
                      <a:gd name="T1" fmla="*/ 53 h 67"/>
                      <a:gd name="T2" fmla="*/ 88 w 156"/>
                      <a:gd name="T3" fmla="*/ 67 h 67"/>
                      <a:gd name="T4" fmla="*/ 46 w 156"/>
                      <a:gd name="T5" fmla="*/ 53 h 67"/>
                      <a:gd name="T6" fmla="*/ 0 w 156"/>
                      <a:gd name="T7" fmla="*/ 23 h 67"/>
                      <a:gd name="T8" fmla="*/ 5 w 156"/>
                      <a:gd name="T9" fmla="*/ 6 h 67"/>
                      <a:gd name="T10" fmla="*/ 34 w 156"/>
                      <a:gd name="T11" fmla="*/ 0 h 67"/>
                      <a:gd name="T12" fmla="*/ 50 w 156"/>
                      <a:gd name="T13" fmla="*/ 2 h 67"/>
                      <a:gd name="T14" fmla="*/ 99 w 156"/>
                      <a:gd name="T15" fmla="*/ 10 h 67"/>
                      <a:gd name="T16" fmla="*/ 140 w 156"/>
                      <a:gd name="T17" fmla="*/ 30 h 67"/>
                      <a:gd name="T18" fmla="*/ 156 w 156"/>
                      <a:gd name="T19" fmla="*/ 52 h 67"/>
                      <a:gd name="T20" fmla="*/ 108 w 156"/>
                      <a:gd name="T21" fmla="*/ 5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67">
                        <a:moveTo>
                          <a:pt x="108" y="53"/>
                        </a:moveTo>
                        <a:lnTo>
                          <a:pt x="88" y="67"/>
                        </a:lnTo>
                        <a:lnTo>
                          <a:pt x="46" y="53"/>
                        </a:lnTo>
                        <a:lnTo>
                          <a:pt x="0" y="23"/>
                        </a:lnTo>
                        <a:lnTo>
                          <a:pt x="5" y="6"/>
                        </a:lnTo>
                        <a:lnTo>
                          <a:pt x="34" y="0"/>
                        </a:lnTo>
                        <a:lnTo>
                          <a:pt x="50" y="2"/>
                        </a:lnTo>
                        <a:lnTo>
                          <a:pt x="99" y="10"/>
                        </a:lnTo>
                        <a:lnTo>
                          <a:pt x="140" y="30"/>
                        </a:lnTo>
                        <a:lnTo>
                          <a:pt x="156" y="52"/>
                        </a:lnTo>
                        <a:lnTo>
                          <a:pt x="108" y="5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0" name="Jordan" descr="{&quot;Key&quot;:&quot;jordan&quot;,&quot;Name&quot;:&quot;Jordan&quot;,&quot;Value&quot;:1.0,&quot;Formula&quot;:&quot;&quot;,&quot;Text&quot;:&quot;&quot;,&quot;OfficeApplication&quot;:1,&quot;HasValue&quot;:true}">
                    <a:extLst>
                      <a:ext uri="{FF2B5EF4-FFF2-40B4-BE49-F238E27FC236}">
                        <a16:creationId xmlns:a16="http://schemas.microsoft.com/office/drawing/2014/main" id="{087A2B16-7D91-AFD5-9611-4D7C96141A16}"/>
                      </a:ext>
                    </a:extLst>
                  </p:cNvPr>
                  <p:cNvSpPr>
                    <a:spLocks/>
                  </p:cNvSpPr>
                  <p:nvPr/>
                </p:nvSpPr>
                <p:spPr bwMode="auto">
                  <a:xfrm>
                    <a:off x="1602" y="2028"/>
                    <a:ext cx="103" cy="95"/>
                  </a:xfrm>
                  <a:custGeom>
                    <a:avLst/>
                    <a:gdLst>
                      <a:gd name="T0" fmla="*/ 363 w 371"/>
                      <a:gd name="T1" fmla="*/ 99 h 340"/>
                      <a:gd name="T2" fmla="*/ 347 w 371"/>
                      <a:gd name="T3" fmla="*/ 111 h 340"/>
                      <a:gd name="T4" fmla="*/ 196 w 371"/>
                      <a:gd name="T5" fmla="*/ 153 h 340"/>
                      <a:gd name="T6" fmla="*/ 238 w 371"/>
                      <a:gd name="T7" fmla="*/ 234 h 340"/>
                      <a:gd name="T8" fmla="*/ 211 w 371"/>
                      <a:gd name="T9" fmla="*/ 248 h 340"/>
                      <a:gd name="T10" fmla="*/ 192 w 371"/>
                      <a:gd name="T11" fmla="*/ 275 h 340"/>
                      <a:gd name="T12" fmla="*/ 136 w 371"/>
                      <a:gd name="T13" fmla="*/ 286 h 340"/>
                      <a:gd name="T14" fmla="*/ 111 w 371"/>
                      <a:gd name="T15" fmla="*/ 315 h 340"/>
                      <a:gd name="T16" fmla="*/ 73 w 371"/>
                      <a:gd name="T17" fmla="*/ 340 h 340"/>
                      <a:gd name="T18" fmla="*/ 0 w 371"/>
                      <a:gd name="T19" fmla="*/ 328 h 340"/>
                      <a:gd name="T20" fmla="*/ 1 w 371"/>
                      <a:gd name="T21" fmla="*/ 315 h 340"/>
                      <a:gd name="T22" fmla="*/ 77 w 371"/>
                      <a:gd name="T23" fmla="*/ 185 h 340"/>
                      <a:gd name="T24" fmla="*/ 86 w 371"/>
                      <a:gd name="T25" fmla="*/ 154 h 340"/>
                      <a:gd name="T26" fmla="*/ 103 w 371"/>
                      <a:gd name="T27" fmla="*/ 130 h 340"/>
                      <a:gd name="T28" fmla="*/ 121 w 371"/>
                      <a:gd name="T29" fmla="*/ 80 h 340"/>
                      <a:gd name="T30" fmla="*/ 142 w 371"/>
                      <a:gd name="T31" fmla="*/ 55 h 340"/>
                      <a:gd name="T32" fmla="*/ 207 w 371"/>
                      <a:gd name="T33" fmla="*/ 86 h 340"/>
                      <a:gd name="T34" fmla="*/ 371 w 371"/>
                      <a:gd name="T35" fmla="*/ 0 h 340"/>
                      <a:gd name="T36" fmla="*/ 363 w 371"/>
                      <a:gd name="T37" fmla="*/ 99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1" h="340">
                        <a:moveTo>
                          <a:pt x="363" y="99"/>
                        </a:moveTo>
                        <a:lnTo>
                          <a:pt x="347" y="111"/>
                        </a:lnTo>
                        <a:lnTo>
                          <a:pt x="196" y="153"/>
                        </a:lnTo>
                        <a:lnTo>
                          <a:pt x="238" y="234"/>
                        </a:lnTo>
                        <a:lnTo>
                          <a:pt x="211" y="248"/>
                        </a:lnTo>
                        <a:lnTo>
                          <a:pt x="192" y="275"/>
                        </a:lnTo>
                        <a:lnTo>
                          <a:pt x="136" y="286"/>
                        </a:lnTo>
                        <a:lnTo>
                          <a:pt x="111" y="315"/>
                        </a:lnTo>
                        <a:lnTo>
                          <a:pt x="73" y="340"/>
                        </a:lnTo>
                        <a:lnTo>
                          <a:pt x="0" y="328"/>
                        </a:lnTo>
                        <a:lnTo>
                          <a:pt x="1" y="315"/>
                        </a:lnTo>
                        <a:lnTo>
                          <a:pt x="77" y="185"/>
                        </a:lnTo>
                        <a:lnTo>
                          <a:pt x="86" y="154"/>
                        </a:lnTo>
                        <a:lnTo>
                          <a:pt x="103" y="130"/>
                        </a:lnTo>
                        <a:lnTo>
                          <a:pt x="121" y="80"/>
                        </a:lnTo>
                        <a:lnTo>
                          <a:pt x="142" y="55"/>
                        </a:lnTo>
                        <a:lnTo>
                          <a:pt x="207" y="86"/>
                        </a:lnTo>
                        <a:lnTo>
                          <a:pt x="371" y="0"/>
                        </a:lnTo>
                        <a:lnTo>
                          <a:pt x="363" y="9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1" name="Japan" descr="{&quot;Key&quot;:&quot;japan&quot;,&quot;Name&quot;:&quot;Japan&quot;,&quot;Value&quot;:1.0,&quot;Formula&quot;:&quot;&quot;,&quot;Text&quot;:&quot;&quot;,&quot;OfficeApplication&quot;:1,&quot;HasValue&quot;:true}">
                    <a:extLst>
                      <a:ext uri="{FF2B5EF4-FFF2-40B4-BE49-F238E27FC236}">
                        <a16:creationId xmlns:a16="http://schemas.microsoft.com/office/drawing/2014/main" id="{FAC84478-CEC6-F2F7-22F3-FE968C89E441}"/>
                      </a:ext>
                    </a:extLst>
                  </p:cNvPr>
                  <p:cNvSpPr>
                    <a:spLocks noEditPoints="1"/>
                  </p:cNvSpPr>
                  <p:nvPr/>
                </p:nvSpPr>
                <p:spPr bwMode="auto">
                  <a:xfrm>
                    <a:off x="3426" y="1754"/>
                    <a:ext cx="311" cy="327"/>
                  </a:xfrm>
                  <a:custGeom>
                    <a:avLst/>
                    <a:gdLst>
                      <a:gd name="T0" fmla="*/ 368 w 1114"/>
                      <a:gd name="T1" fmla="*/ 948 h 1174"/>
                      <a:gd name="T2" fmla="*/ 300 w 1114"/>
                      <a:gd name="T3" fmla="*/ 972 h 1174"/>
                      <a:gd name="T4" fmla="*/ 244 w 1114"/>
                      <a:gd name="T5" fmla="*/ 1038 h 1174"/>
                      <a:gd name="T6" fmla="*/ 203 w 1114"/>
                      <a:gd name="T7" fmla="*/ 977 h 1174"/>
                      <a:gd name="T8" fmla="*/ 281 w 1114"/>
                      <a:gd name="T9" fmla="*/ 937 h 1174"/>
                      <a:gd name="T10" fmla="*/ 360 w 1114"/>
                      <a:gd name="T11" fmla="*/ 921 h 1174"/>
                      <a:gd name="T12" fmla="*/ 770 w 1114"/>
                      <a:gd name="T13" fmla="*/ 742 h 1174"/>
                      <a:gd name="T14" fmla="*/ 744 w 1114"/>
                      <a:gd name="T15" fmla="*/ 841 h 1174"/>
                      <a:gd name="T16" fmla="*/ 536 w 1114"/>
                      <a:gd name="T17" fmla="*/ 883 h 1174"/>
                      <a:gd name="T18" fmla="*/ 391 w 1114"/>
                      <a:gd name="T19" fmla="*/ 944 h 1174"/>
                      <a:gd name="T20" fmla="*/ 272 w 1114"/>
                      <a:gd name="T21" fmla="*/ 902 h 1174"/>
                      <a:gd name="T22" fmla="*/ 110 w 1114"/>
                      <a:gd name="T23" fmla="*/ 942 h 1174"/>
                      <a:gd name="T24" fmla="*/ 122 w 1114"/>
                      <a:gd name="T25" fmla="*/ 1139 h 1174"/>
                      <a:gd name="T26" fmla="*/ 45 w 1114"/>
                      <a:gd name="T27" fmla="*/ 1143 h 1174"/>
                      <a:gd name="T28" fmla="*/ 24 w 1114"/>
                      <a:gd name="T29" fmla="*/ 1046 h 1174"/>
                      <a:gd name="T30" fmla="*/ 66 w 1114"/>
                      <a:gd name="T31" fmla="*/ 964 h 1174"/>
                      <a:gd name="T32" fmla="*/ 176 w 1114"/>
                      <a:gd name="T33" fmla="*/ 872 h 1174"/>
                      <a:gd name="T34" fmla="*/ 365 w 1114"/>
                      <a:gd name="T35" fmla="*/ 792 h 1174"/>
                      <a:gd name="T36" fmla="*/ 514 w 1114"/>
                      <a:gd name="T37" fmla="*/ 664 h 1174"/>
                      <a:gd name="T38" fmla="*/ 658 w 1114"/>
                      <a:gd name="T39" fmla="*/ 622 h 1174"/>
                      <a:gd name="T40" fmla="*/ 743 w 1114"/>
                      <a:gd name="T41" fmla="*/ 492 h 1174"/>
                      <a:gd name="T42" fmla="*/ 765 w 1114"/>
                      <a:gd name="T43" fmla="*/ 349 h 1174"/>
                      <a:gd name="T44" fmla="*/ 868 w 1114"/>
                      <a:gd name="T45" fmla="*/ 447 h 1174"/>
                      <a:gd name="T46" fmla="*/ 800 w 1114"/>
                      <a:gd name="T47" fmla="*/ 594 h 1174"/>
                      <a:gd name="T48" fmla="*/ 1009 w 1114"/>
                      <a:gd name="T49" fmla="*/ 111 h 1174"/>
                      <a:gd name="T50" fmla="*/ 1101 w 1114"/>
                      <a:gd name="T51" fmla="*/ 93 h 1174"/>
                      <a:gd name="T52" fmla="*/ 1016 w 1114"/>
                      <a:gd name="T53" fmla="*/ 206 h 1174"/>
                      <a:gd name="T54" fmla="*/ 856 w 1114"/>
                      <a:gd name="T55" fmla="*/ 231 h 1174"/>
                      <a:gd name="T56" fmla="*/ 744 w 1114"/>
                      <a:gd name="T57" fmla="*/ 319 h 1174"/>
                      <a:gd name="T58" fmla="*/ 774 w 1114"/>
                      <a:gd name="T59" fmla="*/ 178 h 1174"/>
                      <a:gd name="T60" fmla="*/ 866 w 1114"/>
                      <a:gd name="T61" fmla="*/ 63 h 1174"/>
                      <a:gd name="T62" fmla="*/ 960 w 1114"/>
                      <a:gd name="T63" fmla="*/ 83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4" h="1174">
                        <a:moveTo>
                          <a:pt x="360" y="921"/>
                        </a:moveTo>
                        <a:lnTo>
                          <a:pt x="368" y="948"/>
                        </a:lnTo>
                        <a:lnTo>
                          <a:pt x="326" y="998"/>
                        </a:lnTo>
                        <a:lnTo>
                          <a:pt x="300" y="972"/>
                        </a:lnTo>
                        <a:lnTo>
                          <a:pt x="264" y="990"/>
                        </a:lnTo>
                        <a:lnTo>
                          <a:pt x="244" y="1038"/>
                        </a:lnTo>
                        <a:lnTo>
                          <a:pt x="200" y="1014"/>
                        </a:lnTo>
                        <a:lnTo>
                          <a:pt x="203" y="977"/>
                        </a:lnTo>
                        <a:lnTo>
                          <a:pt x="243" y="928"/>
                        </a:lnTo>
                        <a:lnTo>
                          <a:pt x="281" y="937"/>
                        </a:lnTo>
                        <a:lnTo>
                          <a:pt x="311" y="903"/>
                        </a:lnTo>
                        <a:lnTo>
                          <a:pt x="360" y="921"/>
                        </a:lnTo>
                        <a:close/>
                        <a:moveTo>
                          <a:pt x="798" y="678"/>
                        </a:moveTo>
                        <a:lnTo>
                          <a:pt x="770" y="742"/>
                        </a:lnTo>
                        <a:lnTo>
                          <a:pt x="781" y="783"/>
                        </a:lnTo>
                        <a:lnTo>
                          <a:pt x="744" y="841"/>
                        </a:lnTo>
                        <a:lnTo>
                          <a:pt x="656" y="878"/>
                        </a:lnTo>
                        <a:lnTo>
                          <a:pt x="536" y="883"/>
                        </a:lnTo>
                        <a:lnTo>
                          <a:pt x="435" y="976"/>
                        </a:lnTo>
                        <a:lnTo>
                          <a:pt x="391" y="944"/>
                        </a:lnTo>
                        <a:lnTo>
                          <a:pt x="391" y="884"/>
                        </a:lnTo>
                        <a:lnTo>
                          <a:pt x="272" y="902"/>
                        </a:lnTo>
                        <a:lnTo>
                          <a:pt x="190" y="941"/>
                        </a:lnTo>
                        <a:lnTo>
                          <a:pt x="110" y="942"/>
                        </a:lnTo>
                        <a:lnTo>
                          <a:pt x="176" y="1002"/>
                        </a:lnTo>
                        <a:lnTo>
                          <a:pt x="122" y="1139"/>
                        </a:lnTo>
                        <a:lnTo>
                          <a:pt x="76" y="1174"/>
                        </a:lnTo>
                        <a:lnTo>
                          <a:pt x="45" y="1143"/>
                        </a:lnTo>
                        <a:lnTo>
                          <a:pt x="66" y="1069"/>
                        </a:lnTo>
                        <a:lnTo>
                          <a:pt x="24" y="1046"/>
                        </a:lnTo>
                        <a:lnTo>
                          <a:pt x="0" y="989"/>
                        </a:lnTo>
                        <a:lnTo>
                          <a:pt x="66" y="964"/>
                        </a:lnTo>
                        <a:lnTo>
                          <a:pt x="105" y="914"/>
                        </a:lnTo>
                        <a:lnTo>
                          <a:pt x="176" y="872"/>
                        </a:lnTo>
                        <a:lnTo>
                          <a:pt x="229" y="817"/>
                        </a:lnTo>
                        <a:lnTo>
                          <a:pt x="365" y="792"/>
                        </a:lnTo>
                        <a:lnTo>
                          <a:pt x="436" y="808"/>
                        </a:lnTo>
                        <a:lnTo>
                          <a:pt x="514" y="664"/>
                        </a:lnTo>
                        <a:lnTo>
                          <a:pt x="556" y="703"/>
                        </a:lnTo>
                        <a:lnTo>
                          <a:pt x="658" y="622"/>
                        </a:lnTo>
                        <a:lnTo>
                          <a:pt x="698" y="591"/>
                        </a:lnTo>
                        <a:lnTo>
                          <a:pt x="743" y="492"/>
                        </a:lnTo>
                        <a:lnTo>
                          <a:pt x="735" y="401"/>
                        </a:lnTo>
                        <a:lnTo>
                          <a:pt x="765" y="349"/>
                        </a:lnTo>
                        <a:lnTo>
                          <a:pt x="836" y="336"/>
                        </a:lnTo>
                        <a:lnTo>
                          <a:pt x="868" y="447"/>
                        </a:lnTo>
                        <a:lnTo>
                          <a:pt x="864" y="513"/>
                        </a:lnTo>
                        <a:lnTo>
                          <a:pt x="800" y="594"/>
                        </a:lnTo>
                        <a:lnTo>
                          <a:pt x="798" y="678"/>
                        </a:lnTo>
                        <a:close/>
                        <a:moveTo>
                          <a:pt x="1009" y="111"/>
                        </a:moveTo>
                        <a:lnTo>
                          <a:pt x="1054" y="128"/>
                        </a:lnTo>
                        <a:lnTo>
                          <a:pt x="1101" y="93"/>
                        </a:lnTo>
                        <a:lnTo>
                          <a:pt x="1114" y="183"/>
                        </a:lnTo>
                        <a:lnTo>
                          <a:pt x="1016" y="206"/>
                        </a:lnTo>
                        <a:lnTo>
                          <a:pt x="956" y="286"/>
                        </a:lnTo>
                        <a:lnTo>
                          <a:pt x="856" y="231"/>
                        </a:lnTo>
                        <a:lnTo>
                          <a:pt x="816" y="318"/>
                        </a:lnTo>
                        <a:lnTo>
                          <a:pt x="744" y="319"/>
                        </a:lnTo>
                        <a:lnTo>
                          <a:pt x="739" y="239"/>
                        </a:lnTo>
                        <a:lnTo>
                          <a:pt x="774" y="178"/>
                        </a:lnTo>
                        <a:lnTo>
                          <a:pt x="843" y="173"/>
                        </a:lnTo>
                        <a:lnTo>
                          <a:pt x="866" y="63"/>
                        </a:lnTo>
                        <a:lnTo>
                          <a:pt x="888" y="0"/>
                        </a:lnTo>
                        <a:lnTo>
                          <a:pt x="960" y="83"/>
                        </a:lnTo>
                        <a:lnTo>
                          <a:pt x="1009" y="11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2" name="Kazakhstan" descr="{&quot;Key&quot;:&quot;kazakhstan&quot;,&quot;Name&quot;:&quot;Kazakhstan&quot;,&quot;Value&quot;:1.0,&quot;Formula&quot;:&quot;&quot;,&quot;Text&quot;:&quot;&quot;,&quot;OfficeApplication&quot;:1,&quot;HasValue&quot;:true}">
                    <a:extLst>
                      <a:ext uri="{FF2B5EF4-FFF2-40B4-BE49-F238E27FC236}">
                        <a16:creationId xmlns:a16="http://schemas.microsoft.com/office/drawing/2014/main" id="{005B1D4F-B192-D105-0EFD-EF9780CBFE33}"/>
                      </a:ext>
                    </a:extLst>
                  </p:cNvPr>
                  <p:cNvSpPr>
                    <a:spLocks/>
                  </p:cNvSpPr>
                  <p:nvPr/>
                </p:nvSpPr>
                <p:spPr bwMode="auto">
                  <a:xfrm>
                    <a:off x="1999" y="1539"/>
                    <a:ext cx="724" cy="325"/>
                  </a:xfrm>
                  <a:custGeom>
                    <a:avLst/>
                    <a:gdLst>
                      <a:gd name="T0" fmla="*/ 2533 w 2598"/>
                      <a:gd name="T1" fmla="*/ 533 h 1164"/>
                      <a:gd name="T2" fmla="*/ 2448 w 2598"/>
                      <a:gd name="T3" fmla="*/ 620 h 1164"/>
                      <a:gd name="T4" fmla="*/ 2284 w 2598"/>
                      <a:gd name="T5" fmla="*/ 630 h 1164"/>
                      <a:gd name="T6" fmla="*/ 2152 w 2598"/>
                      <a:gd name="T7" fmla="*/ 790 h 1164"/>
                      <a:gd name="T8" fmla="*/ 2027 w 2598"/>
                      <a:gd name="T9" fmla="*/ 962 h 1164"/>
                      <a:gd name="T10" fmla="*/ 1965 w 2598"/>
                      <a:gd name="T11" fmla="*/ 1028 h 1164"/>
                      <a:gd name="T12" fmla="*/ 1905 w 2598"/>
                      <a:gd name="T13" fmla="*/ 988 h 1164"/>
                      <a:gd name="T14" fmla="*/ 1704 w 2598"/>
                      <a:gd name="T15" fmla="*/ 977 h 1164"/>
                      <a:gd name="T16" fmla="*/ 1597 w 2598"/>
                      <a:gd name="T17" fmla="*/ 952 h 1164"/>
                      <a:gd name="T18" fmla="*/ 1527 w 2598"/>
                      <a:gd name="T19" fmla="*/ 1015 h 1164"/>
                      <a:gd name="T20" fmla="*/ 1383 w 2598"/>
                      <a:gd name="T21" fmla="*/ 999 h 1164"/>
                      <a:gd name="T22" fmla="*/ 1313 w 2598"/>
                      <a:gd name="T23" fmla="*/ 1049 h 1164"/>
                      <a:gd name="T24" fmla="*/ 1156 w 2598"/>
                      <a:gd name="T25" fmla="*/ 1163 h 1164"/>
                      <a:gd name="T26" fmla="*/ 1128 w 2598"/>
                      <a:gd name="T27" fmla="*/ 1125 h 1164"/>
                      <a:gd name="T28" fmla="*/ 1055 w 2598"/>
                      <a:gd name="T29" fmla="*/ 1057 h 1164"/>
                      <a:gd name="T30" fmla="*/ 1060 w 2598"/>
                      <a:gd name="T31" fmla="*/ 975 h 1164"/>
                      <a:gd name="T32" fmla="*/ 891 w 2598"/>
                      <a:gd name="T33" fmla="*/ 924 h 1164"/>
                      <a:gd name="T34" fmla="*/ 779 w 2598"/>
                      <a:gd name="T35" fmla="*/ 863 h 1164"/>
                      <a:gd name="T36" fmla="*/ 664 w 2598"/>
                      <a:gd name="T37" fmla="*/ 775 h 1164"/>
                      <a:gd name="T38" fmla="*/ 469 w 2598"/>
                      <a:gd name="T39" fmla="*/ 815 h 1164"/>
                      <a:gd name="T40" fmla="*/ 308 w 2598"/>
                      <a:gd name="T41" fmla="*/ 1115 h 1164"/>
                      <a:gd name="T42" fmla="*/ 254 w 2598"/>
                      <a:gd name="T43" fmla="*/ 1030 h 1164"/>
                      <a:gd name="T44" fmla="*/ 131 w 2598"/>
                      <a:gd name="T45" fmla="*/ 1074 h 1164"/>
                      <a:gd name="T46" fmla="*/ 168 w 2598"/>
                      <a:gd name="T47" fmla="*/ 1020 h 1164"/>
                      <a:gd name="T48" fmla="*/ 104 w 2598"/>
                      <a:gd name="T49" fmla="*/ 965 h 1164"/>
                      <a:gd name="T50" fmla="*/ 83 w 2598"/>
                      <a:gd name="T51" fmla="*/ 873 h 1164"/>
                      <a:gd name="T52" fmla="*/ 151 w 2598"/>
                      <a:gd name="T53" fmla="*/ 854 h 1164"/>
                      <a:gd name="T54" fmla="*/ 243 w 2598"/>
                      <a:gd name="T55" fmla="*/ 783 h 1164"/>
                      <a:gd name="T56" fmla="*/ 341 w 2598"/>
                      <a:gd name="T57" fmla="*/ 717 h 1164"/>
                      <a:gd name="T58" fmla="*/ 288 w 2598"/>
                      <a:gd name="T59" fmla="*/ 672 h 1164"/>
                      <a:gd name="T60" fmla="*/ 153 w 2598"/>
                      <a:gd name="T61" fmla="*/ 687 h 1164"/>
                      <a:gd name="T62" fmla="*/ 59 w 2598"/>
                      <a:gd name="T63" fmla="*/ 692 h 1164"/>
                      <a:gd name="T64" fmla="*/ 73 w 2598"/>
                      <a:gd name="T65" fmla="*/ 597 h 1164"/>
                      <a:gd name="T66" fmla="*/ 0 w 2598"/>
                      <a:gd name="T67" fmla="*/ 545 h 1164"/>
                      <a:gd name="T68" fmla="*/ 60 w 2598"/>
                      <a:gd name="T69" fmla="*/ 469 h 1164"/>
                      <a:gd name="T70" fmla="*/ 196 w 2598"/>
                      <a:gd name="T71" fmla="*/ 429 h 1164"/>
                      <a:gd name="T72" fmla="*/ 414 w 2598"/>
                      <a:gd name="T73" fmla="*/ 287 h 1164"/>
                      <a:gd name="T74" fmla="*/ 616 w 2598"/>
                      <a:gd name="T75" fmla="*/ 338 h 1164"/>
                      <a:gd name="T76" fmla="*/ 756 w 2598"/>
                      <a:gd name="T77" fmla="*/ 337 h 1164"/>
                      <a:gd name="T78" fmla="*/ 914 w 2598"/>
                      <a:gd name="T79" fmla="*/ 377 h 1164"/>
                      <a:gd name="T80" fmla="*/ 1029 w 2598"/>
                      <a:gd name="T81" fmla="*/ 357 h 1164"/>
                      <a:gd name="T82" fmla="*/ 991 w 2598"/>
                      <a:gd name="T83" fmla="*/ 265 h 1164"/>
                      <a:gd name="T84" fmla="*/ 1071 w 2598"/>
                      <a:gd name="T85" fmla="*/ 207 h 1164"/>
                      <a:gd name="T86" fmla="*/ 1126 w 2598"/>
                      <a:gd name="T87" fmla="*/ 133 h 1164"/>
                      <a:gd name="T88" fmla="*/ 1410 w 2598"/>
                      <a:gd name="T89" fmla="*/ 80 h 1164"/>
                      <a:gd name="T90" fmla="*/ 1615 w 2598"/>
                      <a:gd name="T91" fmla="*/ 33 h 1164"/>
                      <a:gd name="T92" fmla="*/ 1785 w 2598"/>
                      <a:gd name="T93" fmla="*/ 17 h 1164"/>
                      <a:gd name="T94" fmla="*/ 1835 w 2598"/>
                      <a:gd name="T95" fmla="*/ 78 h 1164"/>
                      <a:gd name="T96" fmla="*/ 1874 w 2598"/>
                      <a:gd name="T97" fmla="*/ 147 h 1164"/>
                      <a:gd name="T98" fmla="*/ 2120 w 2598"/>
                      <a:gd name="T99" fmla="*/ 69 h 1164"/>
                      <a:gd name="T100" fmla="*/ 2136 w 2598"/>
                      <a:gd name="T101" fmla="*/ 153 h 1164"/>
                      <a:gd name="T102" fmla="*/ 2239 w 2598"/>
                      <a:gd name="T103" fmla="*/ 310 h 1164"/>
                      <a:gd name="T104" fmla="*/ 2403 w 2598"/>
                      <a:gd name="T105" fmla="*/ 335 h 1164"/>
                      <a:gd name="T106" fmla="*/ 2444 w 2598"/>
                      <a:gd name="T107" fmla="*/ 394 h 1164"/>
                      <a:gd name="T108" fmla="*/ 2496 w 2598"/>
                      <a:gd name="T109" fmla="*/ 443 h 1164"/>
                      <a:gd name="T110" fmla="*/ 2598 w 2598"/>
                      <a:gd name="T111" fmla="*/ 480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98" h="1164">
                        <a:moveTo>
                          <a:pt x="2598" y="480"/>
                        </a:moveTo>
                        <a:lnTo>
                          <a:pt x="2533" y="533"/>
                        </a:lnTo>
                        <a:lnTo>
                          <a:pt x="2478" y="540"/>
                        </a:lnTo>
                        <a:lnTo>
                          <a:pt x="2448" y="620"/>
                        </a:lnTo>
                        <a:lnTo>
                          <a:pt x="2402" y="657"/>
                        </a:lnTo>
                        <a:lnTo>
                          <a:pt x="2284" y="630"/>
                        </a:lnTo>
                        <a:lnTo>
                          <a:pt x="2190" y="773"/>
                        </a:lnTo>
                        <a:lnTo>
                          <a:pt x="2152" y="790"/>
                        </a:lnTo>
                        <a:lnTo>
                          <a:pt x="2014" y="822"/>
                        </a:lnTo>
                        <a:lnTo>
                          <a:pt x="2027" y="962"/>
                        </a:lnTo>
                        <a:lnTo>
                          <a:pt x="1975" y="982"/>
                        </a:lnTo>
                        <a:lnTo>
                          <a:pt x="1965" y="1028"/>
                        </a:lnTo>
                        <a:lnTo>
                          <a:pt x="1929" y="1017"/>
                        </a:lnTo>
                        <a:lnTo>
                          <a:pt x="1905" y="988"/>
                        </a:lnTo>
                        <a:lnTo>
                          <a:pt x="1812" y="979"/>
                        </a:lnTo>
                        <a:lnTo>
                          <a:pt x="1704" y="977"/>
                        </a:lnTo>
                        <a:lnTo>
                          <a:pt x="1678" y="985"/>
                        </a:lnTo>
                        <a:lnTo>
                          <a:pt x="1597" y="952"/>
                        </a:lnTo>
                        <a:lnTo>
                          <a:pt x="1554" y="968"/>
                        </a:lnTo>
                        <a:lnTo>
                          <a:pt x="1527" y="1015"/>
                        </a:lnTo>
                        <a:lnTo>
                          <a:pt x="1429" y="988"/>
                        </a:lnTo>
                        <a:lnTo>
                          <a:pt x="1383" y="999"/>
                        </a:lnTo>
                        <a:lnTo>
                          <a:pt x="1355" y="1034"/>
                        </a:lnTo>
                        <a:lnTo>
                          <a:pt x="1313" y="1049"/>
                        </a:lnTo>
                        <a:lnTo>
                          <a:pt x="1206" y="1105"/>
                        </a:lnTo>
                        <a:lnTo>
                          <a:pt x="1156" y="1163"/>
                        </a:lnTo>
                        <a:lnTo>
                          <a:pt x="1131" y="1164"/>
                        </a:lnTo>
                        <a:lnTo>
                          <a:pt x="1128" y="1125"/>
                        </a:lnTo>
                        <a:lnTo>
                          <a:pt x="1045" y="1123"/>
                        </a:lnTo>
                        <a:lnTo>
                          <a:pt x="1055" y="1057"/>
                        </a:lnTo>
                        <a:lnTo>
                          <a:pt x="1024" y="1057"/>
                        </a:lnTo>
                        <a:lnTo>
                          <a:pt x="1060" y="975"/>
                        </a:lnTo>
                        <a:lnTo>
                          <a:pt x="1005" y="918"/>
                        </a:lnTo>
                        <a:lnTo>
                          <a:pt x="891" y="924"/>
                        </a:lnTo>
                        <a:lnTo>
                          <a:pt x="810" y="935"/>
                        </a:lnTo>
                        <a:lnTo>
                          <a:pt x="779" y="863"/>
                        </a:lnTo>
                        <a:lnTo>
                          <a:pt x="739" y="833"/>
                        </a:lnTo>
                        <a:lnTo>
                          <a:pt x="664" y="775"/>
                        </a:lnTo>
                        <a:lnTo>
                          <a:pt x="655" y="769"/>
                        </a:lnTo>
                        <a:lnTo>
                          <a:pt x="469" y="815"/>
                        </a:lnTo>
                        <a:lnTo>
                          <a:pt x="343" y="1112"/>
                        </a:lnTo>
                        <a:lnTo>
                          <a:pt x="308" y="1115"/>
                        </a:lnTo>
                        <a:lnTo>
                          <a:pt x="288" y="1053"/>
                        </a:lnTo>
                        <a:lnTo>
                          <a:pt x="254" y="1030"/>
                        </a:lnTo>
                        <a:lnTo>
                          <a:pt x="173" y="1047"/>
                        </a:lnTo>
                        <a:lnTo>
                          <a:pt x="131" y="1074"/>
                        </a:lnTo>
                        <a:lnTo>
                          <a:pt x="136" y="1054"/>
                        </a:lnTo>
                        <a:lnTo>
                          <a:pt x="168" y="1020"/>
                        </a:lnTo>
                        <a:lnTo>
                          <a:pt x="168" y="993"/>
                        </a:lnTo>
                        <a:lnTo>
                          <a:pt x="104" y="965"/>
                        </a:lnTo>
                        <a:lnTo>
                          <a:pt x="109" y="893"/>
                        </a:lnTo>
                        <a:lnTo>
                          <a:pt x="83" y="873"/>
                        </a:lnTo>
                        <a:lnTo>
                          <a:pt x="93" y="847"/>
                        </a:lnTo>
                        <a:lnTo>
                          <a:pt x="151" y="854"/>
                        </a:lnTo>
                        <a:lnTo>
                          <a:pt x="181" y="795"/>
                        </a:lnTo>
                        <a:lnTo>
                          <a:pt x="243" y="783"/>
                        </a:lnTo>
                        <a:lnTo>
                          <a:pt x="293" y="795"/>
                        </a:lnTo>
                        <a:lnTo>
                          <a:pt x="341" y="717"/>
                        </a:lnTo>
                        <a:lnTo>
                          <a:pt x="354" y="668"/>
                        </a:lnTo>
                        <a:lnTo>
                          <a:pt x="288" y="672"/>
                        </a:lnTo>
                        <a:lnTo>
                          <a:pt x="244" y="652"/>
                        </a:lnTo>
                        <a:lnTo>
                          <a:pt x="153" y="687"/>
                        </a:lnTo>
                        <a:lnTo>
                          <a:pt x="85" y="704"/>
                        </a:lnTo>
                        <a:lnTo>
                          <a:pt x="59" y="692"/>
                        </a:lnTo>
                        <a:lnTo>
                          <a:pt x="86" y="650"/>
                        </a:lnTo>
                        <a:lnTo>
                          <a:pt x="73" y="597"/>
                        </a:lnTo>
                        <a:lnTo>
                          <a:pt x="25" y="599"/>
                        </a:lnTo>
                        <a:lnTo>
                          <a:pt x="0" y="545"/>
                        </a:lnTo>
                        <a:lnTo>
                          <a:pt x="69" y="485"/>
                        </a:lnTo>
                        <a:lnTo>
                          <a:pt x="60" y="469"/>
                        </a:lnTo>
                        <a:lnTo>
                          <a:pt x="159" y="383"/>
                        </a:lnTo>
                        <a:lnTo>
                          <a:pt x="196" y="429"/>
                        </a:lnTo>
                        <a:lnTo>
                          <a:pt x="238" y="372"/>
                        </a:lnTo>
                        <a:lnTo>
                          <a:pt x="414" y="287"/>
                        </a:lnTo>
                        <a:lnTo>
                          <a:pt x="511" y="284"/>
                        </a:lnTo>
                        <a:lnTo>
                          <a:pt x="616" y="338"/>
                        </a:lnTo>
                        <a:lnTo>
                          <a:pt x="673" y="370"/>
                        </a:lnTo>
                        <a:lnTo>
                          <a:pt x="756" y="337"/>
                        </a:lnTo>
                        <a:lnTo>
                          <a:pt x="855" y="335"/>
                        </a:lnTo>
                        <a:lnTo>
                          <a:pt x="914" y="377"/>
                        </a:lnTo>
                        <a:lnTo>
                          <a:pt x="944" y="353"/>
                        </a:lnTo>
                        <a:lnTo>
                          <a:pt x="1029" y="357"/>
                        </a:lnTo>
                        <a:lnTo>
                          <a:pt x="1064" y="319"/>
                        </a:lnTo>
                        <a:lnTo>
                          <a:pt x="991" y="265"/>
                        </a:lnTo>
                        <a:lnTo>
                          <a:pt x="1071" y="228"/>
                        </a:lnTo>
                        <a:lnTo>
                          <a:pt x="1071" y="207"/>
                        </a:lnTo>
                        <a:lnTo>
                          <a:pt x="1141" y="187"/>
                        </a:lnTo>
                        <a:lnTo>
                          <a:pt x="1126" y="133"/>
                        </a:lnTo>
                        <a:lnTo>
                          <a:pt x="1169" y="107"/>
                        </a:lnTo>
                        <a:lnTo>
                          <a:pt x="1410" y="80"/>
                        </a:lnTo>
                        <a:lnTo>
                          <a:pt x="1449" y="60"/>
                        </a:lnTo>
                        <a:lnTo>
                          <a:pt x="1615" y="33"/>
                        </a:lnTo>
                        <a:lnTo>
                          <a:pt x="1686" y="0"/>
                        </a:lnTo>
                        <a:lnTo>
                          <a:pt x="1785" y="17"/>
                        </a:lnTo>
                        <a:lnTo>
                          <a:pt x="1763" y="97"/>
                        </a:lnTo>
                        <a:lnTo>
                          <a:pt x="1835" y="78"/>
                        </a:lnTo>
                        <a:lnTo>
                          <a:pt x="1900" y="104"/>
                        </a:lnTo>
                        <a:lnTo>
                          <a:pt x="1874" y="147"/>
                        </a:lnTo>
                        <a:lnTo>
                          <a:pt x="1935" y="142"/>
                        </a:lnTo>
                        <a:lnTo>
                          <a:pt x="2120" y="69"/>
                        </a:lnTo>
                        <a:lnTo>
                          <a:pt x="2088" y="94"/>
                        </a:lnTo>
                        <a:lnTo>
                          <a:pt x="2136" y="153"/>
                        </a:lnTo>
                        <a:lnTo>
                          <a:pt x="2189" y="352"/>
                        </a:lnTo>
                        <a:lnTo>
                          <a:pt x="2239" y="310"/>
                        </a:lnTo>
                        <a:lnTo>
                          <a:pt x="2306" y="355"/>
                        </a:lnTo>
                        <a:lnTo>
                          <a:pt x="2403" y="335"/>
                        </a:lnTo>
                        <a:lnTo>
                          <a:pt x="2431" y="349"/>
                        </a:lnTo>
                        <a:lnTo>
                          <a:pt x="2444" y="394"/>
                        </a:lnTo>
                        <a:lnTo>
                          <a:pt x="2483" y="409"/>
                        </a:lnTo>
                        <a:lnTo>
                          <a:pt x="2496" y="443"/>
                        </a:lnTo>
                        <a:lnTo>
                          <a:pt x="2581" y="433"/>
                        </a:lnTo>
                        <a:lnTo>
                          <a:pt x="2598" y="48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3" name="Kenya" descr="{&quot;Key&quot;:&quot;kenya&quot;,&quot;Name&quot;:&quot;Kenya&quot;,&quot;Value&quot;:1.0,&quot;Formula&quot;:&quot;&quot;,&quot;Text&quot;:&quot;&quot;,&quot;OfficeApplication&quot;:1,&quot;HasValue&quot;:true}">
                    <a:extLst>
                      <a:ext uri="{FF2B5EF4-FFF2-40B4-BE49-F238E27FC236}">
                        <a16:creationId xmlns:a16="http://schemas.microsoft.com/office/drawing/2014/main" id="{A526A52B-249A-E21D-5BC9-DD5491F1E46E}"/>
                      </a:ext>
                    </a:extLst>
                  </p:cNvPr>
                  <p:cNvSpPr>
                    <a:spLocks/>
                  </p:cNvSpPr>
                  <p:nvPr/>
                </p:nvSpPr>
                <p:spPr bwMode="auto">
                  <a:xfrm>
                    <a:off x="1493" y="2660"/>
                    <a:ext cx="161" cy="231"/>
                  </a:xfrm>
                  <a:custGeom>
                    <a:avLst/>
                    <a:gdLst>
                      <a:gd name="T0" fmla="*/ 578 w 578"/>
                      <a:gd name="T1" fmla="*/ 129 h 828"/>
                      <a:gd name="T2" fmla="*/ 512 w 578"/>
                      <a:gd name="T3" fmla="*/ 222 h 828"/>
                      <a:gd name="T4" fmla="*/ 510 w 578"/>
                      <a:gd name="T5" fmla="*/ 516 h 828"/>
                      <a:gd name="T6" fmla="*/ 553 w 578"/>
                      <a:gd name="T7" fmla="*/ 584 h 828"/>
                      <a:gd name="T8" fmla="*/ 503 w 578"/>
                      <a:gd name="T9" fmla="*/ 616 h 828"/>
                      <a:gd name="T10" fmla="*/ 487 w 578"/>
                      <a:gd name="T11" fmla="*/ 650 h 828"/>
                      <a:gd name="T12" fmla="*/ 460 w 578"/>
                      <a:gd name="T13" fmla="*/ 657 h 828"/>
                      <a:gd name="T14" fmla="*/ 452 w 578"/>
                      <a:gd name="T15" fmla="*/ 714 h 828"/>
                      <a:gd name="T16" fmla="*/ 430 w 578"/>
                      <a:gd name="T17" fmla="*/ 747 h 828"/>
                      <a:gd name="T18" fmla="*/ 418 w 578"/>
                      <a:gd name="T19" fmla="*/ 800 h 828"/>
                      <a:gd name="T20" fmla="*/ 391 w 578"/>
                      <a:gd name="T21" fmla="*/ 828 h 828"/>
                      <a:gd name="T22" fmla="*/ 285 w 578"/>
                      <a:gd name="T23" fmla="*/ 747 h 828"/>
                      <a:gd name="T24" fmla="*/ 277 w 578"/>
                      <a:gd name="T25" fmla="*/ 699 h 828"/>
                      <a:gd name="T26" fmla="*/ 13 w 578"/>
                      <a:gd name="T27" fmla="*/ 534 h 828"/>
                      <a:gd name="T28" fmla="*/ 17 w 578"/>
                      <a:gd name="T29" fmla="*/ 473 h 828"/>
                      <a:gd name="T30" fmla="*/ 0 w 578"/>
                      <a:gd name="T31" fmla="*/ 443 h 828"/>
                      <a:gd name="T32" fmla="*/ 0 w 578"/>
                      <a:gd name="T33" fmla="*/ 439 h 828"/>
                      <a:gd name="T34" fmla="*/ 20 w 578"/>
                      <a:gd name="T35" fmla="*/ 405 h 828"/>
                      <a:gd name="T36" fmla="*/ 56 w 578"/>
                      <a:gd name="T37" fmla="*/ 352 h 828"/>
                      <a:gd name="T38" fmla="*/ 83 w 578"/>
                      <a:gd name="T39" fmla="*/ 293 h 828"/>
                      <a:gd name="T40" fmla="*/ 55 w 578"/>
                      <a:gd name="T41" fmla="*/ 199 h 828"/>
                      <a:gd name="T42" fmla="*/ 48 w 578"/>
                      <a:gd name="T43" fmla="*/ 158 h 828"/>
                      <a:gd name="T44" fmla="*/ 16 w 578"/>
                      <a:gd name="T45" fmla="*/ 102 h 828"/>
                      <a:gd name="T46" fmla="*/ 62 w 578"/>
                      <a:gd name="T47" fmla="*/ 53 h 828"/>
                      <a:gd name="T48" fmla="*/ 113 w 578"/>
                      <a:gd name="T49" fmla="*/ 0 h 828"/>
                      <a:gd name="T50" fmla="*/ 151 w 578"/>
                      <a:gd name="T51" fmla="*/ 14 h 828"/>
                      <a:gd name="T52" fmla="*/ 148 w 578"/>
                      <a:gd name="T53" fmla="*/ 59 h 828"/>
                      <a:gd name="T54" fmla="*/ 171 w 578"/>
                      <a:gd name="T55" fmla="*/ 85 h 828"/>
                      <a:gd name="T56" fmla="*/ 221 w 578"/>
                      <a:gd name="T57" fmla="*/ 85 h 828"/>
                      <a:gd name="T58" fmla="*/ 310 w 578"/>
                      <a:gd name="T59" fmla="*/ 155 h 828"/>
                      <a:gd name="T60" fmla="*/ 332 w 578"/>
                      <a:gd name="T61" fmla="*/ 155 h 828"/>
                      <a:gd name="T62" fmla="*/ 348 w 578"/>
                      <a:gd name="T63" fmla="*/ 154 h 828"/>
                      <a:gd name="T64" fmla="*/ 365 w 578"/>
                      <a:gd name="T65" fmla="*/ 163 h 828"/>
                      <a:gd name="T66" fmla="*/ 412 w 578"/>
                      <a:gd name="T67" fmla="*/ 169 h 828"/>
                      <a:gd name="T68" fmla="*/ 435 w 578"/>
                      <a:gd name="T69" fmla="*/ 135 h 828"/>
                      <a:gd name="T70" fmla="*/ 501 w 578"/>
                      <a:gd name="T71" fmla="*/ 102 h 828"/>
                      <a:gd name="T72" fmla="*/ 530 w 578"/>
                      <a:gd name="T73" fmla="*/ 129 h 828"/>
                      <a:gd name="T74" fmla="*/ 578 w 578"/>
                      <a:gd name="T75" fmla="*/ 129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8" h="828">
                        <a:moveTo>
                          <a:pt x="578" y="129"/>
                        </a:moveTo>
                        <a:lnTo>
                          <a:pt x="512" y="222"/>
                        </a:lnTo>
                        <a:lnTo>
                          <a:pt x="510" y="516"/>
                        </a:lnTo>
                        <a:lnTo>
                          <a:pt x="553" y="584"/>
                        </a:lnTo>
                        <a:lnTo>
                          <a:pt x="503" y="616"/>
                        </a:lnTo>
                        <a:lnTo>
                          <a:pt x="487" y="650"/>
                        </a:lnTo>
                        <a:lnTo>
                          <a:pt x="460" y="657"/>
                        </a:lnTo>
                        <a:lnTo>
                          <a:pt x="452" y="714"/>
                        </a:lnTo>
                        <a:lnTo>
                          <a:pt x="430" y="747"/>
                        </a:lnTo>
                        <a:lnTo>
                          <a:pt x="418" y="800"/>
                        </a:lnTo>
                        <a:lnTo>
                          <a:pt x="391" y="828"/>
                        </a:lnTo>
                        <a:lnTo>
                          <a:pt x="285" y="747"/>
                        </a:lnTo>
                        <a:lnTo>
                          <a:pt x="277" y="699"/>
                        </a:lnTo>
                        <a:lnTo>
                          <a:pt x="13" y="534"/>
                        </a:lnTo>
                        <a:lnTo>
                          <a:pt x="17" y="473"/>
                        </a:lnTo>
                        <a:lnTo>
                          <a:pt x="0" y="443"/>
                        </a:lnTo>
                        <a:lnTo>
                          <a:pt x="0" y="439"/>
                        </a:lnTo>
                        <a:lnTo>
                          <a:pt x="20" y="405"/>
                        </a:lnTo>
                        <a:lnTo>
                          <a:pt x="56" y="352"/>
                        </a:lnTo>
                        <a:lnTo>
                          <a:pt x="83" y="293"/>
                        </a:lnTo>
                        <a:lnTo>
                          <a:pt x="55" y="199"/>
                        </a:lnTo>
                        <a:lnTo>
                          <a:pt x="48" y="158"/>
                        </a:lnTo>
                        <a:lnTo>
                          <a:pt x="16" y="102"/>
                        </a:lnTo>
                        <a:lnTo>
                          <a:pt x="62" y="53"/>
                        </a:lnTo>
                        <a:lnTo>
                          <a:pt x="113" y="0"/>
                        </a:lnTo>
                        <a:lnTo>
                          <a:pt x="151" y="14"/>
                        </a:lnTo>
                        <a:lnTo>
                          <a:pt x="148" y="59"/>
                        </a:lnTo>
                        <a:lnTo>
                          <a:pt x="171" y="85"/>
                        </a:lnTo>
                        <a:lnTo>
                          <a:pt x="221" y="85"/>
                        </a:lnTo>
                        <a:lnTo>
                          <a:pt x="310" y="155"/>
                        </a:lnTo>
                        <a:lnTo>
                          <a:pt x="332" y="155"/>
                        </a:lnTo>
                        <a:lnTo>
                          <a:pt x="348" y="154"/>
                        </a:lnTo>
                        <a:lnTo>
                          <a:pt x="365" y="163"/>
                        </a:lnTo>
                        <a:lnTo>
                          <a:pt x="412" y="169"/>
                        </a:lnTo>
                        <a:lnTo>
                          <a:pt x="435" y="135"/>
                        </a:lnTo>
                        <a:lnTo>
                          <a:pt x="501" y="102"/>
                        </a:lnTo>
                        <a:lnTo>
                          <a:pt x="530" y="129"/>
                        </a:lnTo>
                        <a:lnTo>
                          <a:pt x="578" y="12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4" name="Kyrgyzstan" descr="{&quot;Key&quot;:&quot;kyrgyzstan&quot;,&quot;Name&quot;:&quot;Kyrgyzstan&quot;,&quot;Value&quot;:1.0,&quot;Formula&quot;:&quot;&quot;,&quot;Text&quot;:&quot;&quot;,&quot;OfficeApplication&quot;:1,&quot;HasValue&quot;:true}">
                    <a:extLst>
                      <a:ext uri="{FF2B5EF4-FFF2-40B4-BE49-F238E27FC236}">
                        <a16:creationId xmlns:a16="http://schemas.microsoft.com/office/drawing/2014/main" id="{80CBE626-8E72-16F1-92C1-9195306A9CB4}"/>
                      </a:ext>
                    </a:extLst>
                  </p:cNvPr>
                  <p:cNvSpPr>
                    <a:spLocks/>
                  </p:cNvSpPr>
                  <p:nvPr/>
                </p:nvSpPr>
                <p:spPr bwMode="auto">
                  <a:xfrm>
                    <a:off x="2328" y="1804"/>
                    <a:ext cx="219" cy="90"/>
                  </a:xfrm>
                  <a:custGeom>
                    <a:avLst/>
                    <a:gdLst>
                      <a:gd name="T0" fmla="*/ 785 w 785"/>
                      <a:gd name="T1" fmla="*/ 77 h 324"/>
                      <a:gd name="T2" fmla="*/ 770 w 785"/>
                      <a:gd name="T3" fmla="*/ 96 h 324"/>
                      <a:gd name="T4" fmla="*/ 653 w 785"/>
                      <a:gd name="T5" fmla="*/ 139 h 324"/>
                      <a:gd name="T6" fmla="*/ 620 w 785"/>
                      <a:gd name="T7" fmla="*/ 171 h 324"/>
                      <a:gd name="T8" fmla="*/ 533 w 785"/>
                      <a:gd name="T9" fmla="*/ 181 h 324"/>
                      <a:gd name="T10" fmla="*/ 492 w 785"/>
                      <a:gd name="T11" fmla="*/ 232 h 324"/>
                      <a:gd name="T12" fmla="*/ 425 w 785"/>
                      <a:gd name="T13" fmla="*/ 221 h 324"/>
                      <a:gd name="T14" fmla="*/ 374 w 785"/>
                      <a:gd name="T15" fmla="*/ 237 h 324"/>
                      <a:gd name="T16" fmla="*/ 299 w 785"/>
                      <a:gd name="T17" fmla="*/ 274 h 324"/>
                      <a:gd name="T18" fmla="*/ 303 w 785"/>
                      <a:gd name="T19" fmla="*/ 294 h 324"/>
                      <a:gd name="T20" fmla="*/ 278 w 785"/>
                      <a:gd name="T21" fmla="*/ 312 h 324"/>
                      <a:gd name="T22" fmla="*/ 148 w 785"/>
                      <a:gd name="T23" fmla="*/ 324 h 324"/>
                      <a:gd name="T24" fmla="*/ 75 w 785"/>
                      <a:gd name="T25" fmla="*/ 298 h 324"/>
                      <a:gd name="T26" fmla="*/ 0 w 785"/>
                      <a:gd name="T27" fmla="*/ 304 h 324"/>
                      <a:gd name="T28" fmla="*/ 23 w 785"/>
                      <a:gd name="T29" fmla="*/ 258 h 324"/>
                      <a:gd name="T30" fmla="*/ 90 w 785"/>
                      <a:gd name="T31" fmla="*/ 272 h 324"/>
                      <a:gd name="T32" fmla="*/ 123 w 785"/>
                      <a:gd name="T33" fmla="*/ 247 h 324"/>
                      <a:gd name="T34" fmla="*/ 170 w 785"/>
                      <a:gd name="T35" fmla="*/ 254 h 324"/>
                      <a:gd name="T36" fmla="*/ 274 w 785"/>
                      <a:gd name="T37" fmla="*/ 197 h 324"/>
                      <a:gd name="T38" fmla="*/ 210 w 785"/>
                      <a:gd name="T39" fmla="*/ 154 h 324"/>
                      <a:gd name="T40" fmla="*/ 156 w 785"/>
                      <a:gd name="T41" fmla="*/ 174 h 324"/>
                      <a:gd name="T42" fmla="*/ 119 w 785"/>
                      <a:gd name="T43" fmla="*/ 144 h 324"/>
                      <a:gd name="T44" fmla="*/ 191 w 785"/>
                      <a:gd name="T45" fmla="*/ 92 h 324"/>
                      <a:gd name="T46" fmla="*/ 175 w 785"/>
                      <a:gd name="T47" fmla="*/ 83 h 324"/>
                      <a:gd name="T48" fmla="*/ 203 w 785"/>
                      <a:gd name="T49" fmla="*/ 48 h 324"/>
                      <a:gd name="T50" fmla="*/ 249 w 785"/>
                      <a:gd name="T51" fmla="*/ 37 h 324"/>
                      <a:gd name="T52" fmla="*/ 347 w 785"/>
                      <a:gd name="T53" fmla="*/ 64 h 324"/>
                      <a:gd name="T54" fmla="*/ 374 w 785"/>
                      <a:gd name="T55" fmla="*/ 17 h 324"/>
                      <a:gd name="T56" fmla="*/ 417 w 785"/>
                      <a:gd name="T57" fmla="*/ 0 h 324"/>
                      <a:gd name="T58" fmla="*/ 498 w 785"/>
                      <a:gd name="T59" fmla="*/ 34 h 324"/>
                      <a:gd name="T60" fmla="*/ 524 w 785"/>
                      <a:gd name="T61" fmla="*/ 25 h 324"/>
                      <a:gd name="T62" fmla="*/ 632 w 785"/>
                      <a:gd name="T63" fmla="*/ 28 h 324"/>
                      <a:gd name="T64" fmla="*/ 725 w 785"/>
                      <a:gd name="T65" fmla="*/ 37 h 324"/>
                      <a:gd name="T66" fmla="*/ 749 w 785"/>
                      <a:gd name="T67" fmla="*/ 65 h 324"/>
                      <a:gd name="T68" fmla="*/ 785 w 785"/>
                      <a:gd name="T69" fmla="*/ 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5" h="324">
                        <a:moveTo>
                          <a:pt x="785" y="77"/>
                        </a:moveTo>
                        <a:lnTo>
                          <a:pt x="770" y="96"/>
                        </a:lnTo>
                        <a:lnTo>
                          <a:pt x="653" y="139"/>
                        </a:lnTo>
                        <a:lnTo>
                          <a:pt x="620" y="171"/>
                        </a:lnTo>
                        <a:lnTo>
                          <a:pt x="533" y="181"/>
                        </a:lnTo>
                        <a:lnTo>
                          <a:pt x="492" y="232"/>
                        </a:lnTo>
                        <a:lnTo>
                          <a:pt x="425" y="221"/>
                        </a:lnTo>
                        <a:lnTo>
                          <a:pt x="374" y="237"/>
                        </a:lnTo>
                        <a:lnTo>
                          <a:pt x="299" y="274"/>
                        </a:lnTo>
                        <a:lnTo>
                          <a:pt x="303" y="294"/>
                        </a:lnTo>
                        <a:lnTo>
                          <a:pt x="278" y="312"/>
                        </a:lnTo>
                        <a:lnTo>
                          <a:pt x="148" y="324"/>
                        </a:lnTo>
                        <a:lnTo>
                          <a:pt x="75" y="298"/>
                        </a:lnTo>
                        <a:lnTo>
                          <a:pt x="0" y="304"/>
                        </a:lnTo>
                        <a:lnTo>
                          <a:pt x="23" y="258"/>
                        </a:lnTo>
                        <a:lnTo>
                          <a:pt x="90" y="272"/>
                        </a:lnTo>
                        <a:lnTo>
                          <a:pt x="123" y="247"/>
                        </a:lnTo>
                        <a:lnTo>
                          <a:pt x="170" y="254"/>
                        </a:lnTo>
                        <a:lnTo>
                          <a:pt x="274" y="197"/>
                        </a:lnTo>
                        <a:lnTo>
                          <a:pt x="210" y="154"/>
                        </a:lnTo>
                        <a:lnTo>
                          <a:pt x="156" y="174"/>
                        </a:lnTo>
                        <a:lnTo>
                          <a:pt x="119" y="144"/>
                        </a:lnTo>
                        <a:lnTo>
                          <a:pt x="191" y="92"/>
                        </a:lnTo>
                        <a:lnTo>
                          <a:pt x="175" y="83"/>
                        </a:lnTo>
                        <a:lnTo>
                          <a:pt x="203" y="48"/>
                        </a:lnTo>
                        <a:lnTo>
                          <a:pt x="249" y="37"/>
                        </a:lnTo>
                        <a:lnTo>
                          <a:pt x="347" y="64"/>
                        </a:lnTo>
                        <a:lnTo>
                          <a:pt x="374" y="17"/>
                        </a:lnTo>
                        <a:lnTo>
                          <a:pt x="417" y="0"/>
                        </a:lnTo>
                        <a:lnTo>
                          <a:pt x="498" y="34"/>
                        </a:lnTo>
                        <a:lnTo>
                          <a:pt x="524" y="25"/>
                        </a:lnTo>
                        <a:lnTo>
                          <a:pt x="632" y="28"/>
                        </a:lnTo>
                        <a:lnTo>
                          <a:pt x="725" y="37"/>
                        </a:lnTo>
                        <a:lnTo>
                          <a:pt x="749" y="65"/>
                        </a:lnTo>
                        <a:lnTo>
                          <a:pt x="785" y="7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5" name="Cambodia" descr="{&quot;Key&quot;:&quot;cambodia&quot;,&quot;Name&quot;:&quot;Cambodia&quot;,&quot;Value&quot;:1.0,&quot;Formula&quot;:&quot;&quot;,&quot;Text&quot;:&quot;&quot;,&quot;OfficeApplication&quot;:1,&quot;HasValue&quot;:true}">
                    <a:extLst>
                      <a:ext uri="{FF2B5EF4-FFF2-40B4-BE49-F238E27FC236}">
                        <a16:creationId xmlns:a16="http://schemas.microsoft.com/office/drawing/2014/main" id="{08A27A85-6286-0190-8F56-AA4EBCAA1C44}"/>
                      </a:ext>
                    </a:extLst>
                  </p:cNvPr>
                  <p:cNvSpPr>
                    <a:spLocks/>
                  </p:cNvSpPr>
                  <p:nvPr/>
                </p:nvSpPr>
                <p:spPr bwMode="auto">
                  <a:xfrm>
                    <a:off x="2871" y="2454"/>
                    <a:ext cx="105" cy="93"/>
                  </a:xfrm>
                  <a:custGeom>
                    <a:avLst/>
                    <a:gdLst>
                      <a:gd name="T0" fmla="*/ 362 w 376"/>
                      <a:gd name="T1" fmla="*/ 30 h 332"/>
                      <a:gd name="T2" fmla="*/ 376 w 376"/>
                      <a:gd name="T3" fmla="*/ 84 h 332"/>
                      <a:gd name="T4" fmla="*/ 362 w 376"/>
                      <a:gd name="T5" fmla="*/ 181 h 332"/>
                      <a:gd name="T6" fmla="*/ 241 w 376"/>
                      <a:gd name="T7" fmla="*/ 244 h 332"/>
                      <a:gd name="T8" fmla="*/ 270 w 376"/>
                      <a:gd name="T9" fmla="*/ 294 h 332"/>
                      <a:gd name="T10" fmla="*/ 195 w 376"/>
                      <a:gd name="T11" fmla="*/ 300 h 332"/>
                      <a:gd name="T12" fmla="*/ 132 w 376"/>
                      <a:gd name="T13" fmla="*/ 332 h 332"/>
                      <a:gd name="T14" fmla="*/ 72 w 376"/>
                      <a:gd name="T15" fmla="*/ 320 h 332"/>
                      <a:gd name="T16" fmla="*/ 45 w 376"/>
                      <a:gd name="T17" fmla="*/ 277 h 332"/>
                      <a:gd name="T18" fmla="*/ 12 w 376"/>
                      <a:gd name="T19" fmla="*/ 194 h 332"/>
                      <a:gd name="T20" fmla="*/ 0 w 376"/>
                      <a:gd name="T21" fmla="*/ 96 h 332"/>
                      <a:gd name="T22" fmla="*/ 50 w 376"/>
                      <a:gd name="T23" fmla="*/ 29 h 332"/>
                      <a:gd name="T24" fmla="*/ 142 w 376"/>
                      <a:gd name="T25" fmla="*/ 12 h 332"/>
                      <a:gd name="T26" fmla="*/ 208 w 376"/>
                      <a:gd name="T27" fmla="*/ 25 h 332"/>
                      <a:gd name="T28" fmla="*/ 265 w 376"/>
                      <a:gd name="T29" fmla="*/ 56 h 332"/>
                      <a:gd name="T30" fmla="*/ 300 w 376"/>
                      <a:gd name="T31" fmla="*/ 0 h 332"/>
                      <a:gd name="T32" fmla="*/ 362 w 376"/>
                      <a:gd name="T33" fmla="*/ 3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6" h="332">
                        <a:moveTo>
                          <a:pt x="362" y="30"/>
                        </a:moveTo>
                        <a:lnTo>
                          <a:pt x="376" y="84"/>
                        </a:lnTo>
                        <a:lnTo>
                          <a:pt x="362" y="181"/>
                        </a:lnTo>
                        <a:lnTo>
                          <a:pt x="241" y="244"/>
                        </a:lnTo>
                        <a:lnTo>
                          <a:pt x="270" y="294"/>
                        </a:lnTo>
                        <a:lnTo>
                          <a:pt x="195" y="300"/>
                        </a:lnTo>
                        <a:lnTo>
                          <a:pt x="132" y="332"/>
                        </a:lnTo>
                        <a:lnTo>
                          <a:pt x="72" y="320"/>
                        </a:lnTo>
                        <a:lnTo>
                          <a:pt x="45" y="277"/>
                        </a:lnTo>
                        <a:lnTo>
                          <a:pt x="12" y="194"/>
                        </a:lnTo>
                        <a:lnTo>
                          <a:pt x="0" y="96"/>
                        </a:lnTo>
                        <a:lnTo>
                          <a:pt x="50" y="29"/>
                        </a:lnTo>
                        <a:lnTo>
                          <a:pt x="142" y="12"/>
                        </a:lnTo>
                        <a:lnTo>
                          <a:pt x="208" y="25"/>
                        </a:lnTo>
                        <a:lnTo>
                          <a:pt x="265" y="56"/>
                        </a:lnTo>
                        <a:lnTo>
                          <a:pt x="300" y="0"/>
                        </a:lnTo>
                        <a:lnTo>
                          <a:pt x="362" y="3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6" name="South Korea" descr="{&quot;Key&quot;:&quot;south korea&quot;,&quot;Name&quot;:&quot;South Korea&quot;,&quot;Value&quot;:1.0,&quot;Formula&quot;:&quot;&quot;,&quot;Text&quot;:&quot;&quot;,&quot;OfficeApplication&quot;:1,&quot;HasValue&quot;:true}">
                    <a:extLst>
                      <a:ext uri="{FF2B5EF4-FFF2-40B4-BE49-F238E27FC236}">
                        <a16:creationId xmlns:a16="http://schemas.microsoft.com/office/drawing/2014/main" id="{907824ED-6264-BA5D-4C4F-ABB765D7F481}"/>
                      </a:ext>
                    </a:extLst>
                  </p:cNvPr>
                  <p:cNvSpPr>
                    <a:spLocks/>
                  </p:cNvSpPr>
                  <p:nvPr/>
                </p:nvSpPr>
                <p:spPr bwMode="auto">
                  <a:xfrm>
                    <a:off x="3370" y="1910"/>
                    <a:ext cx="63" cy="95"/>
                  </a:xfrm>
                  <a:custGeom>
                    <a:avLst/>
                    <a:gdLst>
                      <a:gd name="T0" fmla="*/ 11 w 225"/>
                      <a:gd name="T1" fmla="*/ 70 h 342"/>
                      <a:gd name="T2" fmla="*/ 15 w 225"/>
                      <a:gd name="T3" fmla="*/ 63 h 342"/>
                      <a:gd name="T4" fmla="*/ 45 w 225"/>
                      <a:gd name="T5" fmla="*/ 66 h 342"/>
                      <a:gd name="T6" fmla="*/ 73 w 225"/>
                      <a:gd name="T7" fmla="*/ 29 h 342"/>
                      <a:gd name="T8" fmla="*/ 121 w 225"/>
                      <a:gd name="T9" fmla="*/ 25 h 342"/>
                      <a:gd name="T10" fmla="*/ 151 w 225"/>
                      <a:gd name="T11" fmla="*/ 20 h 342"/>
                      <a:gd name="T12" fmla="*/ 162 w 225"/>
                      <a:gd name="T13" fmla="*/ 0 h 342"/>
                      <a:gd name="T14" fmla="*/ 212 w 225"/>
                      <a:gd name="T15" fmla="*/ 96 h 342"/>
                      <a:gd name="T16" fmla="*/ 225 w 225"/>
                      <a:gd name="T17" fmla="*/ 149 h 342"/>
                      <a:gd name="T18" fmla="*/ 218 w 225"/>
                      <a:gd name="T19" fmla="*/ 242 h 342"/>
                      <a:gd name="T20" fmla="*/ 190 w 225"/>
                      <a:gd name="T21" fmla="*/ 286 h 342"/>
                      <a:gd name="T22" fmla="*/ 127 w 225"/>
                      <a:gd name="T23" fmla="*/ 302 h 342"/>
                      <a:gd name="T24" fmla="*/ 70 w 225"/>
                      <a:gd name="T25" fmla="*/ 336 h 342"/>
                      <a:gd name="T26" fmla="*/ 8 w 225"/>
                      <a:gd name="T27" fmla="*/ 342 h 342"/>
                      <a:gd name="T28" fmla="*/ 5 w 225"/>
                      <a:gd name="T29" fmla="*/ 299 h 342"/>
                      <a:gd name="T30" fmla="*/ 22 w 225"/>
                      <a:gd name="T31" fmla="*/ 238 h 342"/>
                      <a:gd name="T32" fmla="*/ 0 w 225"/>
                      <a:gd name="T33" fmla="*/ 154 h 342"/>
                      <a:gd name="T34" fmla="*/ 50 w 225"/>
                      <a:gd name="T35" fmla="*/ 140 h 342"/>
                      <a:gd name="T36" fmla="*/ 11 w 225"/>
                      <a:gd name="T37" fmla="*/ 7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342">
                        <a:moveTo>
                          <a:pt x="11" y="70"/>
                        </a:moveTo>
                        <a:lnTo>
                          <a:pt x="15" y="63"/>
                        </a:lnTo>
                        <a:lnTo>
                          <a:pt x="45" y="66"/>
                        </a:lnTo>
                        <a:lnTo>
                          <a:pt x="73" y="29"/>
                        </a:lnTo>
                        <a:lnTo>
                          <a:pt x="121" y="25"/>
                        </a:lnTo>
                        <a:lnTo>
                          <a:pt x="151" y="20"/>
                        </a:lnTo>
                        <a:lnTo>
                          <a:pt x="162" y="0"/>
                        </a:lnTo>
                        <a:lnTo>
                          <a:pt x="212" y="96"/>
                        </a:lnTo>
                        <a:lnTo>
                          <a:pt x="225" y="149"/>
                        </a:lnTo>
                        <a:lnTo>
                          <a:pt x="218" y="242"/>
                        </a:lnTo>
                        <a:lnTo>
                          <a:pt x="190" y="286"/>
                        </a:lnTo>
                        <a:lnTo>
                          <a:pt x="127" y="302"/>
                        </a:lnTo>
                        <a:lnTo>
                          <a:pt x="70" y="336"/>
                        </a:lnTo>
                        <a:lnTo>
                          <a:pt x="8" y="342"/>
                        </a:lnTo>
                        <a:lnTo>
                          <a:pt x="5" y="299"/>
                        </a:lnTo>
                        <a:lnTo>
                          <a:pt x="22" y="238"/>
                        </a:lnTo>
                        <a:lnTo>
                          <a:pt x="0" y="154"/>
                        </a:lnTo>
                        <a:lnTo>
                          <a:pt x="50" y="140"/>
                        </a:lnTo>
                        <a:lnTo>
                          <a:pt x="11" y="7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7" name="Kuwait" descr="{&quot;Key&quot;:&quot;kuwait&quot;,&quot;Name&quot;:&quot;Kuwait&quot;,&quot;Value&quot;:1.0,&quot;Formula&quot;:&quot;&quot;,&quot;Text&quot;:&quot;&quot;,&quot;OfficeApplication&quot;:1,&quot;HasValue&quot;:true}">
                    <a:extLst>
                      <a:ext uri="{FF2B5EF4-FFF2-40B4-BE49-F238E27FC236}">
                        <a16:creationId xmlns:a16="http://schemas.microsoft.com/office/drawing/2014/main" id="{8A623F32-0CBE-0EDB-CE65-0F869FB7A7CF}"/>
                      </a:ext>
                    </a:extLst>
                  </p:cNvPr>
                  <p:cNvSpPr>
                    <a:spLocks/>
                  </p:cNvSpPr>
                  <p:nvPr/>
                </p:nvSpPr>
                <p:spPr bwMode="auto">
                  <a:xfrm>
                    <a:off x="1824" y="2103"/>
                    <a:ext cx="34" cy="35"/>
                  </a:xfrm>
                  <a:custGeom>
                    <a:avLst/>
                    <a:gdLst>
                      <a:gd name="T0" fmla="*/ 116 w 120"/>
                      <a:gd name="T1" fmla="*/ 6 h 125"/>
                      <a:gd name="T2" fmla="*/ 120 w 120"/>
                      <a:gd name="T3" fmla="*/ 43 h 125"/>
                      <a:gd name="T4" fmla="*/ 109 w 120"/>
                      <a:gd name="T5" fmla="*/ 61 h 125"/>
                      <a:gd name="T6" fmla="*/ 116 w 120"/>
                      <a:gd name="T7" fmla="*/ 122 h 125"/>
                      <a:gd name="T8" fmla="*/ 66 w 120"/>
                      <a:gd name="T9" fmla="*/ 125 h 125"/>
                      <a:gd name="T10" fmla="*/ 59 w 120"/>
                      <a:gd name="T11" fmla="*/ 86 h 125"/>
                      <a:gd name="T12" fmla="*/ 0 w 120"/>
                      <a:gd name="T13" fmla="*/ 77 h 125"/>
                      <a:gd name="T14" fmla="*/ 71 w 120"/>
                      <a:gd name="T15" fmla="*/ 0 h 125"/>
                      <a:gd name="T16" fmla="*/ 116 w 120"/>
                      <a:gd name="T17"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25">
                        <a:moveTo>
                          <a:pt x="116" y="6"/>
                        </a:moveTo>
                        <a:lnTo>
                          <a:pt x="120" y="43"/>
                        </a:lnTo>
                        <a:lnTo>
                          <a:pt x="109" y="61"/>
                        </a:lnTo>
                        <a:lnTo>
                          <a:pt x="116" y="122"/>
                        </a:lnTo>
                        <a:lnTo>
                          <a:pt x="66" y="125"/>
                        </a:lnTo>
                        <a:lnTo>
                          <a:pt x="59" y="86"/>
                        </a:lnTo>
                        <a:lnTo>
                          <a:pt x="0" y="77"/>
                        </a:lnTo>
                        <a:lnTo>
                          <a:pt x="71" y="0"/>
                        </a:lnTo>
                        <a:lnTo>
                          <a:pt x="116" y="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8" name="Laos" descr="{&quot;Key&quot;:&quot;laos&quot;,&quot;Name&quot;:&quot;Laos&quot;,&quot;Value&quot;:1.0,&quot;Formula&quot;:&quot;&quot;,&quot;Text&quot;:&quot;&quot;,&quot;OfficeApplication&quot;:1,&quot;HasValue&quot;:true}">
                    <a:extLst>
                      <a:ext uri="{FF2B5EF4-FFF2-40B4-BE49-F238E27FC236}">
                        <a16:creationId xmlns:a16="http://schemas.microsoft.com/office/drawing/2014/main" id="{1409975C-A259-902B-DA45-76151C520A8C}"/>
                      </a:ext>
                    </a:extLst>
                  </p:cNvPr>
                  <p:cNvSpPr>
                    <a:spLocks/>
                  </p:cNvSpPr>
                  <p:nvPr/>
                </p:nvSpPr>
                <p:spPr bwMode="auto">
                  <a:xfrm>
                    <a:off x="2837" y="2276"/>
                    <a:ext cx="139" cy="194"/>
                  </a:xfrm>
                  <a:custGeom>
                    <a:avLst/>
                    <a:gdLst>
                      <a:gd name="T0" fmla="*/ 483 w 500"/>
                      <a:gd name="T1" fmla="*/ 671 h 697"/>
                      <a:gd name="T2" fmla="*/ 421 w 500"/>
                      <a:gd name="T3" fmla="*/ 641 h 697"/>
                      <a:gd name="T4" fmla="*/ 386 w 500"/>
                      <a:gd name="T5" fmla="*/ 697 h 697"/>
                      <a:gd name="T6" fmla="*/ 330 w 500"/>
                      <a:gd name="T7" fmla="*/ 666 h 697"/>
                      <a:gd name="T8" fmla="*/ 355 w 500"/>
                      <a:gd name="T9" fmla="*/ 628 h 697"/>
                      <a:gd name="T10" fmla="*/ 361 w 500"/>
                      <a:gd name="T11" fmla="*/ 560 h 697"/>
                      <a:gd name="T12" fmla="*/ 307 w 500"/>
                      <a:gd name="T13" fmla="*/ 488 h 697"/>
                      <a:gd name="T14" fmla="*/ 308 w 500"/>
                      <a:gd name="T15" fmla="*/ 408 h 697"/>
                      <a:gd name="T16" fmla="*/ 258 w 500"/>
                      <a:gd name="T17" fmla="*/ 342 h 697"/>
                      <a:gd name="T18" fmla="*/ 206 w 500"/>
                      <a:gd name="T19" fmla="*/ 337 h 697"/>
                      <a:gd name="T20" fmla="*/ 190 w 500"/>
                      <a:gd name="T21" fmla="*/ 366 h 697"/>
                      <a:gd name="T22" fmla="*/ 148 w 500"/>
                      <a:gd name="T23" fmla="*/ 368 h 697"/>
                      <a:gd name="T24" fmla="*/ 127 w 500"/>
                      <a:gd name="T25" fmla="*/ 353 h 697"/>
                      <a:gd name="T26" fmla="*/ 50 w 500"/>
                      <a:gd name="T27" fmla="*/ 402 h 697"/>
                      <a:gd name="T28" fmla="*/ 53 w 500"/>
                      <a:gd name="T29" fmla="*/ 330 h 697"/>
                      <a:gd name="T30" fmla="*/ 77 w 500"/>
                      <a:gd name="T31" fmla="*/ 243 h 697"/>
                      <a:gd name="T32" fmla="*/ 30 w 500"/>
                      <a:gd name="T33" fmla="*/ 240 h 697"/>
                      <a:gd name="T34" fmla="*/ 28 w 500"/>
                      <a:gd name="T35" fmla="*/ 191 h 697"/>
                      <a:gd name="T36" fmla="*/ 0 w 500"/>
                      <a:gd name="T37" fmla="*/ 166 h 697"/>
                      <a:gd name="T38" fmla="*/ 17 w 500"/>
                      <a:gd name="T39" fmla="*/ 136 h 697"/>
                      <a:gd name="T40" fmla="*/ 81 w 500"/>
                      <a:gd name="T41" fmla="*/ 83 h 697"/>
                      <a:gd name="T42" fmla="*/ 86 w 500"/>
                      <a:gd name="T43" fmla="*/ 102 h 697"/>
                      <a:gd name="T44" fmla="*/ 123 w 500"/>
                      <a:gd name="T45" fmla="*/ 105 h 697"/>
                      <a:gd name="T46" fmla="*/ 120 w 500"/>
                      <a:gd name="T47" fmla="*/ 11 h 697"/>
                      <a:gd name="T48" fmla="*/ 157 w 500"/>
                      <a:gd name="T49" fmla="*/ 0 h 697"/>
                      <a:gd name="T50" fmla="*/ 193 w 500"/>
                      <a:gd name="T51" fmla="*/ 63 h 697"/>
                      <a:gd name="T52" fmla="*/ 220 w 500"/>
                      <a:gd name="T53" fmla="*/ 137 h 697"/>
                      <a:gd name="T54" fmla="*/ 306 w 500"/>
                      <a:gd name="T55" fmla="*/ 138 h 697"/>
                      <a:gd name="T56" fmla="*/ 328 w 500"/>
                      <a:gd name="T57" fmla="*/ 208 h 697"/>
                      <a:gd name="T58" fmla="*/ 282 w 500"/>
                      <a:gd name="T59" fmla="*/ 231 h 697"/>
                      <a:gd name="T60" fmla="*/ 260 w 500"/>
                      <a:gd name="T61" fmla="*/ 260 h 697"/>
                      <a:gd name="T62" fmla="*/ 341 w 500"/>
                      <a:gd name="T63" fmla="*/ 308 h 697"/>
                      <a:gd name="T64" fmla="*/ 395 w 500"/>
                      <a:gd name="T65" fmla="*/ 405 h 697"/>
                      <a:gd name="T66" fmla="*/ 435 w 500"/>
                      <a:gd name="T67" fmla="*/ 476 h 697"/>
                      <a:gd name="T68" fmla="*/ 485 w 500"/>
                      <a:gd name="T69" fmla="*/ 532 h 697"/>
                      <a:gd name="T70" fmla="*/ 500 w 500"/>
                      <a:gd name="T71" fmla="*/ 590 h 697"/>
                      <a:gd name="T72" fmla="*/ 483 w 500"/>
                      <a:gd name="T73" fmla="*/ 671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0" h="697">
                        <a:moveTo>
                          <a:pt x="483" y="671"/>
                        </a:moveTo>
                        <a:lnTo>
                          <a:pt x="421" y="641"/>
                        </a:lnTo>
                        <a:lnTo>
                          <a:pt x="386" y="697"/>
                        </a:lnTo>
                        <a:lnTo>
                          <a:pt x="330" y="666"/>
                        </a:lnTo>
                        <a:lnTo>
                          <a:pt x="355" y="628"/>
                        </a:lnTo>
                        <a:lnTo>
                          <a:pt x="361" y="560"/>
                        </a:lnTo>
                        <a:lnTo>
                          <a:pt x="307" y="488"/>
                        </a:lnTo>
                        <a:lnTo>
                          <a:pt x="308" y="408"/>
                        </a:lnTo>
                        <a:lnTo>
                          <a:pt x="258" y="342"/>
                        </a:lnTo>
                        <a:lnTo>
                          <a:pt x="206" y="337"/>
                        </a:lnTo>
                        <a:lnTo>
                          <a:pt x="190" y="366"/>
                        </a:lnTo>
                        <a:lnTo>
                          <a:pt x="148" y="368"/>
                        </a:lnTo>
                        <a:lnTo>
                          <a:pt x="127" y="353"/>
                        </a:lnTo>
                        <a:lnTo>
                          <a:pt x="50" y="402"/>
                        </a:lnTo>
                        <a:lnTo>
                          <a:pt x="53" y="330"/>
                        </a:lnTo>
                        <a:lnTo>
                          <a:pt x="77" y="243"/>
                        </a:lnTo>
                        <a:lnTo>
                          <a:pt x="30" y="240"/>
                        </a:lnTo>
                        <a:lnTo>
                          <a:pt x="28" y="191"/>
                        </a:lnTo>
                        <a:lnTo>
                          <a:pt x="0" y="166"/>
                        </a:lnTo>
                        <a:lnTo>
                          <a:pt x="17" y="136"/>
                        </a:lnTo>
                        <a:lnTo>
                          <a:pt x="81" y="83"/>
                        </a:lnTo>
                        <a:lnTo>
                          <a:pt x="86" y="102"/>
                        </a:lnTo>
                        <a:lnTo>
                          <a:pt x="123" y="105"/>
                        </a:lnTo>
                        <a:lnTo>
                          <a:pt x="120" y="11"/>
                        </a:lnTo>
                        <a:lnTo>
                          <a:pt x="157" y="0"/>
                        </a:lnTo>
                        <a:lnTo>
                          <a:pt x="193" y="63"/>
                        </a:lnTo>
                        <a:lnTo>
                          <a:pt x="220" y="137"/>
                        </a:lnTo>
                        <a:lnTo>
                          <a:pt x="306" y="138"/>
                        </a:lnTo>
                        <a:lnTo>
                          <a:pt x="328" y="208"/>
                        </a:lnTo>
                        <a:lnTo>
                          <a:pt x="282" y="231"/>
                        </a:lnTo>
                        <a:lnTo>
                          <a:pt x="260" y="260"/>
                        </a:lnTo>
                        <a:lnTo>
                          <a:pt x="341" y="308"/>
                        </a:lnTo>
                        <a:lnTo>
                          <a:pt x="395" y="405"/>
                        </a:lnTo>
                        <a:lnTo>
                          <a:pt x="435" y="476"/>
                        </a:lnTo>
                        <a:lnTo>
                          <a:pt x="485" y="532"/>
                        </a:lnTo>
                        <a:lnTo>
                          <a:pt x="500" y="590"/>
                        </a:lnTo>
                        <a:lnTo>
                          <a:pt x="483" y="67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69" name="Lebanon" descr="{&quot;Key&quot;:&quot;lebanon&quot;,&quot;Name&quot;:&quot;Lebanon&quot;,&quot;Value&quot;:1.0,&quot;Formula&quot;:&quot;&quot;,&quot;Text&quot;:&quot;&quot;,&quot;OfficeApplication&quot;:1,&quot;HasValue&quot;:true}">
                    <a:extLst>
                      <a:ext uri="{FF2B5EF4-FFF2-40B4-BE49-F238E27FC236}">
                        <a16:creationId xmlns:a16="http://schemas.microsoft.com/office/drawing/2014/main" id="{44F47344-43AF-AC3A-D8EC-ED39696C7587}"/>
                      </a:ext>
                    </a:extLst>
                  </p:cNvPr>
                  <p:cNvSpPr>
                    <a:spLocks/>
                  </p:cNvSpPr>
                  <p:nvPr/>
                </p:nvSpPr>
                <p:spPr bwMode="auto">
                  <a:xfrm>
                    <a:off x="1633" y="2000"/>
                    <a:ext cx="38" cy="35"/>
                  </a:xfrm>
                  <a:custGeom>
                    <a:avLst/>
                    <a:gdLst>
                      <a:gd name="T0" fmla="*/ 53 w 135"/>
                      <a:gd name="T1" fmla="*/ 111 h 126"/>
                      <a:gd name="T2" fmla="*/ 34 w 135"/>
                      <a:gd name="T3" fmla="*/ 112 h 126"/>
                      <a:gd name="T4" fmla="*/ 23 w 135"/>
                      <a:gd name="T5" fmla="*/ 126 h 126"/>
                      <a:gd name="T6" fmla="*/ 0 w 135"/>
                      <a:gd name="T7" fmla="*/ 126 h 126"/>
                      <a:gd name="T8" fmla="*/ 49 w 135"/>
                      <a:gd name="T9" fmla="*/ 60 h 126"/>
                      <a:gd name="T10" fmla="*/ 104 w 135"/>
                      <a:gd name="T11" fmla="*/ 2 h 126"/>
                      <a:gd name="T12" fmla="*/ 106 w 135"/>
                      <a:gd name="T13" fmla="*/ 0 h 126"/>
                      <a:gd name="T14" fmla="*/ 135 w 135"/>
                      <a:gd name="T15" fmla="*/ 3 h 126"/>
                      <a:gd name="T16" fmla="*/ 134 w 135"/>
                      <a:gd name="T17" fmla="*/ 36 h 126"/>
                      <a:gd name="T18" fmla="*/ 86 w 135"/>
                      <a:gd name="T19" fmla="*/ 66 h 126"/>
                      <a:gd name="T20" fmla="*/ 53 w 135"/>
                      <a:gd name="T21" fmla="*/ 1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26">
                        <a:moveTo>
                          <a:pt x="53" y="111"/>
                        </a:moveTo>
                        <a:lnTo>
                          <a:pt x="34" y="112"/>
                        </a:lnTo>
                        <a:lnTo>
                          <a:pt x="23" y="126"/>
                        </a:lnTo>
                        <a:lnTo>
                          <a:pt x="0" y="126"/>
                        </a:lnTo>
                        <a:lnTo>
                          <a:pt x="49" y="60"/>
                        </a:lnTo>
                        <a:lnTo>
                          <a:pt x="104" y="2"/>
                        </a:lnTo>
                        <a:lnTo>
                          <a:pt x="106" y="0"/>
                        </a:lnTo>
                        <a:lnTo>
                          <a:pt x="135" y="3"/>
                        </a:lnTo>
                        <a:lnTo>
                          <a:pt x="134" y="36"/>
                        </a:lnTo>
                        <a:lnTo>
                          <a:pt x="86" y="66"/>
                        </a:lnTo>
                        <a:lnTo>
                          <a:pt x="53" y="11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0" name="Liberia" descr="{&quot;Key&quot;:&quot;liberia&quot;,&quot;Name&quot;:&quot;Liberia&quot;,&quot;Value&quot;:1.0,&quot;Formula&quot;:&quot;&quot;,&quot;Text&quot;:&quot;&quot;,&quot;OfficeApplication&quot;:1,&quot;HasValue&quot;:true}">
                    <a:extLst>
                      <a:ext uri="{FF2B5EF4-FFF2-40B4-BE49-F238E27FC236}">
                        <a16:creationId xmlns:a16="http://schemas.microsoft.com/office/drawing/2014/main" id="{9556B1E5-CFF8-830C-4334-A0B5B21089E4}"/>
                      </a:ext>
                    </a:extLst>
                  </p:cNvPr>
                  <p:cNvSpPr>
                    <a:spLocks/>
                  </p:cNvSpPr>
                  <p:nvPr/>
                </p:nvSpPr>
                <p:spPr bwMode="auto">
                  <a:xfrm>
                    <a:off x="593" y="2591"/>
                    <a:ext cx="75" cy="95"/>
                  </a:xfrm>
                  <a:custGeom>
                    <a:avLst/>
                    <a:gdLst>
                      <a:gd name="T0" fmla="*/ 221 w 270"/>
                      <a:gd name="T1" fmla="*/ 70 h 340"/>
                      <a:gd name="T2" fmla="*/ 215 w 270"/>
                      <a:gd name="T3" fmla="*/ 94 h 340"/>
                      <a:gd name="T4" fmla="*/ 220 w 270"/>
                      <a:gd name="T5" fmla="*/ 132 h 340"/>
                      <a:gd name="T6" fmla="*/ 201 w 270"/>
                      <a:gd name="T7" fmla="*/ 169 h 340"/>
                      <a:gd name="T8" fmla="*/ 220 w 270"/>
                      <a:gd name="T9" fmla="*/ 191 h 340"/>
                      <a:gd name="T10" fmla="*/ 243 w 270"/>
                      <a:gd name="T11" fmla="*/ 196 h 340"/>
                      <a:gd name="T12" fmla="*/ 270 w 270"/>
                      <a:gd name="T13" fmla="*/ 231 h 340"/>
                      <a:gd name="T14" fmla="*/ 270 w 270"/>
                      <a:gd name="T15" fmla="*/ 262 h 340"/>
                      <a:gd name="T16" fmla="*/ 263 w 270"/>
                      <a:gd name="T17" fmla="*/ 272 h 340"/>
                      <a:gd name="T18" fmla="*/ 253 w 270"/>
                      <a:gd name="T19" fmla="*/ 340 h 340"/>
                      <a:gd name="T20" fmla="*/ 234 w 270"/>
                      <a:gd name="T21" fmla="*/ 340 h 340"/>
                      <a:gd name="T22" fmla="*/ 163 w 270"/>
                      <a:gd name="T23" fmla="*/ 301 h 340"/>
                      <a:gd name="T24" fmla="*/ 101 w 270"/>
                      <a:gd name="T25" fmla="*/ 240 h 340"/>
                      <a:gd name="T26" fmla="*/ 44 w 270"/>
                      <a:gd name="T27" fmla="*/ 195 h 340"/>
                      <a:gd name="T28" fmla="*/ 0 w 270"/>
                      <a:gd name="T29" fmla="*/ 142 h 340"/>
                      <a:gd name="T30" fmla="*/ 19 w 270"/>
                      <a:gd name="T31" fmla="*/ 117 h 340"/>
                      <a:gd name="T32" fmla="*/ 25 w 270"/>
                      <a:gd name="T33" fmla="*/ 94 h 340"/>
                      <a:gd name="T34" fmla="*/ 61 w 270"/>
                      <a:gd name="T35" fmla="*/ 49 h 340"/>
                      <a:gd name="T36" fmla="*/ 99 w 270"/>
                      <a:gd name="T37" fmla="*/ 11 h 340"/>
                      <a:gd name="T38" fmla="*/ 114 w 270"/>
                      <a:gd name="T39" fmla="*/ 10 h 340"/>
                      <a:gd name="T40" fmla="*/ 134 w 270"/>
                      <a:gd name="T41" fmla="*/ 0 h 340"/>
                      <a:gd name="T42" fmla="*/ 159 w 270"/>
                      <a:gd name="T43" fmla="*/ 50 h 340"/>
                      <a:gd name="T44" fmla="*/ 151 w 270"/>
                      <a:gd name="T45" fmla="*/ 82 h 340"/>
                      <a:gd name="T46" fmla="*/ 164 w 270"/>
                      <a:gd name="T47" fmla="*/ 100 h 340"/>
                      <a:gd name="T48" fmla="*/ 184 w 270"/>
                      <a:gd name="T49" fmla="*/ 100 h 340"/>
                      <a:gd name="T50" fmla="*/ 201 w 270"/>
                      <a:gd name="T51" fmla="*/ 67 h 340"/>
                      <a:gd name="T52" fmla="*/ 221 w 270"/>
                      <a:gd name="T53" fmla="*/ 7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0" h="340">
                        <a:moveTo>
                          <a:pt x="221" y="70"/>
                        </a:moveTo>
                        <a:lnTo>
                          <a:pt x="215" y="94"/>
                        </a:lnTo>
                        <a:lnTo>
                          <a:pt x="220" y="132"/>
                        </a:lnTo>
                        <a:lnTo>
                          <a:pt x="201" y="169"/>
                        </a:lnTo>
                        <a:lnTo>
                          <a:pt x="220" y="191"/>
                        </a:lnTo>
                        <a:lnTo>
                          <a:pt x="243" y="196"/>
                        </a:lnTo>
                        <a:lnTo>
                          <a:pt x="270" y="231"/>
                        </a:lnTo>
                        <a:lnTo>
                          <a:pt x="270" y="262"/>
                        </a:lnTo>
                        <a:lnTo>
                          <a:pt x="263" y="272"/>
                        </a:lnTo>
                        <a:lnTo>
                          <a:pt x="253" y="340"/>
                        </a:lnTo>
                        <a:lnTo>
                          <a:pt x="234" y="340"/>
                        </a:lnTo>
                        <a:lnTo>
                          <a:pt x="163" y="301"/>
                        </a:lnTo>
                        <a:lnTo>
                          <a:pt x="101" y="240"/>
                        </a:lnTo>
                        <a:lnTo>
                          <a:pt x="44" y="195"/>
                        </a:lnTo>
                        <a:lnTo>
                          <a:pt x="0" y="142"/>
                        </a:lnTo>
                        <a:lnTo>
                          <a:pt x="19" y="117"/>
                        </a:lnTo>
                        <a:lnTo>
                          <a:pt x="25" y="94"/>
                        </a:lnTo>
                        <a:lnTo>
                          <a:pt x="61" y="49"/>
                        </a:lnTo>
                        <a:lnTo>
                          <a:pt x="99" y="11"/>
                        </a:lnTo>
                        <a:lnTo>
                          <a:pt x="114" y="10"/>
                        </a:lnTo>
                        <a:lnTo>
                          <a:pt x="134" y="0"/>
                        </a:lnTo>
                        <a:lnTo>
                          <a:pt x="159" y="50"/>
                        </a:lnTo>
                        <a:lnTo>
                          <a:pt x="151" y="82"/>
                        </a:lnTo>
                        <a:lnTo>
                          <a:pt x="164" y="100"/>
                        </a:lnTo>
                        <a:lnTo>
                          <a:pt x="184" y="100"/>
                        </a:lnTo>
                        <a:lnTo>
                          <a:pt x="201" y="67"/>
                        </a:lnTo>
                        <a:lnTo>
                          <a:pt x="221" y="7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1" name="Lybia" descr="{&quot;Key&quot;:&quot;lybia&quot;,&quot;Name&quot;:&quot;Lybia&quot;,&quot;Value&quot;:1.0,&quot;Formula&quot;:&quot;&quot;,&quot;Text&quot;:&quot;&quot;,&quot;OfficeApplication&quot;:1,&quot;HasValue&quot;:true}">
                    <a:extLst>
                      <a:ext uri="{FF2B5EF4-FFF2-40B4-BE49-F238E27FC236}">
                        <a16:creationId xmlns:a16="http://schemas.microsoft.com/office/drawing/2014/main" id="{8BE084E0-C072-8E38-FB56-99A930008227}"/>
                      </a:ext>
                    </a:extLst>
                  </p:cNvPr>
                  <p:cNvSpPr>
                    <a:spLocks/>
                  </p:cNvSpPr>
                  <p:nvPr/>
                </p:nvSpPr>
                <p:spPr bwMode="auto">
                  <a:xfrm>
                    <a:off x="1084" y="2034"/>
                    <a:ext cx="347" cy="307"/>
                  </a:xfrm>
                  <a:custGeom>
                    <a:avLst/>
                    <a:gdLst>
                      <a:gd name="T0" fmla="*/ 1244 w 1244"/>
                      <a:gd name="T1" fmla="*/ 128 h 1101"/>
                      <a:gd name="T2" fmla="*/ 1205 w 1244"/>
                      <a:gd name="T3" fmla="*/ 166 h 1101"/>
                      <a:gd name="T4" fmla="*/ 1204 w 1244"/>
                      <a:gd name="T5" fmla="*/ 201 h 1101"/>
                      <a:gd name="T6" fmla="*/ 1169 w 1244"/>
                      <a:gd name="T7" fmla="*/ 251 h 1101"/>
                      <a:gd name="T8" fmla="*/ 1167 w 1244"/>
                      <a:gd name="T9" fmla="*/ 316 h 1101"/>
                      <a:gd name="T10" fmla="*/ 1085 w 1244"/>
                      <a:gd name="T11" fmla="*/ 606 h 1101"/>
                      <a:gd name="T12" fmla="*/ 1019 w 1244"/>
                      <a:gd name="T13" fmla="*/ 905 h 1101"/>
                      <a:gd name="T14" fmla="*/ 989 w 1244"/>
                      <a:gd name="T15" fmla="*/ 1068 h 1101"/>
                      <a:gd name="T16" fmla="*/ 907 w 1244"/>
                      <a:gd name="T17" fmla="*/ 1068 h 1101"/>
                      <a:gd name="T18" fmla="*/ 900 w 1244"/>
                      <a:gd name="T19" fmla="*/ 1101 h 1101"/>
                      <a:gd name="T20" fmla="*/ 649 w 1244"/>
                      <a:gd name="T21" fmla="*/ 946 h 1101"/>
                      <a:gd name="T22" fmla="*/ 401 w 1244"/>
                      <a:gd name="T23" fmla="*/ 790 h 1101"/>
                      <a:gd name="T24" fmla="*/ 321 w 1244"/>
                      <a:gd name="T25" fmla="*/ 835 h 1101"/>
                      <a:gd name="T26" fmla="*/ 265 w 1244"/>
                      <a:gd name="T27" fmla="*/ 865 h 1101"/>
                      <a:gd name="T28" fmla="*/ 235 w 1244"/>
                      <a:gd name="T29" fmla="*/ 820 h 1101"/>
                      <a:gd name="T30" fmla="*/ 132 w 1244"/>
                      <a:gd name="T31" fmla="*/ 785 h 1101"/>
                      <a:gd name="T32" fmla="*/ 114 w 1244"/>
                      <a:gd name="T33" fmla="*/ 735 h 1101"/>
                      <a:gd name="T34" fmla="*/ 67 w 1244"/>
                      <a:gd name="T35" fmla="*/ 696 h 1101"/>
                      <a:gd name="T36" fmla="*/ 31 w 1244"/>
                      <a:gd name="T37" fmla="*/ 711 h 1101"/>
                      <a:gd name="T38" fmla="*/ 19 w 1244"/>
                      <a:gd name="T39" fmla="*/ 666 h 1101"/>
                      <a:gd name="T40" fmla="*/ 25 w 1244"/>
                      <a:gd name="T41" fmla="*/ 631 h 1101"/>
                      <a:gd name="T42" fmla="*/ 0 w 1244"/>
                      <a:gd name="T43" fmla="*/ 572 h 1101"/>
                      <a:gd name="T44" fmla="*/ 39 w 1244"/>
                      <a:gd name="T45" fmla="*/ 539 h 1101"/>
                      <a:gd name="T46" fmla="*/ 47 w 1244"/>
                      <a:gd name="T47" fmla="*/ 487 h 1101"/>
                      <a:gd name="T48" fmla="*/ 71 w 1244"/>
                      <a:gd name="T49" fmla="*/ 442 h 1101"/>
                      <a:gd name="T50" fmla="*/ 79 w 1244"/>
                      <a:gd name="T51" fmla="*/ 406 h 1101"/>
                      <a:gd name="T52" fmla="*/ 114 w 1244"/>
                      <a:gd name="T53" fmla="*/ 339 h 1101"/>
                      <a:gd name="T54" fmla="*/ 122 w 1244"/>
                      <a:gd name="T55" fmla="*/ 301 h 1101"/>
                      <a:gd name="T56" fmla="*/ 127 w 1244"/>
                      <a:gd name="T57" fmla="*/ 230 h 1101"/>
                      <a:gd name="T58" fmla="*/ 169 w 1244"/>
                      <a:gd name="T59" fmla="*/ 211 h 1101"/>
                      <a:gd name="T60" fmla="*/ 187 w 1244"/>
                      <a:gd name="T61" fmla="*/ 176 h 1101"/>
                      <a:gd name="T62" fmla="*/ 194 w 1244"/>
                      <a:gd name="T63" fmla="*/ 142 h 1101"/>
                      <a:gd name="T64" fmla="*/ 254 w 1244"/>
                      <a:gd name="T65" fmla="*/ 111 h 1101"/>
                      <a:gd name="T66" fmla="*/ 286 w 1244"/>
                      <a:gd name="T67" fmla="*/ 85 h 1101"/>
                      <a:gd name="T68" fmla="*/ 329 w 1244"/>
                      <a:gd name="T69" fmla="*/ 62 h 1101"/>
                      <a:gd name="T70" fmla="*/ 360 w 1244"/>
                      <a:gd name="T71" fmla="*/ 0 h 1101"/>
                      <a:gd name="T72" fmla="*/ 427 w 1244"/>
                      <a:gd name="T73" fmla="*/ 27 h 1101"/>
                      <a:gd name="T74" fmla="*/ 460 w 1244"/>
                      <a:gd name="T75" fmla="*/ 21 h 1101"/>
                      <a:gd name="T76" fmla="*/ 511 w 1244"/>
                      <a:gd name="T77" fmla="*/ 34 h 1101"/>
                      <a:gd name="T78" fmla="*/ 586 w 1244"/>
                      <a:gd name="T79" fmla="*/ 70 h 1101"/>
                      <a:gd name="T80" fmla="*/ 590 w 1244"/>
                      <a:gd name="T81" fmla="*/ 142 h 1101"/>
                      <a:gd name="T82" fmla="*/ 645 w 1244"/>
                      <a:gd name="T83" fmla="*/ 159 h 1101"/>
                      <a:gd name="T84" fmla="*/ 729 w 1244"/>
                      <a:gd name="T85" fmla="*/ 192 h 1101"/>
                      <a:gd name="T86" fmla="*/ 787 w 1244"/>
                      <a:gd name="T87" fmla="*/ 232 h 1101"/>
                      <a:gd name="T88" fmla="*/ 829 w 1244"/>
                      <a:gd name="T89" fmla="*/ 212 h 1101"/>
                      <a:gd name="T90" fmla="*/ 876 w 1244"/>
                      <a:gd name="T91" fmla="*/ 175 h 1101"/>
                      <a:gd name="T92" fmla="*/ 884 w 1244"/>
                      <a:gd name="T93" fmla="*/ 112 h 1101"/>
                      <a:gd name="T94" fmla="*/ 920 w 1244"/>
                      <a:gd name="T95" fmla="*/ 72 h 1101"/>
                      <a:gd name="T96" fmla="*/ 985 w 1244"/>
                      <a:gd name="T97" fmla="*/ 35 h 1101"/>
                      <a:gd name="T98" fmla="*/ 1036 w 1244"/>
                      <a:gd name="T99" fmla="*/ 24 h 1101"/>
                      <a:gd name="T100" fmla="*/ 1121 w 1244"/>
                      <a:gd name="T101" fmla="*/ 40 h 1101"/>
                      <a:gd name="T102" fmla="*/ 1131 w 1244"/>
                      <a:gd name="T103" fmla="*/ 76 h 1101"/>
                      <a:gd name="T104" fmla="*/ 1156 w 1244"/>
                      <a:gd name="T105" fmla="*/ 77 h 1101"/>
                      <a:gd name="T106" fmla="*/ 1172 w 1244"/>
                      <a:gd name="T107" fmla="*/ 91 h 1101"/>
                      <a:gd name="T108" fmla="*/ 1237 w 1244"/>
                      <a:gd name="T109" fmla="*/ 100 h 1101"/>
                      <a:gd name="T110" fmla="*/ 1244 w 1244"/>
                      <a:gd name="T111" fmla="*/ 128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4" h="1101">
                        <a:moveTo>
                          <a:pt x="1244" y="128"/>
                        </a:moveTo>
                        <a:lnTo>
                          <a:pt x="1205" y="166"/>
                        </a:lnTo>
                        <a:lnTo>
                          <a:pt x="1204" y="201"/>
                        </a:lnTo>
                        <a:lnTo>
                          <a:pt x="1169" y="251"/>
                        </a:lnTo>
                        <a:lnTo>
                          <a:pt x="1167" y="316"/>
                        </a:lnTo>
                        <a:lnTo>
                          <a:pt x="1085" y="606"/>
                        </a:lnTo>
                        <a:lnTo>
                          <a:pt x="1019" y="905"/>
                        </a:lnTo>
                        <a:lnTo>
                          <a:pt x="989" y="1068"/>
                        </a:lnTo>
                        <a:lnTo>
                          <a:pt x="907" y="1068"/>
                        </a:lnTo>
                        <a:lnTo>
                          <a:pt x="900" y="1101"/>
                        </a:lnTo>
                        <a:lnTo>
                          <a:pt x="649" y="946"/>
                        </a:lnTo>
                        <a:lnTo>
                          <a:pt x="401" y="790"/>
                        </a:lnTo>
                        <a:lnTo>
                          <a:pt x="321" y="835"/>
                        </a:lnTo>
                        <a:lnTo>
                          <a:pt x="265" y="865"/>
                        </a:lnTo>
                        <a:lnTo>
                          <a:pt x="235" y="820"/>
                        </a:lnTo>
                        <a:lnTo>
                          <a:pt x="132" y="785"/>
                        </a:lnTo>
                        <a:lnTo>
                          <a:pt x="114" y="735"/>
                        </a:lnTo>
                        <a:lnTo>
                          <a:pt x="67" y="696"/>
                        </a:lnTo>
                        <a:lnTo>
                          <a:pt x="31" y="711"/>
                        </a:lnTo>
                        <a:lnTo>
                          <a:pt x="19" y="666"/>
                        </a:lnTo>
                        <a:lnTo>
                          <a:pt x="25" y="631"/>
                        </a:lnTo>
                        <a:lnTo>
                          <a:pt x="0" y="572"/>
                        </a:lnTo>
                        <a:lnTo>
                          <a:pt x="39" y="539"/>
                        </a:lnTo>
                        <a:lnTo>
                          <a:pt x="47" y="487"/>
                        </a:lnTo>
                        <a:lnTo>
                          <a:pt x="71" y="442"/>
                        </a:lnTo>
                        <a:lnTo>
                          <a:pt x="79" y="406"/>
                        </a:lnTo>
                        <a:lnTo>
                          <a:pt x="114" y="339"/>
                        </a:lnTo>
                        <a:lnTo>
                          <a:pt x="122" y="301"/>
                        </a:lnTo>
                        <a:lnTo>
                          <a:pt x="127" y="230"/>
                        </a:lnTo>
                        <a:lnTo>
                          <a:pt x="169" y="211"/>
                        </a:lnTo>
                        <a:lnTo>
                          <a:pt x="187" y="176"/>
                        </a:lnTo>
                        <a:lnTo>
                          <a:pt x="194" y="142"/>
                        </a:lnTo>
                        <a:lnTo>
                          <a:pt x="254" y="111"/>
                        </a:lnTo>
                        <a:lnTo>
                          <a:pt x="286" y="85"/>
                        </a:lnTo>
                        <a:lnTo>
                          <a:pt x="329" y="62"/>
                        </a:lnTo>
                        <a:lnTo>
                          <a:pt x="360" y="0"/>
                        </a:lnTo>
                        <a:lnTo>
                          <a:pt x="427" y="27"/>
                        </a:lnTo>
                        <a:lnTo>
                          <a:pt x="460" y="21"/>
                        </a:lnTo>
                        <a:lnTo>
                          <a:pt x="511" y="34"/>
                        </a:lnTo>
                        <a:lnTo>
                          <a:pt x="586" y="70"/>
                        </a:lnTo>
                        <a:lnTo>
                          <a:pt x="590" y="142"/>
                        </a:lnTo>
                        <a:lnTo>
                          <a:pt x="645" y="159"/>
                        </a:lnTo>
                        <a:lnTo>
                          <a:pt x="729" y="192"/>
                        </a:lnTo>
                        <a:lnTo>
                          <a:pt x="787" y="232"/>
                        </a:lnTo>
                        <a:lnTo>
                          <a:pt x="829" y="212"/>
                        </a:lnTo>
                        <a:lnTo>
                          <a:pt x="876" y="175"/>
                        </a:lnTo>
                        <a:lnTo>
                          <a:pt x="884" y="112"/>
                        </a:lnTo>
                        <a:lnTo>
                          <a:pt x="920" y="72"/>
                        </a:lnTo>
                        <a:lnTo>
                          <a:pt x="985" y="35"/>
                        </a:lnTo>
                        <a:lnTo>
                          <a:pt x="1036" y="24"/>
                        </a:lnTo>
                        <a:lnTo>
                          <a:pt x="1121" y="40"/>
                        </a:lnTo>
                        <a:lnTo>
                          <a:pt x="1131" y="76"/>
                        </a:lnTo>
                        <a:lnTo>
                          <a:pt x="1156" y="77"/>
                        </a:lnTo>
                        <a:lnTo>
                          <a:pt x="1172" y="91"/>
                        </a:lnTo>
                        <a:lnTo>
                          <a:pt x="1237" y="100"/>
                        </a:lnTo>
                        <a:lnTo>
                          <a:pt x="1244" y="12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2" name="Sri Lanka" descr="{&quot;Key&quot;:&quot;sri lanka&quot;,&quot;Name&quot;:&quot;Sri Lanka&quot;,&quot;Value&quot;:1.0,&quot;Formula&quot;:&quot;&quot;,&quot;Text&quot;:&quot;&quot;,&quot;OfficeApplication&quot;:1,&quot;HasValue&quot;:true}">
                    <a:extLst>
                      <a:ext uri="{FF2B5EF4-FFF2-40B4-BE49-F238E27FC236}">
                        <a16:creationId xmlns:a16="http://schemas.microsoft.com/office/drawing/2014/main" id="{156BA67C-6845-CFC6-A954-08DBAC02362C}"/>
                      </a:ext>
                    </a:extLst>
                  </p:cNvPr>
                  <p:cNvSpPr>
                    <a:spLocks/>
                  </p:cNvSpPr>
                  <p:nvPr/>
                </p:nvSpPr>
                <p:spPr bwMode="auto">
                  <a:xfrm>
                    <a:off x="2414" y="2562"/>
                    <a:ext cx="42" cy="88"/>
                  </a:xfrm>
                  <a:custGeom>
                    <a:avLst/>
                    <a:gdLst>
                      <a:gd name="T0" fmla="*/ 103 w 148"/>
                      <a:gd name="T1" fmla="*/ 295 h 314"/>
                      <a:gd name="T2" fmla="*/ 40 w 148"/>
                      <a:gd name="T3" fmla="*/ 314 h 314"/>
                      <a:gd name="T4" fmla="*/ 8 w 148"/>
                      <a:gd name="T5" fmla="*/ 249 h 314"/>
                      <a:gd name="T6" fmla="*/ 0 w 148"/>
                      <a:gd name="T7" fmla="*/ 131 h 314"/>
                      <a:gd name="T8" fmla="*/ 38 w 148"/>
                      <a:gd name="T9" fmla="*/ 0 h 314"/>
                      <a:gd name="T10" fmla="*/ 85 w 148"/>
                      <a:gd name="T11" fmla="*/ 45 h 314"/>
                      <a:gd name="T12" fmla="*/ 117 w 148"/>
                      <a:gd name="T13" fmla="*/ 103 h 314"/>
                      <a:gd name="T14" fmla="*/ 148 w 148"/>
                      <a:gd name="T15" fmla="*/ 186 h 314"/>
                      <a:gd name="T16" fmla="*/ 133 w 148"/>
                      <a:gd name="T17" fmla="*/ 271 h 314"/>
                      <a:gd name="T18" fmla="*/ 103 w 148"/>
                      <a:gd name="T19" fmla="*/ 2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314">
                        <a:moveTo>
                          <a:pt x="103" y="295"/>
                        </a:moveTo>
                        <a:lnTo>
                          <a:pt x="40" y="314"/>
                        </a:lnTo>
                        <a:lnTo>
                          <a:pt x="8" y="249"/>
                        </a:lnTo>
                        <a:lnTo>
                          <a:pt x="0" y="131"/>
                        </a:lnTo>
                        <a:lnTo>
                          <a:pt x="38" y="0"/>
                        </a:lnTo>
                        <a:lnTo>
                          <a:pt x="85" y="45"/>
                        </a:lnTo>
                        <a:lnTo>
                          <a:pt x="117" y="103"/>
                        </a:lnTo>
                        <a:lnTo>
                          <a:pt x="148" y="186"/>
                        </a:lnTo>
                        <a:lnTo>
                          <a:pt x="133" y="271"/>
                        </a:lnTo>
                        <a:lnTo>
                          <a:pt x="103" y="29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3" name="Lesotho" descr="{&quot;Key&quot;:&quot;lesotho&quot;,&quot;Name&quot;:&quot;Lesotho&quot;,&quot;Value&quot;:1.0,&quot;Formula&quot;:&quot;&quot;,&quot;Text&quot;:&quot;&quot;,&quot;OfficeApplication&quot;:1,&quot;HasValue&quot;:true}">
                    <a:extLst>
                      <a:ext uri="{FF2B5EF4-FFF2-40B4-BE49-F238E27FC236}">
                        <a16:creationId xmlns:a16="http://schemas.microsoft.com/office/drawing/2014/main" id="{6DBFD8FB-C943-956E-1701-C32DE0F71847}"/>
                      </a:ext>
                    </a:extLst>
                  </p:cNvPr>
                  <p:cNvSpPr>
                    <a:spLocks/>
                  </p:cNvSpPr>
                  <p:nvPr/>
                </p:nvSpPr>
                <p:spPr bwMode="auto">
                  <a:xfrm>
                    <a:off x="1453" y="3434"/>
                    <a:ext cx="40" cy="45"/>
                  </a:xfrm>
                  <a:custGeom>
                    <a:avLst/>
                    <a:gdLst>
                      <a:gd name="T0" fmla="*/ 93 w 143"/>
                      <a:gd name="T1" fmla="*/ 153 h 161"/>
                      <a:gd name="T2" fmla="*/ 72 w 143"/>
                      <a:gd name="T3" fmla="*/ 161 h 161"/>
                      <a:gd name="T4" fmla="*/ 0 w 143"/>
                      <a:gd name="T5" fmla="*/ 98 h 161"/>
                      <a:gd name="T6" fmla="*/ 20 w 143"/>
                      <a:gd name="T7" fmla="*/ 47 h 161"/>
                      <a:gd name="T8" fmla="*/ 47 w 143"/>
                      <a:gd name="T9" fmla="*/ 16 h 161"/>
                      <a:gd name="T10" fmla="*/ 75 w 143"/>
                      <a:gd name="T11" fmla="*/ 0 h 161"/>
                      <a:gd name="T12" fmla="*/ 112 w 143"/>
                      <a:gd name="T13" fmla="*/ 25 h 161"/>
                      <a:gd name="T14" fmla="*/ 143 w 143"/>
                      <a:gd name="T15" fmla="*/ 48 h 161"/>
                      <a:gd name="T16" fmla="*/ 135 w 143"/>
                      <a:gd name="T17" fmla="*/ 88 h 161"/>
                      <a:gd name="T18" fmla="*/ 132 w 143"/>
                      <a:gd name="T19" fmla="*/ 115 h 161"/>
                      <a:gd name="T20" fmla="*/ 97 w 143"/>
                      <a:gd name="T21" fmla="*/ 127 h 161"/>
                      <a:gd name="T22" fmla="*/ 93 w 143"/>
                      <a:gd name="T23" fmla="*/ 15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161">
                        <a:moveTo>
                          <a:pt x="93" y="153"/>
                        </a:moveTo>
                        <a:lnTo>
                          <a:pt x="72" y="161"/>
                        </a:lnTo>
                        <a:lnTo>
                          <a:pt x="0" y="98"/>
                        </a:lnTo>
                        <a:lnTo>
                          <a:pt x="20" y="47"/>
                        </a:lnTo>
                        <a:lnTo>
                          <a:pt x="47" y="16"/>
                        </a:lnTo>
                        <a:lnTo>
                          <a:pt x="75" y="0"/>
                        </a:lnTo>
                        <a:lnTo>
                          <a:pt x="112" y="25"/>
                        </a:lnTo>
                        <a:lnTo>
                          <a:pt x="143" y="48"/>
                        </a:lnTo>
                        <a:lnTo>
                          <a:pt x="135" y="88"/>
                        </a:lnTo>
                        <a:lnTo>
                          <a:pt x="132" y="115"/>
                        </a:lnTo>
                        <a:lnTo>
                          <a:pt x="97" y="127"/>
                        </a:lnTo>
                        <a:lnTo>
                          <a:pt x="93" y="15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4" name="Lithuania" descr="{&quot;Key&quot;:&quot;lithuania&quot;,&quot;Name&quot;:&quot;Lithuania&quot;,&quot;Value&quot;:1.0,&quot;Formula&quot;:&quot;&quot;,&quot;Text&quot;:&quot;&quot;,&quot;OfficeApplication&quot;:1,&quot;HasValue&quot;:true}">
                    <a:extLst>
                      <a:ext uri="{FF2B5EF4-FFF2-40B4-BE49-F238E27FC236}">
                        <a16:creationId xmlns:a16="http://schemas.microsoft.com/office/drawing/2014/main" id="{279688C3-E24A-1246-1292-939BE5D3415F}"/>
                      </a:ext>
                    </a:extLst>
                  </p:cNvPr>
                  <p:cNvSpPr>
                    <a:spLocks/>
                  </p:cNvSpPr>
                  <p:nvPr/>
                </p:nvSpPr>
                <p:spPr bwMode="auto">
                  <a:xfrm>
                    <a:off x="1669" y="1518"/>
                    <a:ext cx="95" cy="53"/>
                  </a:xfrm>
                  <a:custGeom>
                    <a:avLst/>
                    <a:gdLst>
                      <a:gd name="T0" fmla="*/ 340 w 340"/>
                      <a:gd name="T1" fmla="*/ 58 h 189"/>
                      <a:gd name="T2" fmla="*/ 317 w 340"/>
                      <a:gd name="T3" fmla="*/ 93 h 189"/>
                      <a:gd name="T4" fmla="*/ 248 w 340"/>
                      <a:gd name="T5" fmla="*/ 117 h 189"/>
                      <a:gd name="T6" fmla="*/ 200 w 340"/>
                      <a:gd name="T7" fmla="*/ 160 h 189"/>
                      <a:gd name="T8" fmla="*/ 111 w 340"/>
                      <a:gd name="T9" fmla="*/ 189 h 189"/>
                      <a:gd name="T10" fmla="*/ 52 w 340"/>
                      <a:gd name="T11" fmla="*/ 189 h 189"/>
                      <a:gd name="T12" fmla="*/ 57 w 340"/>
                      <a:gd name="T13" fmla="*/ 165 h 189"/>
                      <a:gd name="T14" fmla="*/ 33 w 340"/>
                      <a:gd name="T15" fmla="*/ 157 h 189"/>
                      <a:gd name="T16" fmla="*/ 45 w 340"/>
                      <a:gd name="T17" fmla="*/ 138 h 189"/>
                      <a:gd name="T18" fmla="*/ 68 w 340"/>
                      <a:gd name="T19" fmla="*/ 117 h 189"/>
                      <a:gd name="T20" fmla="*/ 52 w 340"/>
                      <a:gd name="T21" fmla="*/ 104 h 189"/>
                      <a:gd name="T22" fmla="*/ 0 w 340"/>
                      <a:gd name="T23" fmla="*/ 90 h 189"/>
                      <a:gd name="T24" fmla="*/ 42 w 340"/>
                      <a:gd name="T25" fmla="*/ 27 h 189"/>
                      <a:gd name="T26" fmla="*/ 131 w 340"/>
                      <a:gd name="T27" fmla="*/ 3 h 189"/>
                      <a:gd name="T28" fmla="*/ 226 w 340"/>
                      <a:gd name="T29" fmla="*/ 8 h 189"/>
                      <a:gd name="T30" fmla="*/ 291 w 340"/>
                      <a:gd name="T31" fmla="*/ 0 h 189"/>
                      <a:gd name="T32" fmla="*/ 286 w 340"/>
                      <a:gd name="T33" fmla="*/ 17 h 189"/>
                      <a:gd name="T34" fmla="*/ 313 w 340"/>
                      <a:gd name="T35" fmla="*/ 20 h 189"/>
                      <a:gd name="T36" fmla="*/ 340 w 340"/>
                      <a:gd name="T37" fmla="*/ 5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0" h="189">
                        <a:moveTo>
                          <a:pt x="340" y="58"/>
                        </a:moveTo>
                        <a:lnTo>
                          <a:pt x="317" y="93"/>
                        </a:lnTo>
                        <a:lnTo>
                          <a:pt x="248" y="117"/>
                        </a:lnTo>
                        <a:lnTo>
                          <a:pt x="200" y="160"/>
                        </a:lnTo>
                        <a:lnTo>
                          <a:pt x="111" y="189"/>
                        </a:lnTo>
                        <a:lnTo>
                          <a:pt x="52" y="189"/>
                        </a:lnTo>
                        <a:lnTo>
                          <a:pt x="57" y="165"/>
                        </a:lnTo>
                        <a:lnTo>
                          <a:pt x="33" y="157"/>
                        </a:lnTo>
                        <a:lnTo>
                          <a:pt x="45" y="138"/>
                        </a:lnTo>
                        <a:lnTo>
                          <a:pt x="68" y="117"/>
                        </a:lnTo>
                        <a:lnTo>
                          <a:pt x="52" y="104"/>
                        </a:lnTo>
                        <a:lnTo>
                          <a:pt x="0" y="90"/>
                        </a:lnTo>
                        <a:lnTo>
                          <a:pt x="42" y="27"/>
                        </a:lnTo>
                        <a:lnTo>
                          <a:pt x="131" y="3"/>
                        </a:lnTo>
                        <a:lnTo>
                          <a:pt x="226" y="8"/>
                        </a:lnTo>
                        <a:lnTo>
                          <a:pt x="291" y="0"/>
                        </a:lnTo>
                        <a:lnTo>
                          <a:pt x="286" y="17"/>
                        </a:lnTo>
                        <a:lnTo>
                          <a:pt x="313" y="20"/>
                        </a:lnTo>
                        <a:lnTo>
                          <a:pt x="340" y="5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5" name="Luxemburg" descr="{&quot;Key&quot;:&quot;luxemburg&quot;,&quot;Name&quot;:&quot;Luxemburg&quot;,&quot;Value&quot;:1.0,&quot;Formula&quot;:&quot;&quot;,&quot;Text&quot;:&quot;&quot;,&quot;OfficeApplication&quot;:1,&quot;HasValue&quot;:true}">
                    <a:extLst>
                      <a:ext uri="{FF2B5EF4-FFF2-40B4-BE49-F238E27FC236}">
                        <a16:creationId xmlns:a16="http://schemas.microsoft.com/office/drawing/2014/main" id="{7FA9F738-3C77-9CEA-54D1-36D7BDCE03D6}"/>
                      </a:ext>
                    </a:extLst>
                  </p:cNvPr>
                  <p:cNvSpPr>
                    <a:spLocks/>
                  </p:cNvSpPr>
                  <p:nvPr/>
                </p:nvSpPr>
                <p:spPr bwMode="auto">
                  <a:xfrm>
                    <a:off x="1301" y="1653"/>
                    <a:ext cx="17" cy="15"/>
                  </a:xfrm>
                  <a:custGeom>
                    <a:avLst/>
                    <a:gdLst>
                      <a:gd name="T0" fmla="*/ 29 w 61"/>
                      <a:gd name="T1" fmla="*/ 53 h 54"/>
                      <a:gd name="T2" fmla="*/ 9 w 61"/>
                      <a:gd name="T3" fmla="*/ 54 h 54"/>
                      <a:gd name="T4" fmla="*/ 0 w 61"/>
                      <a:gd name="T5" fmla="*/ 46 h 54"/>
                      <a:gd name="T6" fmla="*/ 42 w 61"/>
                      <a:gd name="T7" fmla="*/ 3 h 54"/>
                      <a:gd name="T8" fmla="*/ 61 w 61"/>
                      <a:gd name="T9" fmla="*/ 0 h 54"/>
                      <a:gd name="T10" fmla="*/ 59 w 61"/>
                      <a:gd name="T11" fmla="*/ 18 h 54"/>
                      <a:gd name="T12" fmla="*/ 29 w 61"/>
                      <a:gd name="T13" fmla="*/ 53 h 54"/>
                    </a:gdLst>
                    <a:ahLst/>
                    <a:cxnLst>
                      <a:cxn ang="0">
                        <a:pos x="T0" y="T1"/>
                      </a:cxn>
                      <a:cxn ang="0">
                        <a:pos x="T2" y="T3"/>
                      </a:cxn>
                      <a:cxn ang="0">
                        <a:pos x="T4" y="T5"/>
                      </a:cxn>
                      <a:cxn ang="0">
                        <a:pos x="T6" y="T7"/>
                      </a:cxn>
                      <a:cxn ang="0">
                        <a:pos x="T8" y="T9"/>
                      </a:cxn>
                      <a:cxn ang="0">
                        <a:pos x="T10" y="T11"/>
                      </a:cxn>
                      <a:cxn ang="0">
                        <a:pos x="T12" y="T13"/>
                      </a:cxn>
                    </a:cxnLst>
                    <a:rect l="0" t="0" r="r" b="b"/>
                    <a:pathLst>
                      <a:path w="61" h="54">
                        <a:moveTo>
                          <a:pt x="29" y="53"/>
                        </a:moveTo>
                        <a:lnTo>
                          <a:pt x="9" y="54"/>
                        </a:lnTo>
                        <a:lnTo>
                          <a:pt x="0" y="46"/>
                        </a:lnTo>
                        <a:lnTo>
                          <a:pt x="42" y="3"/>
                        </a:lnTo>
                        <a:lnTo>
                          <a:pt x="61" y="0"/>
                        </a:lnTo>
                        <a:lnTo>
                          <a:pt x="59" y="18"/>
                        </a:lnTo>
                        <a:lnTo>
                          <a:pt x="29" y="5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6" name="Latvia" descr="{&quot;Key&quot;:&quot;latvia&quot;,&quot;Name&quot;:&quot;Latvia&quot;,&quot;Value&quot;:1.0,&quot;Formula&quot;:&quot;&quot;,&quot;Text&quot;:&quot;&quot;,&quot;OfficeApplication&quot;:1,&quot;HasValue&quot;:true}">
                    <a:extLst>
                      <a:ext uri="{FF2B5EF4-FFF2-40B4-BE49-F238E27FC236}">
                        <a16:creationId xmlns:a16="http://schemas.microsoft.com/office/drawing/2014/main" id="{E26A51BC-0E8A-8F7C-C3B8-FAB94E1CE4C3}"/>
                      </a:ext>
                    </a:extLst>
                  </p:cNvPr>
                  <p:cNvSpPr>
                    <a:spLocks/>
                  </p:cNvSpPr>
                  <p:nvPr/>
                </p:nvSpPr>
                <p:spPr bwMode="auto">
                  <a:xfrm>
                    <a:off x="1680" y="1484"/>
                    <a:ext cx="133" cy="50"/>
                  </a:xfrm>
                  <a:custGeom>
                    <a:avLst/>
                    <a:gdLst>
                      <a:gd name="T0" fmla="*/ 463 w 476"/>
                      <a:gd name="T1" fmla="*/ 37 h 179"/>
                      <a:gd name="T2" fmla="*/ 476 w 476"/>
                      <a:gd name="T3" fmla="*/ 55 h 179"/>
                      <a:gd name="T4" fmla="*/ 450 w 476"/>
                      <a:gd name="T5" fmla="*/ 91 h 179"/>
                      <a:gd name="T6" fmla="*/ 433 w 476"/>
                      <a:gd name="T7" fmla="*/ 136 h 179"/>
                      <a:gd name="T8" fmla="*/ 344 w 476"/>
                      <a:gd name="T9" fmla="*/ 166 h 179"/>
                      <a:gd name="T10" fmla="*/ 298 w 476"/>
                      <a:gd name="T11" fmla="*/ 179 h 179"/>
                      <a:gd name="T12" fmla="*/ 271 w 476"/>
                      <a:gd name="T13" fmla="*/ 141 h 179"/>
                      <a:gd name="T14" fmla="*/ 244 w 476"/>
                      <a:gd name="T15" fmla="*/ 137 h 179"/>
                      <a:gd name="T16" fmla="*/ 249 w 476"/>
                      <a:gd name="T17" fmla="*/ 121 h 179"/>
                      <a:gd name="T18" fmla="*/ 184 w 476"/>
                      <a:gd name="T19" fmla="*/ 129 h 179"/>
                      <a:gd name="T20" fmla="*/ 89 w 476"/>
                      <a:gd name="T21" fmla="*/ 124 h 179"/>
                      <a:gd name="T22" fmla="*/ 0 w 476"/>
                      <a:gd name="T23" fmla="*/ 147 h 179"/>
                      <a:gd name="T24" fmla="*/ 52 w 476"/>
                      <a:gd name="T25" fmla="*/ 90 h 179"/>
                      <a:gd name="T26" fmla="*/ 124 w 476"/>
                      <a:gd name="T27" fmla="*/ 42 h 179"/>
                      <a:gd name="T28" fmla="*/ 201 w 476"/>
                      <a:gd name="T29" fmla="*/ 16 h 179"/>
                      <a:gd name="T30" fmla="*/ 199 w 476"/>
                      <a:gd name="T31" fmla="*/ 72 h 179"/>
                      <a:gd name="T32" fmla="*/ 247 w 476"/>
                      <a:gd name="T33" fmla="*/ 71 h 179"/>
                      <a:gd name="T34" fmla="*/ 309 w 476"/>
                      <a:gd name="T35" fmla="*/ 14 h 179"/>
                      <a:gd name="T36" fmla="*/ 370 w 476"/>
                      <a:gd name="T37" fmla="*/ 0 h 179"/>
                      <a:gd name="T38" fmla="*/ 387 w 476"/>
                      <a:gd name="T39" fmla="*/ 9 h 179"/>
                      <a:gd name="T40" fmla="*/ 414 w 476"/>
                      <a:gd name="T41" fmla="*/ 37 h 179"/>
                      <a:gd name="T42" fmla="*/ 463 w 476"/>
                      <a:gd name="T43" fmla="*/ 3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6" h="179">
                        <a:moveTo>
                          <a:pt x="463" y="37"/>
                        </a:moveTo>
                        <a:lnTo>
                          <a:pt x="476" y="55"/>
                        </a:lnTo>
                        <a:lnTo>
                          <a:pt x="450" y="91"/>
                        </a:lnTo>
                        <a:lnTo>
                          <a:pt x="433" y="136"/>
                        </a:lnTo>
                        <a:lnTo>
                          <a:pt x="344" y="166"/>
                        </a:lnTo>
                        <a:lnTo>
                          <a:pt x="298" y="179"/>
                        </a:lnTo>
                        <a:lnTo>
                          <a:pt x="271" y="141"/>
                        </a:lnTo>
                        <a:lnTo>
                          <a:pt x="244" y="137"/>
                        </a:lnTo>
                        <a:lnTo>
                          <a:pt x="249" y="121"/>
                        </a:lnTo>
                        <a:lnTo>
                          <a:pt x="184" y="129"/>
                        </a:lnTo>
                        <a:lnTo>
                          <a:pt x="89" y="124"/>
                        </a:lnTo>
                        <a:lnTo>
                          <a:pt x="0" y="147"/>
                        </a:lnTo>
                        <a:lnTo>
                          <a:pt x="52" y="90"/>
                        </a:lnTo>
                        <a:lnTo>
                          <a:pt x="124" y="42"/>
                        </a:lnTo>
                        <a:lnTo>
                          <a:pt x="201" y="16"/>
                        </a:lnTo>
                        <a:lnTo>
                          <a:pt x="199" y="72"/>
                        </a:lnTo>
                        <a:lnTo>
                          <a:pt x="247" y="71"/>
                        </a:lnTo>
                        <a:lnTo>
                          <a:pt x="309" y="14"/>
                        </a:lnTo>
                        <a:lnTo>
                          <a:pt x="370" y="0"/>
                        </a:lnTo>
                        <a:lnTo>
                          <a:pt x="387" y="9"/>
                        </a:lnTo>
                        <a:lnTo>
                          <a:pt x="414" y="37"/>
                        </a:lnTo>
                        <a:lnTo>
                          <a:pt x="463" y="3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7" name="Morocco" descr="{&quot;Key&quot;:&quot;morocco&quot;,&quot;Name&quot;:&quot;Morocco&quot;,&quot;Value&quot;:1.0,&quot;Formula&quot;:&quot;&quot;,&quot;Text&quot;:&quot;&quot;,&quot;OfficeApplication&quot;:1,&quot;HasValue&quot;:true}">
                    <a:extLst>
                      <a:ext uri="{FF2B5EF4-FFF2-40B4-BE49-F238E27FC236}">
                        <a16:creationId xmlns:a16="http://schemas.microsoft.com/office/drawing/2014/main" id="{FFF8091E-E597-3545-A5EB-DFFAC1D7D841}"/>
                      </a:ext>
                    </a:extLst>
                  </p:cNvPr>
                  <p:cNvSpPr>
                    <a:spLocks/>
                  </p:cNvSpPr>
                  <p:nvPr/>
                </p:nvSpPr>
                <p:spPr bwMode="auto">
                  <a:xfrm>
                    <a:off x="541" y="1974"/>
                    <a:ext cx="406" cy="325"/>
                  </a:xfrm>
                  <a:custGeom>
                    <a:avLst/>
                    <a:gdLst>
                      <a:gd name="T0" fmla="*/ 1457 w 1457"/>
                      <a:gd name="T1" fmla="*/ 49 h 1167"/>
                      <a:gd name="T2" fmla="*/ 1456 w 1457"/>
                      <a:gd name="T3" fmla="*/ 100 h 1167"/>
                      <a:gd name="T4" fmla="*/ 1436 w 1457"/>
                      <a:gd name="T5" fmla="*/ 150 h 1167"/>
                      <a:gd name="T6" fmla="*/ 1417 w 1457"/>
                      <a:gd name="T7" fmla="*/ 237 h 1167"/>
                      <a:gd name="T8" fmla="*/ 1427 w 1457"/>
                      <a:gd name="T9" fmla="*/ 253 h 1167"/>
                      <a:gd name="T10" fmla="*/ 1400 w 1457"/>
                      <a:gd name="T11" fmla="*/ 285 h 1167"/>
                      <a:gd name="T12" fmla="*/ 1305 w 1457"/>
                      <a:gd name="T13" fmla="*/ 299 h 1167"/>
                      <a:gd name="T14" fmla="*/ 1260 w 1457"/>
                      <a:gd name="T15" fmla="*/ 329 h 1167"/>
                      <a:gd name="T16" fmla="*/ 1217 w 1457"/>
                      <a:gd name="T17" fmla="*/ 335 h 1167"/>
                      <a:gd name="T18" fmla="*/ 1187 w 1457"/>
                      <a:gd name="T19" fmla="*/ 395 h 1167"/>
                      <a:gd name="T20" fmla="*/ 1094 w 1457"/>
                      <a:gd name="T21" fmla="*/ 428 h 1167"/>
                      <a:gd name="T22" fmla="*/ 1050 w 1457"/>
                      <a:gd name="T23" fmla="*/ 469 h 1167"/>
                      <a:gd name="T24" fmla="*/ 984 w 1457"/>
                      <a:gd name="T25" fmla="*/ 490 h 1167"/>
                      <a:gd name="T26" fmla="*/ 910 w 1457"/>
                      <a:gd name="T27" fmla="*/ 503 h 1167"/>
                      <a:gd name="T28" fmla="*/ 774 w 1457"/>
                      <a:gd name="T29" fmla="*/ 563 h 1167"/>
                      <a:gd name="T30" fmla="*/ 737 w 1457"/>
                      <a:gd name="T31" fmla="*/ 659 h 1167"/>
                      <a:gd name="T32" fmla="*/ 727 w 1457"/>
                      <a:gd name="T33" fmla="*/ 659 h 1167"/>
                      <a:gd name="T34" fmla="*/ 714 w 1457"/>
                      <a:gd name="T35" fmla="*/ 703 h 1167"/>
                      <a:gd name="T36" fmla="*/ 669 w 1457"/>
                      <a:gd name="T37" fmla="*/ 705 h 1167"/>
                      <a:gd name="T38" fmla="*/ 640 w 1457"/>
                      <a:gd name="T39" fmla="*/ 724 h 1167"/>
                      <a:gd name="T40" fmla="*/ 609 w 1457"/>
                      <a:gd name="T41" fmla="*/ 724 h 1167"/>
                      <a:gd name="T42" fmla="*/ 587 w 1457"/>
                      <a:gd name="T43" fmla="*/ 714 h 1167"/>
                      <a:gd name="T44" fmla="*/ 526 w 1457"/>
                      <a:gd name="T45" fmla="*/ 722 h 1167"/>
                      <a:gd name="T46" fmla="*/ 481 w 1457"/>
                      <a:gd name="T47" fmla="*/ 785 h 1167"/>
                      <a:gd name="T48" fmla="*/ 457 w 1457"/>
                      <a:gd name="T49" fmla="*/ 792 h 1167"/>
                      <a:gd name="T50" fmla="*/ 392 w 1457"/>
                      <a:gd name="T51" fmla="*/ 894 h 1167"/>
                      <a:gd name="T52" fmla="*/ 268 w 1457"/>
                      <a:gd name="T53" fmla="*/ 982 h 1167"/>
                      <a:gd name="T54" fmla="*/ 216 w 1457"/>
                      <a:gd name="T55" fmla="*/ 1094 h 1167"/>
                      <a:gd name="T56" fmla="*/ 177 w 1457"/>
                      <a:gd name="T57" fmla="*/ 1130 h 1167"/>
                      <a:gd name="T58" fmla="*/ 161 w 1457"/>
                      <a:gd name="T59" fmla="*/ 1160 h 1167"/>
                      <a:gd name="T60" fmla="*/ 1 w 1457"/>
                      <a:gd name="T61" fmla="*/ 1167 h 1167"/>
                      <a:gd name="T62" fmla="*/ 0 w 1457"/>
                      <a:gd name="T63" fmla="*/ 1167 h 1167"/>
                      <a:gd name="T64" fmla="*/ 14 w 1457"/>
                      <a:gd name="T65" fmla="*/ 1128 h 1167"/>
                      <a:gd name="T66" fmla="*/ 46 w 1457"/>
                      <a:gd name="T67" fmla="*/ 1107 h 1167"/>
                      <a:gd name="T68" fmla="*/ 80 w 1457"/>
                      <a:gd name="T69" fmla="*/ 1064 h 1167"/>
                      <a:gd name="T70" fmla="*/ 84 w 1457"/>
                      <a:gd name="T71" fmla="*/ 1037 h 1167"/>
                      <a:gd name="T72" fmla="*/ 124 w 1457"/>
                      <a:gd name="T73" fmla="*/ 979 h 1167"/>
                      <a:gd name="T74" fmla="*/ 177 w 1457"/>
                      <a:gd name="T75" fmla="*/ 928 h 1167"/>
                      <a:gd name="T76" fmla="*/ 205 w 1457"/>
                      <a:gd name="T77" fmla="*/ 914 h 1167"/>
                      <a:gd name="T78" fmla="*/ 237 w 1457"/>
                      <a:gd name="T79" fmla="*/ 867 h 1167"/>
                      <a:gd name="T80" fmla="*/ 253 w 1457"/>
                      <a:gd name="T81" fmla="*/ 824 h 1167"/>
                      <a:gd name="T82" fmla="*/ 296 w 1457"/>
                      <a:gd name="T83" fmla="*/ 773 h 1167"/>
                      <a:gd name="T84" fmla="*/ 352 w 1457"/>
                      <a:gd name="T85" fmla="*/ 744 h 1167"/>
                      <a:gd name="T86" fmla="*/ 426 w 1457"/>
                      <a:gd name="T87" fmla="*/ 660 h 1167"/>
                      <a:gd name="T88" fmla="*/ 429 w 1457"/>
                      <a:gd name="T89" fmla="*/ 659 h 1167"/>
                      <a:gd name="T90" fmla="*/ 475 w 1457"/>
                      <a:gd name="T91" fmla="*/ 628 h 1167"/>
                      <a:gd name="T92" fmla="*/ 544 w 1457"/>
                      <a:gd name="T93" fmla="*/ 619 h 1167"/>
                      <a:gd name="T94" fmla="*/ 620 w 1457"/>
                      <a:gd name="T95" fmla="*/ 564 h 1167"/>
                      <a:gd name="T96" fmla="*/ 664 w 1457"/>
                      <a:gd name="T97" fmla="*/ 542 h 1167"/>
                      <a:gd name="T98" fmla="*/ 749 w 1457"/>
                      <a:gd name="T99" fmla="*/ 474 h 1167"/>
                      <a:gd name="T100" fmla="*/ 777 w 1457"/>
                      <a:gd name="T101" fmla="*/ 373 h 1167"/>
                      <a:gd name="T102" fmla="*/ 836 w 1457"/>
                      <a:gd name="T103" fmla="*/ 303 h 1167"/>
                      <a:gd name="T104" fmla="*/ 866 w 1457"/>
                      <a:gd name="T105" fmla="*/ 260 h 1167"/>
                      <a:gd name="T106" fmla="*/ 937 w 1457"/>
                      <a:gd name="T107" fmla="*/ 205 h 1167"/>
                      <a:gd name="T108" fmla="*/ 1024 w 1457"/>
                      <a:gd name="T109" fmla="*/ 168 h 1167"/>
                      <a:gd name="T110" fmla="*/ 1091 w 1457"/>
                      <a:gd name="T111" fmla="*/ 134 h 1167"/>
                      <a:gd name="T112" fmla="*/ 1181 w 1457"/>
                      <a:gd name="T113" fmla="*/ 50 h 1167"/>
                      <a:gd name="T114" fmla="*/ 1229 w 1457"/>
                      <a:gd name="T115" fmla="*/ 0 h 1167"/>
                      <a:gd name="T116" fmla="*/ 1279 w 1457"/>
                      <a:gd name="T117" fmla="*/ 2 h 1167"/>
                      <a:gd name="T118" fmla="*/ 1301 w 1457"/>
                      <a:gd name="T119" fmla="*/ 35 h 1167"/>
                      <a:gd name="T120" fmla="*/ 1367 w 1457"/>
                      <a:gd name="T121" fmla="*/ 30 h 1167"/>
                      <a:gd name="T122" fmla="*/ 1429 w 1457"/>
                      <a:gd name="T123" fmla="*/ 48 h 1167"/>
                      <a:gd name="T124" fmla="*/ 1457 w 1457"/>
                      <a:gd name="T125" fmla="*/ 49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7" h="1167">
                        <a:moveTo>
                          <a:pt x="1457" y="49"/>
                        </a:moveTo>
                        <a:lnTo>
                          <a:pt x="1456" y="100"/>
                        </a:lnTo>
                        <a:lnTo>
                          <a:pt x="1436" y="150"/>
                        </a:lnTo>
                        <a:lnTo>
                          <a:pt x="1417" y="237"/>
                        </a:lnTo>
                        <a:lnTo>
                          <a:pt x="1427" y="253"/>
                        </a:lnTo>
                        <a:lnTo>
                          <a:pt x="1400" y="285"/>
                        </a:lnTo>
                        <a:lnTo>
                          <a:pt x="1305" y="299"/>
                        </a:lnTo>
                        <a:lnTo>
                          <a:pt x="1260" y="329"/>
                        </a:lnTo>
                        <a:lnTo>
                          <a:pt x="1217" y="335"/>
                        </a:lnTo>
                        <a:lnTo>
                          <a:pt x="1187" y="395"/>
                        </a:lnTo>
                        <a:lnTo>
                          <a:pt x="1094" y="428"/>
                        </a:lnTo>
                        <a:lnTo>
                          <a:pt x="1050" y="469"/>
                        </a:lnTo>
                        <a:lnTo>
                          <a:pt x="984" y="490"/>
                        </a:lnTo>
                        <a:lnTo>
                          <a:pt x="910" y="503"/>
                        </a:lnTo>
                        <a:lnTo>
                          <a:pt x="774" y="563"/>
                        </a:lnTo>
                        <a:lnTo>
                          <a:pt x="737" y="659"/>
                        </a:lnTo>
                        <a:lnTo>
                          <a:pt x="727" y="659"/>
                        </a:lnTo>
                        <a:lnTo>
                          <a:pt x="714" y="703"/>
                        </a:lnTo>
                        <a:lnTo>
                          <a:pt x="669" y="705"/>
                        </a:lnTo>
                        <a:lnTo>
                          <a:pt x="640" y="724"/>
                        </a:lnTo>
                        <a:lnTo>
                          <a:pt x="609" y="724"/>
                        </a:lnTo>
                        <a:lnTo>
                          <a:pt x="587" y="714"/>
                        </a:lnTo>
                        <a:lnTo>
                          <a:pt x="526" y="722"/>
                        </a:lnTo>
                        <a:lnTo>
                          <a:pt x="481" y="785"/>
                        </a:lnTo>
                        <a:lnTo>
                          <a:pt x="457" y="792"/>
                        </a:lnTo>
                        <a:lnTo>
                          <a:pt x="392" y="894"/>
                        </a:lnTo>
                        <a:lnTo>
                          <a:pt x="268" y="982"/>
                        </a:lnTo>
                        <a:lnTo>
                          <a:pt x="216" y="1094"/>
                        </a:lnTo>
                        <a:lnTo>
                          <a:pt x="177" y="1130"/>
                        </a:lnTo>
                        <a:lnTo>
                          <a:pt x="161" y="1160"/>
                        </a:lnTo>
                        <a:lnTo>
                          <a:pt x="1" y="1167"/>
                        </a:lnTo>
                        <a:lnTo>
                          <a:pt x="0" y="1167"/>
                        </a:lnTo>
                        <a:lnTo>
                          <a:pt x="14" y="1128"/>
                        </a:lnTo>
                        <a:lnTo>
                          <a:pt x="46" y="1107"/>
                        </a:lnTo>
                        <a:lnTo>
                          <a:pt x="80" y="1064"/>
                        </a:lnTo>
                        <a:lnTo>
                          <a:pt x="84" y="1037"/>
                        </a:lnTo>
                        <a:lnTo>
                          <a:pt x="124" y="979"/>
                        </a:lnTo>
                        <a:lnTo>
                          <a:pt x="177" y="928"/>
                        </a:lnTo>
                        <a:lnTo>
                          <a:pt x="205" y="914"/>
                        </a:lnTo>
                        <a:lnTo>
                          <a:pt x="237" y="867"/>
                        </a:lnTo>
                        <a:lnTo>
                          <a:pt x="253" y="824"/>
                        </a:lnTo>
                        <a:lnTo>
                          <a:pt x="296" y="773"/>
                        </a:lnTo>
                        <a:lnTo>
                          <a:pt x="352" y="744"/>
                        </a:lnTo>
                        <a:lnTo>
                          <a:pt x="426" y="660"/>
                        </a:lnTo>
                        <a:lnTo>
                          <a:pt x="429" y="659"/>
                        </a:lnTo>
                        <a:lnTo>
                          <a:pt x="475" y="628"/>
                        </a:lnTo>
                        <a:lnTo>
                          <a:pt x="544" y="619"/>
                        </a:lnTo>
                        <a:lnTo>
                          <a:pt x="620" y="564"/>
                        </a:lnTo>
                        <a:lnTo>
                          <a:pt x="664" y="542"/>
                        </a:lnTo>
                        <a:lnTo>
                          <a:pt x="749" y="474"/>
                        </a:lnTo>
                        <a:lnTo>
                          <a:pt x="777" y="373"/>
                        </a:lnTo>
                        <a:lnTo>
                          <a:pt x="836" y="303"/>
                        </a:lnTo>
                        <a:lnTo>
                          <a:pt x="866" y="260"/>
                        </a:lnTo>
                        <a:lnTo>
                          <a:pt x="937" y="205"/>
                        </a:lnTo>
                        <a:lnTo>
                          <a:pt x="1024" y="168"/>
                        </a:lnTo>
                        <a:lnTo>
                          <a:pt x="1091" y="134"/>
                        </a:lnTo>
                        <a:lnTo>
                          <a:pt x="1181" y="50"/>
                        </a:lnTo>
                        <a:lnTo>
                          <a:pt x="1229" y="0"/>
                        </a:lnTo>
                        <a:lnTo>
                          <a:pt x="1279" y="2"/>
                        </a:lnTo>
                        <a:lnTo>
                          <a:pt x="1301" y="35"/>
                        </a:lnTo>
                        <a:lnTo>
                          <a:pt x="1367" y="30"/>
                        </a:lnTo>
                        <a:lnTo>
                          <a:pt x="1429" y="48"/>
                        </a:lnTo>
                        <a:lnTo>
                          <a:pt x="1457" y="4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8" name="Moldavia" descr="{&quot;Key&quot;:&quot;moldavia&quot;,&quot;Name&quot;:&quot;Moldavia&quot;,&quot;Value&quot;:1.0,&quot;Formula&quot;:&quot;&quot;,&quot;Text&quot;:&quot;&quot;,&quot;OfficeApplication&quot;:1,&quot;HasValue&quot;:true}">
                    <a:extLst>
                      <a:ext uri="{FF2B5EF4-FFF2-40B4-BE49-F238E27FC236}">
                        <a16:creationId xmlns:a16="http://schemas.microsoft.com/office/drawing/2014/main" id="{A21F9AC9-AE03-5E83-ED99-EA0A94A55066}"/>
                      </a:ext>
                    </a:extLst>
                  </p:cNvPr>
                  <p:cNvSpPr>
                    <a:spLocks/>
                  </p:cNvSpPr>
                  <p:nvPr/>
                </p:nvSpPr>
                <p:spPr bwMode="auto">
                  <a:xfrm>
                    <a:off x="1639" y="1690"/>
                    <a:ext cx="47" cy="66"/>
                  </a:xfrm>
                  <a:custGeom>
                    <a:avLst/>
                    <a:gdLst>
                      <a:gd name="T0" fmla="*/ 0 w 170"/>
                      <a:gd name="T1" fmla="*/ 237 h 237"/>
                      <a:gd name="T2" fmla="*/ 10 w 170"/>
                      <a:gd name="T3" fmla="*/ 200 h 237"/>
                      <a:gd name="T4" fmla="*/ 38 w 170"/>
                      <a:gd name="T5" fmla="*/ 167 h 237"/>
                      <a:gd name="T6" fmla="*/ 57 w 170"/>
                      <a:gd name="T7" fmla="*/ 132 h 237"/>
                      <a:gd name="T8" fmla="*/ 49 w 170"/>
                      <a:gd name="T9" fmla="*/ 84 h 237"/>
                      <a:gd name="T10" fmla="*/ 50 w 170"/>
                      <a:gd name="T11" fmla="*/ 50 h 237"/>
                      <a:gd name="T12" fmla="*/ 45 w 170"/>
                      <a:gd name="T13" fmla="*/ 27 h 237"/>
                      <a:gd name="T14" fmla="*/ 32 w 170"/>
                      <a:gd name="T15" fmla="*/ 19 h 237"/>
                      <a:gd name="T16" fmla="*/ 54 w 170"/>
                      <a:gd name="T17" fmla="*/ 8 h 237"/>
                      <a:gd name="T18" fmla="*/ 100 w 170"/>
                      <a:gd name="T19" fmla="*/ 0 h 237"/>
                      <a:gd name="T20" fmla="*/ 132 w 170"/>
                      <a:gd name="T21" fmla="*/ 24 h 237"/>
                      <a:gd name="T22" fmla="*/ 155 w 170"/>
                      <a:gd name="T23" fmla="*/ 28 h 237"/>
                      <a:gd name="T24" fmla="*/ 170 w 170"/>
                      <a:gd name="T25" fmla="*/ 49 h 237"/>
                      <a:gd name="T26" fmla="*/ 149 w 170"/>
                      <a:gd name="T27" fmla="*/ 75 h 237"/>
                      <a:gd name="T28" fmla="*/ 164 w 170"/>
                      <a:gd name="T29" fmla="*/ 89 h 237"/>
                      <a:gd name="T30" fmla="*/ 154 w 170"/>
                      <a:gd name="T31" fmla="*/ 122 h 237"/>
                      <a:gd name="T32" fmla="*/ 164 w 170"/>
                      <a:gd name="T33" fmla="*/ 141 h 237"/>
                      <a:gd name="T34" fmla="*/ 152 w 170"/>
                      <a:gd name="T35" fmla="*/ 154 h 237"/>
                      <a:gd name="T36" fmla="*/ 159 w 170"/>
                      <a:gd name="T37" fmla="*/ 161 h 237"/>
                      <a:gd name="T38" fmla="*/ 139 w 170"/>
                      <a:gd name="T39" fmla="*/ 168 h 237"/>
                      <a:gd name="T40" fmla="*/ 103 w 170"/>
                      <a:gd name="T41" fmla="*/ 165 h 237"/>
                      <a:gd name="T42" fmla="*/ 103 w 170"/>
                      <a:gd name="T43" fmla="*/ 154 h 237"/>
                      <a:gd name="T44" fmla="*/ 85 w 170"/>
                      <a:gd name="T45" fmla="*/ 160 h 237"/>
                      <a:gd name="T46" fmla="*/ 82 w 170"/>
                      <a:gd name="T47" fmla="*/ 175 h 237"/>
                      <a:gd name="T48" fmla="*/ 49 w 170"/>
                      <a:gd name="T49" fmla="*/ 200 h 237"/>
                      <a:gd name="T50" fmla="*/ 22 w 170"/>
                      <a:gd name="T51" fmla="*/ 228 h 237"/>
                      <a:gd name="T52" fmla="*/ 0 w 170"/>
                      <a:gd name="T53"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237">
                        <a:moveTo>
                          <a:pt x="0" y="237"/>
                        </a:moveTo>
                        <a:lnTo>
                          <a:pt x="10" y="200"/>
                        </a:lnTo>
                        <a:lnTo>
                          <a:pt x="38" y="167"/>
                        </a:lnTo>
                        <a:lnTo>
                          <a:pt x="57" y="132"/>
                        </a:lnTo>
                        <a:lnTo>
                          <a:pt x="49" y="84"/>
                        </a:lnTo>
                        <a:lnTo>
                          <a:pt x="50" y="50"/>
                        </a:lnTo>
                        <a:lnTo>
                          <a:pt x="45" y="27"/>
                        </a:lnTo>
                        <a:lnTo>
                          <a:pt x="32" y="19"/>
                        </a:lnTo>
                        <a:lnTo>
                          <a:pt x="54" y="8"/>
                        </a:lnTo>
                        <a:lnTo>
                          <a:pt x="100" y="0"/>
                        </a:lnTo>
                        <a:lnTo>
                          <a:pt x="132" y="24"/>
                        </a:lnTo>
                        <a:lnTo>
                          <a:pt x="155" y="28"/>
                        </a:lnTo>
                        <a:lnTo>
                          <a:pt x="170" y="49"/>
                        </a:lnTo>
                        <a:lnTo>
                          <a:pt x="149" y="75"/>
                        </a:lnTo>
                        <a:lnTo>
                          <a:pt x="164" y="89"/>
                        </a:lnTo>
                        <a:lnTo>
                          <a:pt x="154" y="122"/>
                        </a:lnTo>
                        <a:lnTo>
                          <a:pt x="164" y="141"/>
                        </a:lnTo>
                        <a:lnTo>
                          <a:pt x="152" y="154"/>
                        </a:lnTo>
                        <a:lnTo>
                          <a:pt x="159" y="161"/>
                        </a:lnTo>
                        <a:lnTo>
                          <a:pt x="139" y="168"/>
                        </a:lnTo>
                        <a:lnTo>
                          <a:pt x="103" y="165"/>
                        </a:lnTo>
                        <a:lnTo>
                          <a:pt x="103" y="154"/>
                        </a:lnTo>
                        <a:lnTo>
                          <a:pt x="85" y="160"/>
                        </a:lnTo>
                        <a:lnTo>
                          <a:pt x="82" y="175"/>
                        </a:lnTo>
                        <a:lnTo>
                          <a:pt x="49" y="200"/>
                        </a:lnTo>
                        <a:lnTo>
                          <a:pt x="22" y="228"/>
                        </a:lnTo>
                        <a:lnTo>
                          <a:pt x="0" y="23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79" name="Madagascar" descr="{&quot;Key&quot;:&quot;madagascar&quot;,&quot;Name&quot;:&quot;Madagascar&quot;,&quot;Value&quot;:1.0,&quot;Formula&quot;:&quot;&quot;,&quot;Text&quot;:&quot;&quot;,&quot;OfficeApplication&quot;:1,&quot;HasValue&quot;:true}">
                    <a:extLst>
                      <a:ext uri="{FF2B5EF4-FFF2-40B4-BE49-F238E27FC236}">
                        <a16:creationId xmlns:a16="http://schemas.microsoft.com/office/drawing/2014/main" id="{779B8C04-27CF-2CCA-4D64-866BC65B6D46}"/>
                      </a:ext>
                    </a:extLst>
                  </p:cNvPr>
                  <p:cNvSpPr>
                    <a:spLocks/>
                  </p:cNvSpPr>
                  <p:nvPr/>
                </p:nvSpPr>
                <p:spPr bwMode="auto">
                  <a:xfrm>
                    <a:off x="1723" y="3058"/>
                    <a:ext cx="122" cy="307"/>
                  </a:xfrm>
                  <a:custGeom>
                    <a:avLst/>
                    <a:gdLst>
                      <a:gd name="T0" fmla="*/ 392 w 437"/>
                      <a:gd name="T1" fmla="*/ 123 h 1102"/>
                      <a:gd name="T2" fmla="*/ 415 w 437"/>
                      <a:gd name="T3" fmla="*/ 220 h 1102"/>
                      <a:gd name="T4" fmla="*/ 437 w 437"/>
                      <a:gd name="T5" fmla="*/ 259 h 1102"/>
                      <a:gd name="T6" fmla="*/ 435 w 437"/>
                      <a:gd name="T7" fmla="*/ 298 h 1102"/>
                      <a:gd name="T8" fmla="*/ 426 w 437"/>
                      <a:gd name="T9" fmla="*/ 322 h 1102"/>
                      <a:gd name="T10" fmla="*/ 396 w 437"/>
                      <a:gd name="T11" fmla="*/ 274 h 1102"/>
                      <a:gd name="T12" fmla="*/ 385 w 437"/>
                      <a:gd name="T13" fmla="*/ 298 h 1102"/>
                      <a:gd name="T14" fmla="*/ 406 w 437"/>
                      <a:gd name="T15" fmla="*/ 358 h 1102"/>
                      <a:gd name="T16" fmla="*/ 405 w 437"/>
                      <a:gd name="T17" fmla="*/ 393 h 1102"/>
                      <a:gd name="T18" fmla="*/ 389 w 437"/>
                      <a:gd name="T19" fmla="*/ 412 h 1102"/>
                      <a:gd name="T20" fmla="*/ 394 w 437"/>
                      <a:gd name="T21" fmla="*/ 480 h 1102"/>
                      <a:gd name="T22" fmla="*/ 380 w 437"/>
                      <a:gd name="T23" fmla="*/ 575 h 1102"/>
                      <a:gd name="T24" fmla="*/ 361 w 437"/>
                      <a:gd name="T25" fmla="*/ 688 h 1102"/>
                      <a:gd name="T26" fmla="*/ 341 w 437"/>
                      <a:gd name="T27" fmla="*/ 842 h 1102"/>
                      <a:gd name="T28" fmla="*/ 333 w 437"/>
                      <a:gd name="T29" fmla="*/ 954 h 1102"/>
                      <a:gd name="T30" fmla="*/ 320 w 437"/>
                      <a:gd name="T31" fmla="*/ 1049 h 1102"/>
                      <a:gd name="T32" fmla="*/ 266 w 437"/>
                      <a:gd name="T33" fmla="*/ 1068 h 1102"/>
                      <a:gd name="T34" fmla="*/ 212 w 437"/>
                      <a:gd name="T35" fmla="*/ 1102 h 1102"/>
                      <a:gd name="T36" fmla="*/ 168 w 437"/>
                      <a:gd name="T37" fmla="*/ 1082 h 1102"/>
                      <a:gd name="T38" fmla="*/ 107 w 437"/>
                      <a:gd name="T39" fmla="*/ 1053 h 1102"/>
                      <a:gd name="T40" fmla="*/ 80 w 437"/>
                      <a:gd name="T41" fmla="*/ 1009 h 1102"/>
                      <a:gd name="T42" fmla="*/ 61 w 437"/>
                      <a:gd name="T43" fmla="*/ 938 h 1102"/>
                      <a:gd name="T44" fmla="*/ 25 w 437"/>
                      <a:gd name="T45" fmla="*/ 873 h 1102"/>
                      <a:gd name="T46" fmla="*/ 8 w 437"/>
                      <a:gd name="T47" fmla="*/ 814 h 1102"/>
                      <a:gd name="T48" fmla="*/ 11 w 437"/>
                      <a:gd name="T49" fmla="*/ 755 h 1102"/>
                      <a:gd name="T50" fmla="*/ 42 w 437"/>
                      <a:gd name="T51" fmla="*/ 742 h 1102"/>
                      <a:gd name="T52" fmla="*/ 37 w 437"/>
                      <a:gd name="T53" fmla="*/ 714 h 1102"/>
                      <a:gd name="T54" fmla="*/ 61 w 437"/>
                      <a:gd name="T55" fmla="*/ 653 h 1102"/>
                      <a:gd name="T56" fmla="*/ 60 w 437"/>
                      <a:gd name="T57" fmla="*/ 602 h 1102"/>
                      <a:gd name="T58" fmla="*/ 37 w 437"/>
                      <a:gd name="T59" fmla="*/ 563 h 1102"/>
                      <a:gd name="T60" fmla="*/ 16 w 437"/>
                      <a:gd name="T61" fmla="*/ 512 h 1102"/>
                      <a:gd name="T62" fmla="*/ 0 w 437"/>
                      <a:gd name="T63" fmla="*/ 437 h 1102"/>
                      <a:gd name="T64" fmla="*/ 17 w 437"/>
                      <a:gd name="T65" fmla="*/ 390 h 1102"/>
                      <a:gd name="T66" fmla="*/ 20 w 437"/>
                      <a:gd name="T67" fmla="*/ 339 h 1102"/>
                      <a:gd name="T68" fmla="*/ 55 w 437"/>
                      <a:gd name="T69" fmla="*/ 337 h 1102"/>
                      <a:gd name="T70" fmla="*/ 92 w 437"/>
                      <a:gd name="T71" fmla="*/ 319 h 1102"/>
                      <a:gd name="T72" fmla="*/ 116 w 437"/>
                      <a:gd name="T73" fmla="*/ 305 h 1102"/>
                      <a:gd name="T74" fmla="*/ 147 w 437"/>
                      <a:gd name="T75" fmla="*/ 304 h 1102"/>
                      <a:gd name="T76" fmla="*/ 182 w 437"/>
                      <a:gd name="T77" fmla="*/ 258 h 1102"/>
                      <a:gd name="T78" fmla="*/ 235 w 437"/>
                      <a:gd name="T79" fmla="*/ 208 h 1102"/>
                      <a:gd name="T80" fmla="*/ 251 w 437"/>
                      <a:gd name="T81" fmla="*/ 167 h 1102"/>
                      <a:gd name="T82" fmla="*/ 237 w 437"/>
                      <a:gd name="T83" fmla="*/ 132 h 1102"/>
                      <a:gd name="T84" fmla="*/ 268 w 437"/>
                      <a:gd name="T85" fmla="*/ 142 h 1102"/>
                      <a:gd name="T86" fmla="*/ 302 w 437"/>
                      <a:gd name="T87" fmla="*/ 85 h 1102"/>
                      <a:gd name="T88" fmla="*/ 298 w 437"/>
                      <a:gd name="T89" fmla="*/ 37 h 1102"/>
                      <a:gd name="T90" fmla="*/ 318 w 437"/>
                      <a:gd name="T91" fmla="*/ 0 h 1102"/>
                      <a:gd name="T92" fmla="*/ 347 w 437"/>
                      <a:gd name="T93" fmla="*/ 35 h 1102"/>
                      <a:gd name="T94" fmla="*/ 370 w 437"/>
                      <a:gd name="T95" fmla="*/ 69 h 1102"/>
                      <a:gd name="T96" fmla="*/ 392 w 437"/>
                      <a:gd name="T97" fmla="*/ 123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7" h="1102">
                        <a:moveTo>
                          <a:pt x="392" y="123"/>
                        </a:moveTo>
                        <a:lnTo>
                          <a:pt x="415" y="220"/>
                        </a:lnTo>
                        <a:lnTo>
                          <a:pt x="437" y="259"/>
                        </a:lnTo>
                        <a:lnTo>
                          <a:pt x="435" y="298"/>
                        </a:lnTo>
                        <a:lnTo>
                          <a:pt x="426" y="322"/>
                        </a:lnTo>
                        <a:lnTo>
                          <a:pt x="396" y="274"/>
                        </a:lnTo>
                        <a:lnTo>
                          <a:pt x="385" y="298"/>
                        </a:lnTo>
                        <a:lnTo>
                          <a:pt x="406" y="358"/>
                        </a:lnTo>
                        <a:lnTo>
                          <a:pt x="405" y="393"/>
                        </a:lnTo>
                        <a:lnTo>
                          <a:pt x="389" y="412"/>
                        </a:lnTo>
                        <a:lnTo>
                          <a:pt x="394" y="480"/>
                        </a:lnTo>
                        <a:lnTo>
                          <a:pt x="380" y="575"/>
                        </a:lnTo>
                        <a:lnTo>
                          <a:pt x="361" y="688"/>
                        </a:lnTo>
                        <a:lnTo>
                          <a:pt x="341" y="842"/>
                        </a:lnTo>
                        <a:lnTo>
                          <a:pt x="333" y="954"/>
                        </a:lnTo>
                        <a:lnTo>
                          <a:pt x="320" y="1049"/>
                        </a:lnTo>
                        <a:lnTo>
                          <a:pt x="266" y="1068"/>
                        </a:lnTo>
                        <a:lnTo>
                          <a:pt x="212" y="1102"/>
                        </a:lnTo>
                        <a:lnTo>
                          <a:pt x="168" y="1082"/>
                        </a:lnTo>
                        <a:lnTo>
                          <a:pt x="107" y="1053"/>
                        </a:lnTo>
                        <a:lnTo>
                          <a:pt x="80" y="1009"/>
                        </a:lnTo>
                        <a:lnTo>
                          <a:pt x="61" y="938"/>
                        </a:lnTo>
                        <a:lnTo>
                          <a:pt x="25" y="873"/>
                        </a:lnTo>
                        <a:lnTo>
                          <a:pt x="8" y="814"/>
                        </a:lnTo>
                        <a:lnTo>
                          <a:pt x="11" y="755"/>
                        </a:lnTo>
                        <a:lnTo>
                          <a:pt x="42" y="742"/>
                        </a:lnTo>
                        <a:lnTo>
                          <a:pt x="37" y="714"/>
                        </a:lnTo>
                        <a:lnTo>
                          <a:pt x="61" y="653"/>
                        </a:lnTo>
                        <a:lnTo>
                          <a:pt x="60" y="602"/>
                        </a:lnTo>
                        <a:lnTo>
                          <a:pt x="37" y="563"/>
                        </a:lnTo>
                        <a:lnTo>
                          <a:pt x="16" y="512"/>
                        </a:lnTo>
                        <a:lnTo>
                          <a:pt x="0" y="437"/>
                        </a:lnTo>
                        <a:lnTo>
                          <a:pt x="17" y="390"/>
                        </a:lnTo>
                        <a:lnTo>
                          <a:pt x="20" y="339"/>
                        </a:lnTo>
                        <a:lnTo>
                          <a:pt x="55" y="337"/>
                        </a:lnTo>
                        <a:lnTo>
                          <a:pt x="92" y="319"/>
                        </a:lnTo>
                        <a:lnTo>
                          <a:pt x="116" y="305"/>
                        </a:lnTo>
                        <a:lnTo>
                          <a:pt x="147" y="304"/>
                        </a:lnTo>
                        <a:lnTo>
                          <a:pt x="182" y="258"/>
                        </a:lnTo>
                        <a:lnTo>
                          <a:pt x="235" y="208"/>
                        </a:lnTo>
                        <a:lnTo>
                          <a:pt x="251" y="167"/>
                        </a:lnTo>
                        <a:lnTo>
                          <a:pt x="237" y="132"/>
                        </a:lnTo>
                        <a:lnTo>
                          <a:pt x="268" y="142"/>
                        </a:lnTo>
                        <a:lnTo>
                          <a:pt x="302" y="85"/>
                        </a:lnTo>
                        <a:lnTo>
                          <a:pt x="298" y="37"/>
                        </a:lnTo>
                        <a:lnTo>
                          <a:pt x="318" y="0"/>
                        </a:lnTo>
                        <a:lnTo>
                          <a:pt x="347" y="35"/>
                        </a:lnTo>
                        <a:lnTo>
                          <a:pt x="370" y="69"/>
                        </a:lnTo>
                        <a:lnTo>
                          <a:pt x="392" y="12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0" name="Mexico" descr="{&quot;Key&quot;:&quot;mexico&quot;,&quot;Name&quot;:&quot;Mexico&quot;,&quot;Value&quot;:1.0,&quot;Formula&quot;:&quot;&quot;,&quot;Text&quot;:&quot;&quot;,&quot;OfficeApplication&quot;:1,&quot;HasValue&quot;:true}">
                    <a:extLst>
                      <a:ext uri="{FF2B5EF4-FFF2-40B4-BE49-F238E27FC236}">
                        <a16:creationId xmlns:a16="http://schemas.microsoft.com/office/drawing/2014/main" id="{9D58C7BE-A517-289D-C0E9-02CFFD1EE3A7}"/>
                      </a:ext>
                    </a:extLst>
                  </p:cNvPr>
                  <p:cNvSpPr>
                    <a:spLocks/>
                  </p:cNvSpPr>
                  <p:nvPr/>
                </p:nvSpPr>
                <p:spPr bwMode="auto">
                  <a:xfrm>
                    <a:off x="5587" y="2043"/>
                    <a:ext cx="648" cy="412"/>
                  </a:xfrm>
                  <a:custGeom>
                    <a:avLst/>
                    <a:gdLst>
                      <a:gd name="T0" fmla="*/ 2227 w 2326"/>
                      <a:gd name="T1" fmla="*/ 1206 h 1477"/>
                      <a:gd name="T2" fmla="*/ 2207 w 2326"/>
                      <a:gd name="T3" fmla="*/ 1212 h 1477"/>
                      <a:gd name="T4" fmla="*/ 2084 w 2326"/>
                      <a:gd name="T5" fmla="*/ 1257 h 1477"/>
                      <a:gd name="T6" fmla="*/ 2111 w 2326"/>
                      <a:gd name="T7" fmla="*/ 1304 h 1477"/>
                      <a:gd name="T8" fmla="*/ 2137 w 2326"/>
                      <a:gd name="T9" fmla="*/ 1353 h 1477"/>
                      <a:gd name="T10" fmla="*/ 2034 w 2326"/>
                      <a:gd name="T11" fmla="*/ 1435 h 1477"/>
                      <a:gd name="T12" fmla="*/ 1937 w 2326"/>
                      <a:gd name="T13" fmla="*/ 1390 h 1477"/>
                      <a:gd name="T14" fmla="*/ 1797 w 2326"/>
                      <a:gd name="T15" fmla="*/ 1348 h 1477"/>
                      <a:gd name="T16" fmla="*/ 1656 w 2326"/>
                      <a:gd name="T17" fmla="*/ 1366 h 1477"/>
                      <a:gd name="T18" fmla="*/ 1475 w 2326"/>
                      <a:gd name="T19" fmla="*/ 1301 h 1477"/>
                      <a:gd name="T20" fmla="*/ 1302 w 2326"/>
                      <a:gd name="T21" fmla="*/ 1203 h 1477"/>
                      <a:gd name="T22" fmla="*/ 1150 w 2326"/>
                      <a:gd name="T23" fmla="*/ 1135 h 1477"/>
                      <a:gd name="T24" fmla="*/ 1001 w 2326"/>
                      <a:gd name="T25" fmla="*/ 998 h 1477"/>
                      <a:gd name="T26" fmla="*/ 1026 w 2326"/>
                      <a:gd name="T27" fmla="*/ 946 h 1477"/>
                      <a:gd name="T28" fmla="*/ 980 w 2326"/>
                      <a:gd name="T29" fmla="*/ 850 h 1477"/>
                      <a:gd name="T30" fmla="*/ 792 w 2326"/>
                      <a:gd name="T31" fmla="*/ 663 h 1477"/>
                      <a:gd name="T32" fmla="*/ 665 w 2326"/>
                      <a:gd name="T33" fmla="*/ 560 h 1477"/>
                      <a:gd name="T34" fmla="*/ 576 w 2326"/>
                      <a:gd name="T35" fmla="*/ 451 h 1477"/>
                      <a:gd name="T36" fmla="*/ 456 w 2326"/>
                      <a:gd name="T37" fmla="*/ 345 h 1477"/>
                      <a:gd name="T38" fmla="*/ 352 w 2326"/>
                      <a:gd name="T39" fmla="*/ 218 h 1477"/>
                      <a:gd name="T40" fmla="*/ 245 w 2326"/>
                      <a:gd name="T41" fmla="*/ 93 h 1477"/>
                      <a:gd name="T42" fmla="*/ 176 w 2326"/>
                      <a:gd name="T43" fmla="*/ 107 h 1477"/>
                      <a:gd name="T44" fmla="*/ 252 w 2326"/>
                      <a:gd name="T45" fmla="*/ 241 h 1477"/>
                      <a:gd name="T46" fmla="*/ 346 w 2326"/>
                      <a:gd name="T47" fmla="*/ 322 h 1477"/>
                      <a:gd name="T48" fmla="*/ 400 w 2326"/>
                      <a:gd name="T49" fmla="*/ 401 h 1477"/>
                      <a:gd name="T50" fmla="*/ 500 w 2326"/>
                      <a:gd name="T51" fmla="*/ 492 h 1477"/>
                      <a:gd name="T52" fmla="*/ 592 w 2326"/>
                      <a:gd name="T53" fmla="*/ 641 h 1477"/>
                      <a:gd name="T54" fmla="*/ 673 w 2326"/>
                      <a:gd name="T55" fmla="*/ 723 h 1477"/>
                      <a:gd name="T56" fmla="*/ 681 w 2326"/>
                      <a:gd name="T57" fmla="*/ 805 h 1477"/>
                      <a:gd name="T58" fmla="*/ 587 w 2326"/>
                      <a:gd name="T59" fmla="*/ 708 h 1477"/>
                      <a:gd name="T60" fmla="*/ 482 w 2326"/>
                      <a:gd name="T61" fmla="*/ 588 h 1477"/>
                      <a:gd name="T62" fmla="*/ 370 w 2326"/>
                      <a:gd name="T63" fmla="*/ 483 h 1477"/>
                      <a:gd name="T64" fmla="*/ 293 w 2326"/>
                      <a:gd name="T65" fmla="*/ 453 h 1477"/>
                      <a:gd name="T66" fmla="*/ 275 w 2326"/>
                      <a:gd name="T67" fmla="*/ 405 h 1477"/>
                      <a:gd name="T68" fmla="*/ 221 w 2326"/>
                      <a:gd name="T69" fmla="*/ 280 h 1477"/>
                      <a:gd name="T70" fmla="*/ 97 w 2326"/>
                      <a:gd name="T71" fmla="*/ 152 h 1477"/>
                      <a:gd name="T72" fmla="*/ 76 w 2326"/>
                      <a:gd name="T73" fmla="*/ 8 h 1477"/>
                      <a:gd name="T74" fmla="*/ 272 w 2326"/>
                      <a:gd name="T75" fmla="*/ 55 h 1477"/>
                      <a:gd name="T76" fmla="*/ 636 w 2326"/>
                      <a:gd name="T77" fmla="*/ 112 h 1477"/>
                      <a:gd name="T78" fmla="*/ 778 w 2326"/>
                      <a:gd name="T79" fmla="*/ 107 h 1477"/>
                      <a:gd name="T80" fmla="*/ 908 w 2326"/>
                      <a:gd name="T81" fmla="*/ 211 h 1477"/>
                      <a:gd name="T82" fmla="*/ 1045 w 2326"/>
                      <a:gd name="T83" fmla="*/ 305 h 1477"/>
                      <a:gd name="T84" fmla="*/ 1183 w 2326"/>
                      <a:gd name="T85" fmla="*/ 271 h 1477"/>
                      <a:gd name="T86" fmla="*/ 1323 w 2326"/>
                      <a:gd name="T87" fmla="*/ 421 h 1477"/>
                      <a:gd name="T88" fmla="*/ 1442 w 2326"/>
                      <a:gd name="T89" fmla="*/ 541 h 1477"/>
                      <a:gd name="T90" fmla="*/ 1511 w 2326"/>
                      <a:gd name="T91" fmla="*/ 627 h 1477"/>
                      <a:gd name="T92" fmla="*/ 1527 w 2326"/>
                      <a:gd name="T93" fmla="*/ 835 h 1477"/>
                      <a:gd name="T94" fmla="*/ 1600 w 2326"/>
                      <a:gd name="T95" fmla="*/ 982 h 1477"/>
                      <a:gd name="T96" fmla="*/ 1716 w 2326"/>
                      <a:gd name="T97" fmla="*/ 1128 h 1477"/>
                      <a:gd name="T98" fmla="*/ 1887 w 2326"/>
                      <a:gd name="T99" fmla="*/ 1162 h 1477"/>
                      <a:gd name="T100" fmla="*/ 2032 w 2326"/>
                      <a:gd name="T101" fmla="*/ 1125 h 1477"/>
                      <a:gd name="T102" fmla="*/ 2073 w 2326"/>
                      <a:gd name="T103" fmla="*/ 976 h 1477"/>
                      <a:gd name="T104" fmla="*/ 2196 w 2326"/>
                      <a:gd name="T105" fmla="*/ 912 h 1477"/>
                      <a:gd name="T106" fmla="*/ 2321 w 2326"/>
                      <a:gd name="T107" fmla="*/ 926 h 1477"/>
                      <a:gd name="T108" fmla="*/ 2288 w 2326"/>
                      <a:gd name="T109" fmla="*/ 1062 h 1477"/>
                      <a:gd name="T110" fmla="*/ 2293 w 2326"/>
                      <a:gd name="T111" fmla="*/ 1175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26" h="1477">
                        <a:moveTo>
                          <a:pt x="2257" y="1156"/>
                        </a:moveTo>
                        <a:lnTo>
                          <a:pt x="2245" y="1157"/>
                        </a:lnTo>
                        <a:lnTo>
                          <a:pt x="2227" y="1206"/>
                        </a:lnTo>
                        <a:lnTo>
                          <a:pt x="2214" y="1196"/>
                        </a:lnTo>
                        <a:lnTo>
                          <a:pt x="2205" y="1200"/>
                        </a:lnTo>
                        <a:lnTo>
                          <a:pt x="2207" y="1212"/>
                        </a:lnTo>
                        <a:lnTo>
                          <a:pt x="2142" y="1211"/>
                        </a:lnTo>
                        <a:lnTo>
                          <a:pt x="2076" y="1211"/>
                        </a:lnTo>
                        <a:lnTo>
                          <a:pt x="2084" y="1257"/>
                        </a:lnTo>
                        <a:lnTo>
                          <a:pt x="2051" y="1257"/>
                        </a:lnTo>
                        <a:lnTo>
                          <a:pt x="2082" y="1284"/>
                        </a:lnTo>
                        <a:lnTo>
                          <a:pt x="2111" y="1304"/>
                        </a:lnTo>
                        <a:lnTo>
                          <a:pt x="2122" y="1321"/>
                        </a:lnTo>
                        <a:lnTo>
                          <a:pt x="2135" y="1326"/>
                        </a:lnTo>
                        <a:lnTo>
                          <a:pt x="2137" y="1353"/>
                        </a:lnTo>
                        <a:lnTo>
                          <a:pt x="2046" y="1353"/>
                        </a:lnTo>
                        <a:lnTo>
                          <a:pt x="2022" y="1420"/>
                        </a:lnTo>
                        <a:lnTo>
                          <a:pt x="2034" y="1435"/>
                        </a:lnTo>
                        <a:lnTo>
                          <a:pt x="2029" y="1453"/>
                        </a:lnTo>
                        <a:lnTo>
                          <a:pt x="2030" y="1477"/>
                        </a:lnTo>
                        <a:lnTo>
                          <a:pt x="1937" y="1390"/>
                        </a:lnTo>
                        <a:lnTo>
                          <a:pt x="1896" y="1363"/>
                        </a:lnTo>
                        <a:lnTo>
                          <a:pt x="1836" y="1342"/>
                        </a:lnTo>
                        <a:lnTo>
                          <a:pt x="1797" y="1348"/>
                        </a:lnTo>
                        <a:lnTo>
                          <a:pt x="1745" y="1378"/>
                        </a:lnTo>
                        <a:lnTo>
                          <a:pt x="1710" y="1387"/>
                        </a:lnTo>
                        <a:lnTo>
                          <a:pt x="1656" y="1366"/>
                        </a:lnTo>
                        <a:lnTo>
                          <a:pt x="1601" y="1350"/>
                        </a:lnTo>
                        <a:lnTo>
                          <a:pt x="1530" y="1312"/>
                        </a:lnTo>
                        <a:lnTo>
                          <a:pt x="1475" y="1301"/>
                        </a:lnTo>
                        <a:lnTo>
                          <a:pt x="1388" y="1263"/>
                        </a:lnTo>
                        <a:lnTo>
                          <a:pt x="1323" y="1225"/>
                        </a:lnTo>
                        <a:lnTo>
                          <a:pt x="1302" y="1203"/>
                        </a:lnTo>
                        <a:lnTo>
                          <a:pt x="1262" y="1198"/>
                        </a:lnTo>
                        <a:lnTo>
                          <a:pt x="1186" y="1172"/>
                        </a:lnTo>
                        <a:lnTo>
                          <a:pt x="1150" y="1135"/>
                        </a:lnTo>
                        <a:lnTo>
                          <a:pt x="1067" y="1090"/>
                        </a:lnTo>
                        <a:lnTo>
                          <a:pt x="1023" y="1038"/>
                        </a:lnTo>
                        <a:lnTo>
                          <a:pt x="1001" y="998"/>
                        </a:lnTo>
                        <a:lnTo>
                          <a:pt x="1023" y="991"/>
                        </a:lnTo>
                        <a:lnTo>
                          <a:pt x="1012" y="967"/>
                        </a:lnTo>
                        <a:lnTo>
                          <a:pt x="1026" y="946"/>
                        </a:lnTo>
                        <a:lnTo>
                          <a:pt x="1021" y="918"/>
                        </a:lnTo>
                        <a:lnTo>
                          <a:pt x="992" y="881"/>
                        </a:lnTo>
                        <a:lnTo>
                          <a:pt x="980" y="850"/>
                        </a:lnTo>
                        <a:lnTo>
                          <a:pt x="950" y="808"/>
                        </a:lnTo>
                        <a:lnTo>
                          <a:pt x="873" y="727"/>
                        </a:lnTo>
                        <a:lnTo>
                          <a:pt x="792" y="663"/>
                        </a:lnTo>
                        <a:lnTo>
                          <a:pt x="748" y="613"/>
                        </a:lnTo>
                        <a:lnTo>
                          <a:pt x="682" y="580"/>
                        </a:lnTo>
                        <a:lnTo>
                          <a:pt x="665" y="560"/>
                        </a:lnTo>
                        <a:lnTo>
                          <a:pt x="665" y="510"/>
                        </a:lnTo>
                        <a:lnTo>
                          <a:pt x="626" y="491"/>
                        </a:lnTo>
                        <a:lnTo>
                          <a:pt x="576" y="451"/>
                        </a:lnTo>
                        <a:lnTo>
                          <a:pt x="546" y="395"/>
                        </a:lnTo>
                        <a:lnTo>
                          <a:pt x="507" y="388"/>
                        </a:lnTo>
                        <a:lnTo>
                          <a:pt x="456" y="345"/>
                        </a:lnTo>
                        <a:lnTo>
                          <a:pt x="415" y="306"/>
                        </a:lnTo>
                        <a:lnTo>
                          <a:pt x="405" y="281"/>
                        </a:lnTo>
                        <a:lnTo>
                          <a:pt x="352" y="218"/>
                        </a:lnTo>
                        <a:lnTo>
                          <a:pt x="311" y="157"/>
                        </a:lnTo>
                        <a:lnTo>
                          <a:pt x="303" y="126"/>
                        </a:lnTo>
                        <a:lnTo>
                          <a:pt x="245" y="93"/>
                        </a:lnTo>
                        <a:lnTo>
                          <a:pt x="223" y="97"/>
                        </a:lnTo>
                        <a:lnTo>
                          <a:pt x="177" y="75"/>
                        </a:lnTo>
                        <a:lnTo>
                          <a:pt x="176" y="107"/>
                        </a:lnTo>
                        <a:lnTo>
                          <a:pt x="197" y="146"/>
                        </a:lnTo>
                        <a:lnTo>
                          <a:pt x="221" y="207"/>
                        </a:lnTo>
                        <a:lnTo>
                          <a:pt x="252" y="241"/>
                        </a:lnTo>
                        <a:lnTo>
                          <a:pt x="318" y="297"/>
                        </a:lnTo>
                        <a:lnTo>
                          <a:pt x="335" y="316"/>
                        </a:lnTo>
                        <a:lnTo>
                          <a:pt x="346" y="322"/>
                        </a:lnTo>
                        <a:lnTo>
                          <a:pt x="362" y="350"/>
                        </a:lnTo>
                        <a:lnTo>
                          <a:pt x="374" y="348"/>
                        </a:lnTo>
                        <a:lnTo>
                          <a:pt x="400" y="401"/>
                        </a:lnTo>
                        <a:lnTo>
                          <a:pt x="426" y="422"/>
                        </a:lnTo>
                        <a:lnTo>
                          <a:pt x="447" y="451"/>
                        </a:lnTo>
                        <a:lnTo>
                          <a:pt x="500" y="492"/>
                        </a:lnTo>
                        <a:lnTo>
                          <a:pt x="538" y="567"/>
                        </a:lnTo>
                        <a:lnTo>
                          <a:pt x="566" y="603"/>
                        </a:lnTo>
                        <a:lnTo>
                          <a:pt x="592" y="641"/>
                        </a:lnTo>
                        <a:lnTo>
                          <a:pt x="605" y="685"/>
                        </a:lnTo>
                        <a:lnTo>
                          <a:pt x="638" y="687"/>
                        </a:lnTo>
                        <a:lnTo>
                          <a:pt x="673" y="723"/>
                        </a:lnTo>
                        <a:lnTo>
                          <a:pt x="705" y="760"/>
                        </a:lnTo>
                        <a:lnTo>
                          <a:pt x="705" y="775"/>
                        </a:lnTo>
                        <a:lnTo>
                          <a:pt x="681" y="805"/>
                        </a:lnTo>
                        <a:lnTo>
                          <a:pt x="668" y="805"/>
                        </a:lnTo>
                        <a:lnTo>
                          <a:pt x="641" y="755"/>
                        </a:lnTo>
                        <a:lnTo>
                          <a:pt x="587" y="708"/>
                        </a:lnTo>
                        <a:lnTo>
                          <a:pt x="531" y="668"/>
                        </a:lnTo>
                        <a:lnTo>
                          <a:pt x="491" y="648"/>
                        </a:lnTo>
                        <a:lnTo>
                          <a:pt x="482" y="588"/>
                        </a:lnTo>
                        <a:lnTo>
                          <a:pt x="463" y="545"/>
                        </a:lnTo>
                        <a:lnTo>
                          <a:pt x="425" y="520"/>
                        </a:lnTo>
                        <a:lnTo>
                          <a:pt x="370" y="483"/>
                        </a:lnTo>
                        <a:lnTo>
                          <a:pt x="362" y="493"/>
                        </a:lnTo>
                        <a:lnTo>
                          <a:pt x="340" y="472"/>
                        </a:lnTo>
                        <a:lnTo>
                          <a:pt x="293" y="453"/>
                        </a:lnTo>
                        <a:lnTo>
                          <a:pt x="242" y="406"/>
                        </a:lnTo>
                        <a:lnTo>
                          <a:pt x="246" y="400"/>
                        </a:lnTo>
                        <a:lnTo>
                          <a:pt x="275" y="405"/>
                        </a:lnTo>
                        <a:lnTo>
                          <a:pt x="293" y="373"/>
                        </a:lnTo>
                        <a:lnTo>
                          <a:pt x="288" y="337"/>
                        </a:lnTo>
                        <a:lnTo>
                          <a:pt x="221" y="280"/>
                        </a:lnTo>
                        <a:lnTo>
                          <a:pt x="175" y="257"/>
                        </a:lnTo>
                        <a:lnTo>
                          <a:pt x="137" y="206"/>
                        </a:lnTo>
                        <a:lnTo>
                          <a:pt x="97" y="152"/>
                        </a:lnTo>
                        <a:lnTo>
                          <a:pt x="48" y="87"/>
                        </a:lnTo>
                        <a:lnTo>
                          <a:pt x="0" y="15"/>
                        </a:lnTo>
                        <a:lnTo>
                          <a:pt x="76" y="8"/>
                        </a:lnTo>
                        <a:lnTo>
                          <a:pt x="160" y="0"/>
                        </a:lnTo>
                        <a:lnTo>
                          <a:pt x="158" y="16"/>
                        </a:lnTo>
                        <a:lnTo>
                          <a:pt x="272" y="55"/>
                        </a:lnTo>
                        <a:lnTo>
                          <a:pt x="446" y="112"/>
                        </a:lnTo>
                        <a:lnTo>
                          <a:pt x="582" y="112"/>
                        </a:lnTo>
                        <a:lnTo>
                          <a:pt x="636" y="112"/>
                        </a:lnTo>
                        <a:lnTo>
                          <a:pt x="626" y="78"/>
                        </a:lnTo>
                        <a:lnTo>
                          <a:pt x="745" y="78"/>
                        </a:lnTo>
                        <a:lnTo>
                          <a:pt x="778" y="107"/>
                        </a:lnTo>
                        <a:lnTo>
                          <a:pt x="822" y="132"/>
                        </a:lnTo>
                        <a:lnTo>
                          <a:pt x="873" y="168"/>
                        </a:lnTo>
                        <a:lnTo>
                          <a:pt x="908" y="211"/>
                        </a:lnTo>
                        <a:lnTo>
                          <a:pt x="938" y="256"/>
                        </a:lnTo>
                        <a:lnTo>
                          <a:pt x="981" y="280"/>
                        </a:lnTo>
                        <a:lnTo>
                          <a:pt x="1045" y="305"/>
                        </a:lnTo>
                        <a:lnTo>
                          <a:pt x="1070" y="240"/>
                        </a:lnTo>
                        <a:lnTo>
                          <a:pt x="1126" y="238"/>
                        </a:lnTo>
                        <a:lnTo>
                          <a:pt x="1183" y="271"/>
                        </a:lnTo>
                        <a:lnTo>
                          <a:pt x="1233" y="327"/>
                        </a:lnTo>
                        <a:lnTo>
                          <a:pt x="1271" y="375"/>
                        </a:lnTo>
                        <a:lnTo>
                          <a:pt x="1323" y="421"/>
                        </a:lnTo>
                        <a:lnTo>
                          <a:pt x="1353" y="477"/>
                        </a:lnTo>
                        <a:lnTo>
                          <a:pt x="1382" y="516"/>
                        </a:lnTo>
                        <a:lnTo>
                          <a:pt x="1442" y="541"/>
                        </a:lnTo>
                        <a:lnTo>
                          <a:pt x="1496" y="558"/>
                        </a:lnTo>
                        <a:lnTo>
                          <a:pt x="1522" y="556"/>
                        </a:lnTo>
                        <a:lnTo>
                          <a:pt x="1511" y="627"/>
                        </a:lnTo>
                        <a:lnTo>
                          <a:pt x="1511" y="686"/>
                        </a:lnTo>
                        <a:lnTo>
                          <a:pt x="1526" y="795"/>
                        </a:lnTo>
                        <a:lnTo>
                          <a:pt x="1527" y="835"/>
                        </a:lnTo>
                        <a:lnTo>
                          <a:pt x="1547" y="880"/>
                        </a:lnTo>
                        <a:lnTo>
                          <a:pt x="1576" y="918"/>
                        </a:lnTo>
                        <a:lnTo>
                          <a:pt x="1600" y="982"/>
                        </a:lnTo>
                        <a:lnTo>
                          <a:pt x="1657" y="1042"/>
                        </a:lnTo>
                        <a:lnTo>
                          <a:pt x="1681" y="1088"/>
                        </a:lnTo>
                        <a:lnTo>
                          <a:pt x="1716" y="1128"/>
                        </a:lnTo>
                        <a:lnTo>
                          <a:pt x="1795" y="1151"/>
                        </a:lnTo>
                        <a:lnTo>
                          <a:pt x="1830" y="1185"/>
                        </a:lnTo>
                        <a:lnTo>
                          <a:pt x="1887" y="1162"/>
                        </a:lnTo>
                        <a:lnTo>
                          <a:pt x="1940" y="1153"/>
                        </a:lnTo>
                        <a:lnTo>
                          <a:pt x="1991" y="1138"/>
                        </a:lnTo>
                        <a:lnTo>
                          <a:pt x="2032" y="1125"/>
                        </a:lnTo>
                        <a:lnTo>
                          <a:pt x="2072" y="1092"/>
                        </a:lnTo>
                        <a:lnTo>
                          <a:pt x="2080" y="1045"/>
                        </a:lnTo>
                        <a:lnTo>
                          <a:pt x="2073" y="976"/>
                        </a:lnTo>
                        <a:lnTo>
                          <a:pt x="2082" y="952"/>
                        </a:lnTo>
                        <a:lnTo>
                          <a:pt x="2126" y="931"/>
                        </a:lnTo>
                        <a:lnTo>
                          <a:pt x="2196" y="912"/>
                        </a:lnTo>
                        <a:lnTo>
                          <a:pt x="2260" y="915"/>
                        </a:lnTo>
                        <a:lnTo>
                          <a:pt x="2301" y="908"/>
                        </a:lnTo>
                        <a:lnTo>
                          <a:pt x="2321" y="926"/>
                        </a:lnTo>
                        <a:lnTo>
                          <a:pt x="2326" y="965"/>
                        </a:lnTo>
                        <a:lnTo>
                          <a:pt x="2297" y="1012"/>
                        </a:lnTo>
                        <a:lnTo>
                          <a:pt x="2288" y="1062"/>
                        </a:lnTo>
                        <a:lnTo>
                          <a:pt x="2305" y="1076"/>
                        </a:lnTo>
                        <a:lnTo>
                          <a:pt x="2300" y="1112"/>
                        </a:lnTo>
                        <a:lnTo>
                          <a:pt x="2293" y="1175"/>
                        </a:lnTo>
                        <a:lnTo>
                          <a:pt x="2272" y="1155"/>
                        </a:lnTo>
                        <a:lnTo>
                          <a:pt x="2257" y="115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1" name="Macedonia" descr="{&quot;Key&quot;:&quot;macedonia&quot;,&quot;Name&quot;:&quot;Macedonia&quot;,&quot;Value&quot;:1.0,&quot;Formula&quot;:&quot;&quot;,&quot;Text&quot;:&quot;&quot;,&quot;OfficeApplication&quot;:1,&quot;HasValue&quot;:true}">
                    <a:extLst>
                      <a:ext uri="{FF2B5EF4-FFF2-40B4-BE49-F238E27FC236}">
                        <a16:creationId xmlns:a16="http://schemas.microsoft.com/office/drawing/2014/main" id="{3EBBB8FC-0E63-4245-69DD-39D858B0529F}"/>
                      </a:ext>
                    </a:extLst>
                  </p:cNvPr>
                  <p:cNvSpPr>
                    <a:spLocks/>
                  </p:cNvSpPr>
                  <p:nvPr/>
                </p:nvSpPr>
                <p:spPr bwMode="auto">
                  <a:xfrm>
                    <a:off x="1443" y="1826"/>
                    <a:ext cx="54" cy="33"/>
                  </a:xfrm>
                  <a:custGeom>
                    <a:avLst/>
                    <a:gdLst>
                      <a:gd name="T0" fmla="*/ 165 w 191"/>
                      <a:gd name="T1" fmla="*/ 79 h 119"/>
                      <a:gd name="T2" fmla="*/ 151 w 191"/>
                      <a:gd name="T3" fmla="*/ 82 h 119"/>
                      <a:gd name="T4" fmla="*/ 132 w 191"/>
                      <a:gd name="T5" fmla="*/ 96 h 119"/>
                      <a:gd name="T6" fmla="*/ 97 w 191"/>
                      <a:gd name="T7" fmla="*/ 94 h 119"/>
                      <a:gd name="T8" fmla="*/ 64 w 191"/>
                      <a:gd name="T9" fmla="*/ 112 h 119"/>
                      <a:gd name="T10" fmla="*/ 16 w 191"/>
                      <a:gd name="T11" fmla="*/ 119 h 119"/>
                      <a:gd name="T12" fmla="*/ 0 w 191"/>
                      <a:gd name="T13" fmla="*/ 99 h 119"/>
                      <a:gd name="T14" fmla="*/ 10 w 191"/>
                      <a:gd name="T15" fmla="*/ 65 h 119"/>
                      <a:gd name="T16" fmla="*/ 34 w 191"/>
                      <a:gd name="T17" fmla="*/ 38 h 119"/>
                      <a:gd name="T18" fmla="*/ 42 w 191"/>
                      <a:gd name="T19" fmla="*/ 38 h 119"/>
                      <a:gd name="T20" fmla="*/ 55 w 191"/>
                      <a:gd name="T21" fmla="*/ 22 h 119"/>
                      <a:gd name="T22" fmla="*/ 100 w 191"/>
                      <a:gd name="T23" fmla="*/ 9 h 119"/>
                      <a:gd name="T24" fmla="*/ 117 w 191"/>
                      <a:gd name="T25" fmla="*/ 7 h 119"/>
                      <a:gd name="T26" fmla="*/ 142 w 191"/>
                      <a:gd name="T27" fmla="*/ 2 h 119"/>
                      <a:gd name="T28" fmla="*/ 172 w 191"/>
                      <a:gd name="T29" fmla="*/ 0 h 119"/>
                      <a:gd name="T30" fmla="*/ 191 w 191"/>
                      <a:gd name="T31" fmla="*/ 27 h 119"/>
                      <a:gd name="T32" fmla="*/ 165 w 191"/>
                      <a:gd name="T33" fmla="*/ 7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1" h="119">
                        <a:moveTo>
                          <a:pt x="165" y="79"/>
                        </a:moveTo>
                        <a:lnTo>
                          <a:pt x="151" y="82"/>
                        </a:lnTo>
                        <a:lnTo>
                          <a:pt x="132" y="96"/>
                        </a:lnTo>
                        <a:lnTo>
                          <a:pt x="97" y="94"/>
                        </a:lnTo>
                        <a:lnTo>
                          <a:pt x="64" y="112"/>
                        </a:lnTo>
                        <a:lnTo>
                          <a:pt x="16" y="119"/>
                        </a:lnTo>
                        <a:lnTo>
                          <a:pt x="0" y="99"/>
                        </a:lnTo>
                        <a:lnTo>
                          <a:pt x="10" y="65"/>
                        </a:lnTo>
                        <a:lnTo>
                          <a:pt x="34" y="38"/>
                        </a:lnTo>
                        <a:lnTo>
                          <a:pt x="42" y="38"/>
                        </a:lnTo>
                        <a:lnTo>
                          <a:pt x="55" y="22"/>
                        </a:lnTo>
                        <a:lnTo>
                          <a:pt x="100" y="9"/>
                        </a:lnTo>
                        <a:lnTo>
                          <a:pt x="117" y="7"/>
                        </a:lnTo>
                        <a:lnTo>
                          <a:pt x="142" y="2"/>
                        </a:lnTo>
                        <a:lnTo>
                          <a:pt x="172" y="0"/>
                        </a:lnTo>
                        <a:lnTo>
                          <a:pt x="191" y="27"/>
                        </a:lnTo>
                        <a:lnTo>
                          <a:pt x="165" y="7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2" name="Mali" descr="{&quot;Key&quot;:&quot;mali&quot;,&quot;Name&quot;:&quot;Mali&quot;,&quot;Value&quot;:1.0,&quot;Formula&quot;:&quot;&quot;,&quot;Text&quot;:&quot;&quot;,&quot;OfficeApplication&quot;:1,&quot;HasValue&quot;:true}">
                    <a:extLst>
                      <a:ext uri="{FF2B5EF4-FFF2-40B4-BE49-F238E27FC236}">
                        <a16:creationId xmlns:a16="http://schemas.microsoft.com/office/drawing/2014/main" id="{4BA635E2-CE5A-0033-F824-50C022268E23}"/>
                      </a:ext>
                    </a:extLst>
                  </p:cNvPr>
                  <p:cNvSpPr>
                    <a:spLocks/>
                  </p:cNvSpPr>
                  <p:nvPr/>
                </p:nvSpPr>
                <p:spPr bwMode="auto">
                  <a:xfrm>
                    <a:off x="600" y="2219"/>
                    <a:ext cx="347" cy="337"/>
                  </a:xfrm>
                  <a:custGeom>
                    <a:avLst/>
                    <a:gdLst>
                      <a:gd name="T0" fmla="*/ 1209 w 1246"/>
                      <a:gd name="T1" fmla="*/ 660 h 1209"/>
                      <a:gd name="T2" fmla="*/ 1144 w 1246"/>
                      <a:gd name="T3" fmla="*/ 764 h 1209"/>
                      <a:gd name="T4" fmla="*/ 980 w 1246"/>
                      <a:gd name="T5" fmla="*/ 784 h 1209"/>
                      <a:gd name="T6" fmla="*/ 902 w 1246"/>
                      <a:gd name="T7" fmla="*/ 816 h 1209"/>
                      <a:gd name="T8" fmla="*/ 841 w 1246"/>
                      <a:gd name="T9" fmla="*/ 801 h 1209"/>
                      <a:gd name="T10" fmla="*/ 727 w 1246"/>
                      <a:gd name="T11" fmla="*/ 846 h 1209"/>
                      <a:gd name="T12" fmla="*/ 649 w 1246"/>
                      <a:gd name="T13" fmla="*/ 907 h 1209"/>
                      <a:gd name="T14" fmla="*/ 604 w 1246"/>
                      <a:gd name="T15" fmla="*/ 945 h 1209"/>
                      <a:gd name="T16" fmla="*/ 547 w 1246"/>
                      <a:gd name="T17" fmla="*/ 954 h 1209"/>
                      <a:gd name="T18" fmla="*/ 462 w 1246"/>
                      <a:gd name="T19" fmla="*/ 1077 h 1209"/>
                      <a:gd name="T20" fmla="*/ 436 w 1246"/>
                      <a:gd name="T21" fmla="*/ 1140 h 1209"/>
                      <a:gd name="T22" fmla="*/ 405 w 1246"/>
                      <a:gd name="T23" fmla="*/ 1198 h 1209"/>
                      <a:gd name="T24" fmla="*/ 380 w 1246"/>
                      <a:gd name="T25" fmla="*/ 1173 h 1209"/>
                      <a:gd name="T26" fmla="*/ 346 w 1246"/>
                      <a:gd name="T27" fmla="*/ 1181 h 1209"/>
                      <a:gd name="T28" fmla="*/ 275 w 1246"/>
                      <a:gd name="T29" fmla="*/ 1205 h 1209"/>
                      <a:gd name="T30" fmla="*/ 246 w 1246"/>
                      <a:gd name="T31" fmla="*/ 1200 h 1209"/>
                      <a:gd name="T32" fmla="*/ 234 w 1246"/>
                      <a:gd name="T33" fmla="*/ 1152 h 1209"/>
                      <a:gd name="T34" fmla="*/ 210 w 1246"/>
                      <a:gd name="T35" fmla="*/ 1151 h 1209"/>
                      <a:gd name="T36" fmla="*/ 234 w 1246"/>
                      <a:gd name="T37" fmla="*/ 1104 h 1209"/>
                      <a:gd name="T38" fmla="*/ 204 w 1246"/>
                      <a:gd name="T39" fmla="*/ 1047 h 1209"/>
                      <a:gd name="T40" fmla="*/ 178 w 1246"/>
                      <a:gd name="T41" fmla="*/ 1027 h 1209"/>
                      <a:gd name="T42" fmla="*/ 134 w 1246"/>
                      <a:gd name="T43" fmla="*/ 1048 h 1209"/>
                      <a:gd name="T44" fmla="*/ 81 w 1246"/>
                      <a:gd name="T45" fmla="*/ 1060 h 1209"/>
                      <a:gd name="T46" fmla="*/ 54 w 1246"/>
                      <a:gd name="T47" fmla="*/ 1037 h 1209"/>
                      <a:gd name="T48" fmla="*/ 23 w 1246"/>
                      <a:gd name="T49" fmla="*/ 1047 h 1209"/>
                      <a:gd name="T50" fmla="*/ 30 w 1246"/>
                      <a:gd name="T51" fmla="*/ 992 h 1209"/>
                      <a:gd name="T52" fmla="*/ 6 w 1246"/>
                      <a:gd name="T53" fmla="*/ 938 h 1209"/>
                      <a:gd name="T54" fmla="*/ 5 w 1246"/>
                      <a:gd name="T55" fmla="*/ 841 h 1209"/>
                      <a:gd name="T56" fmla="*/ 54 w 1246"/>
                      <a:gd name="T57" fmla="*/ 778 h 1209"/>
                      <a:gd name="T58" fmla="*/ 121 w 1246"/>
                      <a:gd name="T59" fmla="*/ 800 h 1209"/>
                      <a:gd name="T60" fmla="*/ 191 w 1246"/>
                      <a:gd name="T61" fmla="*/ 788 h 1209"/>
                      <a:gd name="T62" fmla="*/ 491 w 1246"/>
                      <a:gd name="T63" fmla="*/ 770 h 1209"/>
                      <a:gd name="T64" fmla="*/ 507 w 1246"/>
                      <a:gd name="T65" fmla="*/ 702 h 1209"/>
                      <a:gd name="T66" fmla="*/ 607 w 1246"/>
                      <a:gd name="T67" fmla="*/ 1 h 1209"/>
                      <a:gd name="T68" fmla="*/ 904 w 1246"/>
                      <a:gd name="T69" fmla="*/ 176 h 1209"/>
                      <a:gd name="T70" fmla="*/ 1109 w 1246"/>
                      <a:gd name="T71" fmla="*/ 392 h 1209"/>
                      <a:gd name="T72" fmla="*/ 1177 w 1246"/>
                      <a:gd name="T73" fmla="*/ 428 h 1209"/>
                      <a:gd name="T74" fmla="*/ 1246 w 1246"/>
                      <a:gd name="T75" fmla="*/ 472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46" h="1209">
                        <a:moveTo>
                          <a:pt x="1246" y="472"/>
                        </a:moveTo>
                        <a:lnTo>
                          <a:pt x="1209" y="660"/>
                        </a:lnTo>
                        <a:lnTo>
                          <a:pt x="1159" y="714"/>
                        </a:lnTo>
                        <a:lnTo>
                          <a:pt x="1144" y="764"/>
                        </a:lnTo>
                        <a:lnTo>
                          <a:pt x="1077" y="777"/>
                        </a:lnTo>
                        <a:lnTo>
                          <a:pt x="980" y="784"/>
                        </a:lnTo>
                        <a:lnTo>
                          <a:pt x="949" y="812"/>
                        </a:lnTo>
                        <a:lnTo>
                          <a:pt x="902" y="816"/>
                        </a:lnTo>
                        <a:lnTo>
                          <a:pt x="856" y="816"/>
                        </a:lnTo>
                        <a:lnTo>
                          <a:pt x="841" y="801"/>
                        </a:lnTo>
                        <a:lnTo>
                          <a:pt x="800" y="812"/>
                        </a:lnTo>
                        <a:lnTo>
                          <a:pt x="727" y="846"/>
                        </a:lnTo>
                        <a:lnTo>
                          <a:pt x="710" y="871"/>
                        </a:lnTo>
                        <a:lnTo>
                          <a:pt x="649" y="907"/>
                        </a:lnTo>
                        <a:lnTo>
                          <a:pt x="636" y="929"/>
                        </a:lnTo>
                        <a:lnTo>
                          <a:pt x="604" y="945"/>
                        </a:lnTo>
                        <a:lnTo>
                          <a:pt x="570" y="935"/>
                        </a:lnTo>
                        <a:lnTo>
                          <a:pt x="547" y="954"/>
                        </a:lnTo>
                        <a:lnTo>
                          <a:pt x="529" y="1010"/>
                        </a:lnTo>
                        <a:lnTo>
                          <a:pt x="462" y="1077"/>
                        </a:lnTo>
                        <a:lnTo>
                          <a:pt x="461" y="1105"/>
                        </a:lnTo>
                        <a:lnTo>
                          <a:pt x="436" y="1140"/>
                        </a:lnTo>
                        <a:lnTo>
                          <a:pt x="436" y="1186"/>
                        </a:lnTo>
                        <a:lnTo>
                          <a:pt x="405" y="1198"/>
                        </a:lnTo>
                        <a:lnTo>
                          <a:pt x="387" y="1209"/>
                        </a:lnTo>
                        <a:lnTo>
                          <a:pt x="380" y="1173"/>
                        </a:lnTo>
                        <a:lnTo>
                          <a:pt x="359" y="1184"/>
                        </a:lnTo>
                        <a:lnTo>
                          <a:pt x="346" y="1181"/>
                        </a:lnTo>
                        <a:lnTo>
                          <a:pt x="330" y="1205"/>
                        </a:lnTo>
                        <a:lnTo>
                          <a:pt x="275" y="1205"/>
                        </a:lnTo>
                        <a:lnTo>
                          <a:pt x="256" y="1192"/>
                        </a:lnTo>
                        <a:lnTo>
                          <a:pt x="246" y="1200"/>
                        </a:lnTo>
                        <a:lnTo>
                          <a:pt x="227" y="1176"/>
                        </a:lnTo>
                        <a:lnTo>
                          <a:pt x="234" y="1152"/>
                        </a:lnTo>
                        <a:lnTo>
                          <a:pt x="226" y="1142"/>
                        </a:lnTo>
                        <a:lnTo>
                          <a:pt x="210" y="1151"/>
                        </a:lnTo>
                        <a:lnTo>
                          <a:pt x="216" y="1124"/>
                        </a:lnTo>
                        <a:lnTo>
                          <a:pt x="234" y="1104"/>
                        </a:lnTo>
                        <a:lnTo>
                          <a:pt x="210" y="1070"/>
                        </a:lnTo>
                        <a:lnTo>
                          <a:pt x="204" y="1047"/>
                        </a:lnTo>
                        <a:lnTo>
                          <a:pt x="191" y="1029"/>
                        </a:lnTo>
                        <a:lnTo>
                          <a:pt x="178" y="1027"/>
                        </a:lnTo>
                        <a:lnTo>
                          <a:pt x="159" y="1038"/>
                        </a:lnTo>
                        <a:lnTo>
                          <a:pt x="134" y="1048"/>
                        </a:lnTo>
                        <a:lnTo>
                          <a:pt x="111" y="1066"/>
                        </a:lnTo>
                        <a:lnTo>
                          <a:pt x="81" y="1060"/>
                        </a:lnTo>
                        <a:lnTo>
                          <a:pt x="65" y="1040"/>
                        </a:lnTo>
                        <a:lnTo>
                          <a:pt x="54" y="1037"/>
                        </a:lnTo>
                        <a:lnTo>
                          <a:pt x="34" y="1047"/>
                        </a:lnTo>
                        <a:lnTo>
                          <a:pt x="23" y="1047"/>
                        </a:lnTo>
                        <a:lnTo>
                          <a:pt x="23" y="1018"/>
                        </a:lnTo>
                        <a:lnTo>
                          <a:pt x="30" y="992"/>
                        </a:lnTo>
                        <a:lnTo>
                          <a:pt x="29" y="961"/>
                        </a:lnTo>
                        <a:lnTo>
                          <a:pt x="6" y="938"/>
                        </a:lnTo>
                        <a:lnTo>
                          <a:pt x="0" y="892"/>
                        </a:lnTo>
                        <a:lnTo>
                          <a:pt x="5" y="841"/>
                        </a:lnTo>
                        <a:lnTo>
                          <a:pt x="33" y="826"/>
                        </a:lnTo>
                        <a:lnTo>
                          <a:pt x="54" y="778"/>
                        </a:lnTo>
                        <a:lnTo>
                          <a:pt x="76" y="777"/>
                        </a:lnTo>
                        <a:lnTo>
                          <a:pt x="121" y="800"/>
                        </a:lnTo>
                        <a:lnTo>
                          <a:pt x="165" y="783"/>
                        </a:lnTo>
                        <a:lnTo>
                          <a:pt x="191" y="788"/>
                        </a:lnTo>
                        <a:lnTo>
                          <a:pt x="205" y="771"/>
                        </a:lnTo>
                        <a:lnTo>
                          <a:pt x="491" y="770"/>
                        </a:lnTo>
                        <a:lnTo>
                          <a:pt x="517" y="712"/>
                        </a:lnTo>
                        <a:lnTo>
                          <a:pt x="507" y="702"/>
                        </a:lnTo>
                        <a:lnTo>
                          <a:pt x="551" y="351"/>
                        </a:lnTo>
                        <a:lnTo>
                          <a:pt x="607" y="1"/>
                        </a:lnTo>
                        <a:lnTo>
                          <a:pt x="715" y="0"/>
                        </a:lnTo>
                        <a:lnTo>
                          <a:pt x="904" y="176"/>
                        </a:lnTo>
                        <a:lnTo>
                          <a:pt x="1100" y="353"/>
                        </a:lnTo>
                        <a:lnTo>
                          <a:pt x="1109" y="392"/>
                        </a:lnTo>
                        <a:lnTo>
                          <a:pt x="1147" y="415"/>
                        </a:lnTo>
                        <a:lnTo>
                          <a:pt x="1177" y="428"/>
                        </a:lnTo>
                        <a:lnTo>
                          <a:pt x="1166" y="480"/>
                        </a:lnTo>
                        <a:lnTo>
                          <a:pt x="1246" y="47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3" name="Myanmar" descr="{&quot;Key&quot;:&quot;myanmar&quot;,&quot;Name&quot;:&quot;Myanmar&quot;,&quot;Value&quot;:1.0,&quot;Formula&quot;:&quot;&quot;,&quot;Text&quot;:&quot;&quot;,&quot;OfficeApplication&quot;:1,&quot;HasValue&quot;:true}">
                    <a:extLst>
                      <a:ext uri="{FF2B5EF4-FFF2-40B4-BE49-F238E27FC236}">
                        <a16:creationId xmlns:a16="http://schemas.microsoft.com/office/drawing/2014/main" id="{3AC532C9-20E3-8026-24B8-D0551F6916A5}"/>
                      </a:ext>
                    </a:extLst>
                  </p:cNvPr>
                  <p:cNvSpPr>
                    <a:spLocks/>
                  </p:cNvSpPr>
                  <p:nvPr/>
                </p:nvSpPr>
                <p:spPr bwMode="auto">
                  <a:xfrm>
                    <a:off x="2685" y="2142"/>
                    <a:ext cx="175" cy="418"/>
                  </a:xfrm>
                  <a:custGeom>
                    <a:avLst/>
                    <a:gdLst>
                      <a:gd name="T0" fmla="*/ 561 w 625"/>
                      <a:gd name="T1" fmla="*/ 614 h 1496"/>
                      <a:gd name="T2" fmla="*/ 502 w 625"/>
                      <a:gd name="T3" fmla="*/ 662 h 1496"/>
                      <a:gd name="T4" fmla="*/ 409 w 625"/>
                      <a:gd name="T5" fmla="*/ 701 h 1496"/>
                      <a:gd name="T6" fmla="*/ 339 w 625"/>
                      <a:gd name="T7" fmla="*/ 804 h 1496"/>
                      <a:gd name="T8" fmla="*/ 408 w 625"/>
                      <a:gd name="T9" fmla="*/ 935 h 1496"/>
                      <a:gd name="T10" fmla="*/ 402 w 625"/>
                      <a:gd name="T11" fmla="*/ 1059 h 1496"/>
                      <a:gd name="T12" fmla="*/ 392 w 625"/>
                      <a:gd name="T13" fmla="*/ 1115 h 1496"/>
                      <a:gd name="T14" fmla="*/ 441 w 625"/>
                      <a:gd name="T15" fmla="*/ 1225 h 1496"/>
                      <a:gd name="T16" fmla="*/ 462 w 625"/>
                      <a:gd name="T17" fmla="*/ 1336 h 1496"/>
                      <a:gd name="T18" fmla="*/ 382 w 625"/>
                      <a:gd name="T19" fmla="*/ 1496 h 1496"/>
                      <a:gd name="T20" fmla="*/ 402 w 625"/>
                      <a:gd name="T21" fmla="*/ 1374 h 1496"/>
                      <a:gd name="T22" fmla="*/ 391 w 625"/>
                      <a:gd name="T23" fmla="*/ 1236 h 1496"/>
                      <a:gd name="T24" fmla="*/ 346 w 625"/>
                      <a:gd name="T25" fmla="*/ 1098 h 1496"/>
                      <a:gd name="T26" fmla="*/ 315 w 625"/>
                      <a:gd name="T27" fmla="*/ 928 h 1496"/>
                      <a:gd name="T28" fmla="*/ 180 w 625"/>
                      <a:gd name="T29" fmla="*/ 1026 h 1496"/>
                      <a:gd name="T30" fmla="*/ 98 w 625"/>
                      <a:gd name="T31" fmla="*/ 1000 h 1496"/>
                      <a:gd name="T32" fmla="*/ 121 w 625"/>
                      <a:gd name="T33" fmla="*/ 822 h 1496"/>
                      <a:gd name="T34" fmla="*/ 85 w 625"/>
                      <a:gd name="T35" fmla="*/ 700 h 1496"/>
                      <a:gd name="T36" fmla="*/ 0 w 625"/>
                      <a:gd name="T37" fmla="*/ 622 h 1496"/>
                      <a:gd name="T38" fmla="*/ 25 w 625"/>
                      <a:gd name="T39" fmla="*/ 570 h 1496"/>
                      <a:gd name="T40" fmla="*/ 67 w 625"/>
                      <a:gd name="T41" fmla="*/ 493 h 1496"/>
                      <a:gd name="T42" fmla="*/ 81 w 625"/>
                      <a:gd name="T43" fmla="*/ 430 h 1496"/>
                      <a:gd name="T44" fmla="*/ 145 w 625"/>
                      <a:gd name="T45" fmla="*/ 365 h 1496"/>
                      <a:gd name="T46" fmla="*/ 191 w 625"/>
                      <a:gd name="T47" fmla="*/ 258 h 1496"/>
                      <a:gd name="T48" fmla="*/ 240 w 625"/>
                      <a:gd name="T49" fmla="*/ 144 h 1496"/>
                      <a:gd name="T50" fmla="*/ 385 w 625"/>
                      <a:gd name="T51" fmla="*/ 101 h 1496"/>
                      <a:gd name="T52" fmla="*/ 411 w 625"/>
                      <a:gd name="T53" fmla="*/ 38 h 1496"/>
                      <a:gd name="T54" fmla="*/ 451 w 625"/>
                      <a:gd name="T55" fmla="*/ 0 h 1496"/>
                      <a:gd name="T56" fmla="*/ 496 w 625"/>
                      <a:gd name="T57" fmla="*/ 68 h 1496"/>
                      <a:gd name="T58" fmla="*/ 481 w 625"/>
                      <a:gd name="T59" fmla="*/ 196 h 1496"/>
                      <a:gd name="T60" fmla="*/ 390 w 625"/>
                      <a:gd name="T61" fmla="*/ 361 h 1496"/>
                      <a:gd name="T62" fmla="*/ 476 w 625"/>
                      <a:gd name="T63" fmla="*/ 423 h 1496"/>
                      <a:gd name="T64" fmla="*/ 492 w 625"/>
                      <a:gd name="T65" fmla="*/ 505 h 1496"/>
                      <a:gd name="T66" fmla="*/ 572 w 625"/>
                      <a:gd name="T67" fmla="*/ 551 h 1496"/>
                      <a:gd name="T68" fmla="*/ 625 w 625"/>
                      <a:gd name="T69" fmla="*/ 561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5" h="1496">
                        <a:moveTo>
                          <a:pt x="625" y="561"/>
                        </a:moveTo>
                        <a:lnTo>
                          <a:pt x="561" y="614"/>
                        </a:lnTo>
                        <a:lnTo>
                          <a:pt x="544" y="644"/>
                        </a:lnTo>
                        <a:lnTo>
                          <a:pt x="502" y="662"/>
                        </a:lnTo>
                        <a:lnTo>
                          <a:pt x="459" y="697"/>
                        </a:lnTo>
                        <a:lnTo>
                          <a:pt x="409" y="701"/>
                        </a:lnTo>
                        <a:lnTo>
                          <a:pt x="370" y="789"/>
                        </a:lnTo>
                        <a:lnTo>
                          <a:pt x="339" y="804"/>
                        </a:lnTo>
                        <a:lnTo>
                          <a:pt x="367" y="875"/>
                        </a:lnTo>
                        <a:lnTo>
                          <a:pt x="408" y="935"/>
                        </a:lnTo>
                        <a:lnTo>
                          <a:pt x="433" y="989"/>
                        </a:lnTo>
                        <a:lnTo>
                          <a:pt x="402" y="1059"/>
                        </a:lnTo>
                        <a:lnTo>
                          <a:pt x="377" y="1074"/>
                        </a:lnTo>
                        <a:lnTo>
                          <a:pt x="392" y="1115"/>
                        </a:lnTo>
                        <a:lnTo>
                          <a:pt x="436" y="1179"/>
                        </a:lnTo>
                        <a:lnTo>
                          <a:pt x="441" y="1225"/>
                        </a:lnTo>
                        <a:lnTo>
                          <a:pt x="438" y="1263"/>
                        </a:lnTo>
                        <a:lnTo>
                          <a:pt x="462" y="1336"/>
                        </a:lnTo>
                        <a:lnTo>
                          <a:pt x="420" y="1413"/>
                        </a:lnTo>
                        <a:lnTo>
                          <a:pt x="382" y="1496"/>
                        </a:lnTo>
                        <a:lnTo>
                          <a:pt x="377" y="1435"/>
                        </a:lnTo>
                        <a:lnTo>
                          <a:pt x="402" y="1374"/>
                        </a:lnTo>
                        <a:lnTo>
                          <a:pt x="381" y="1325"/>
                        </a:lnTo>
                        <a:lnTo>
                          <a:pt x="391" y="1236"/>
                        </a:lnTo>
                        <a:lnTo>
                          <a:pt x="363" y="1195"/>
                        </a:lnTo>
                        <a:lnTo>
                          <a:pt x="346" y="1098"/>
                        </a:lnTo>
                        <a:lnTo>
                          <a:pt x="340" y="995"/>
                        </a:lnTo>
                        <a:lnTo>
                          <a:pt x="315" y="928"/>
                        </a:lnTo>
                        <a:lnTo>
                          <a:pt x="265" y="968"/>
                        </a:lnTo>
                        <a:lnTo>
                          <a:pt x="180" y="1026"/>
                        </a:lnTo>
                        <a:lnTo>
                          <a:pt x="141" y="1019"/>
                        </a:lnTo>
                        <a:lnTo>
                          <a:pt x="98" y="1000"/>
                        </a:lnTo>
                        <a:lnTo>
                          <a:pt x="130" y="899"/>
                        </a:lnTo>
                        <a:lnTo>
                          <a:pt x="121" y="822"/>
                        </a:lnTo>
                        <a:lnTo>
                          <a:pt x="73" y="729"/>
                        </a:lnTo>
                        <a:lnTo>
                          <a:pt x="85" y="700"/>
                        </a:lnTo>
                        <a:lnTo>
                          <a:pt x="43" y="690"/>
                        </a:lnTo>
                        <a:lnTo>
                          <a:pt x="0" y="622"/>
                        </a:lnTo>
                        <a:lnTo>
                          <a:pt x="1" y="558"/>
                        </a:lnTo>
                        <a:lnTo>
                          <a:pt x="25" y="570"/>
                        </a:lnTo>
                        <a:lnTo>
                          <a:pt x="31" y="511"/>
                        </a:lnTo>
                        <a:lnTo>
                          <a:pt x="67" y="493"/>
                        </a:lnTo>
                        <a:lnTo>
                          <a:pt x="63" y="458"/>
                        </a:lnTo>
                        <a:lnTo>
                          <a:pt x="81" y="430"/>
                        </a:lnTo>
                        <a:lnTo>
                          <a:pt x="92" y="346"/>
                        </a:lnTo>
                        <a:lnTo>
                          <a:pt x="145" y="365"/>
                        </a:lnTo>
                        <a:lnTo>
                          <a:pt x="183" y="298"/>
                        </a:lnTo>
                        <a:lnTo>
                          <a:pt x="191" y="258"/>
                        </a:lnTo>
                        <a:lnTo>
                          <a:pt x="236" y="190"/>
                        </a:lnTo>
                        <a:lnTo>
                          <a:pt x="240" y="144"/>
                        </a:lnTo>
                        <a:lnTo>
                          <a:pt x="336" y="88"/>
                        </a:lnTo>
                        <a:lnTo>
                          <a:pt x="385" y="101"/>
                        </a:lnTo>
                        <a:lnTo>
                          <a:pt x="385" y="51"/>
                        </a:lnTo>
                        <a:lnTo>
                          <a:pt x="411" y="38"/>
                        </a:lnTo>
                        <a:lnTo>
                          <a:pt x="410" y="6"/>
                        </a:lnTo>
                        <a:lnTo>
                          <a:pt x="451" y="0"/>
                        </a:lnTo>
                        <a:lnTo>
                          <a:pt x="468" y="48"/>
                        </a:lnTo>
                        <a:lnTo>
                          <a:pt x="496" y="68"/>
                        </a:lnTo>
                        <a:lnTo>
                          <a:pt x="491" y="130"/>
                        </a:lnTo>
                        <a:lnTo>
                          <a:pt x="481" y="196"/>
                        </a:lnTo>
                        <a:lnTo>
                          <a:pt x="409" y="265"/>
                        </a:lnTo>
                        <a:lnTo>
                          <a:pt x="390" y="361"/>
                        </a:lnTo>
                        <a:lnTo>
                          <a:pt x="466" y="348"/>
                        </a:lnTo>
                        <a:lnTo>
                          <a:pt x="476" y="423"/>
                        </a:lnTo>
                        <a:lnTo>
                          <a:pt x="519" y="438"/>
                        </a:lnTo>
                        <a:lnTo>
                          <a:pt x="492" y="505"/>
                        </a:lnTo>
                        <a:lnTo>
                          <a:pt x="542" y="536"/>
                        </a:lnTo>
                        <a:lnTo>
                          <a:pt x="572" y="551"/>
                        </a:lnTo>
                        <a:lnTo>
                          <a:pt x="625" y="528"/>
                        </a:lnTo>
                        <a:lnTo>
                          <a:pt x="625" y="56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4" name="Montenegro" descr="{&quot;Key&quot;:&quot;montenegro&quot;,&quot;Name&quot;:&quot;Montenegro&quot;,&quot;Value&quot;:1.0,&quot;Formula&quot;:&quot;&quot;,&quot;Text&quot;:&quot;&quot;,&quot;OfficeApplication&quot;:1,&quot;HasValue&quot;:true}">
                    <a:extLst>
                      <a:ext uri="{FF2B5EF4-FFF2-40B4-BE49-F238E27FC236}">
                        <a16:creationId xmlns:a16="http://schemas.microsoft.com/office/drawing/2014/main" id="{3A5C819A-FCDC-60DE-067A-46C9254F219A}"/>
                      </a:ext>
                    </a:extLst>
                  </p:cNvPr>
                  <p:cNvSpPr>
                    <a:spLocks/>
                  </p:cNvSpPr>
                  <p:nvPr/>
                </p:nvSpPr>
                <p:spPr bwMode="auto">
                  <a:xfrm>
                    <a:off x="1422" y="1799"/>
                    <a:ext cx="40" cy="37"/>
                  </a:xfrm>
                  <a:custGeom>
                    <a:avLst/>
                    <a:gdLst>
                      <a:gd name="T0" fmla="*/ 134 w 143"/>
                      <a:gd name="T1" fmla="*/ 56 h 131"/>
                      <a:gd name="T2" fmla="*/ 111 w 143"/>
                      <a:gd name="T3" fmla="*/ 75 h 131"/>
                      <a:gd name="T4" fmla="*/ 89 w 143"/>
                      <a:gd name="T5" fmla="*/ 81 h 131"/>
                      <a:gd name="T6" fmla="*/ 93 w 143"/>
                      <a:gd name="T7" fmla="*/ 66 h 131"/>
                      <a:gd name="T8" fmla="*/ 42 w 143"/>
                      <a:gd name="T9" fmla="*/ 106 h 131"/>
                      <a:gd name="T10" fmla="*/ 31 w 143"/>
                      <a:gd name="T11" fmla="*/ 131 h 131"/>
                      <a:gd name="T12" fmla="*/ 21 w 143"/>
                      <a:gd name="T13" fmla="*/ 125 h 131"/>
                      <a:gd name="T14" fmla="*/ 18 w 143"/>
                      <a:gd name="T15" fmla="*/ 99 h 131"/>
                      <a:gd name="T16" fmla="*/ 0 w 143"/>
                      <a:gd name="T17" fmla="*/ 84 h 131"/>
                      <a:gd name="T18" fmla="*/ 15 w 143"/>
                      <a:gd name="T19" fmla="*/ 70 h 131"/>
                      <a:gd name="T20" fmla="*/ 51 w 143"/>
                      <a:gd name="T21" fmla="*/ 25 h 131"/>
                      <a:gd name="T22" fmla="*/ 85 w 143"/>
                      <a:gd name="T23" fmla="*/ 8 h 131"/>
                      <a:gd name="T24" fmla="*/ 101 w 143"/>
                      <a:gd name="T25" fmla="*/ 0 h 131"/>
                      <a:gd name="T26" fmla="*/ 110 w 143"/>
                      <a:gd name="T27" fmla="*/ 14 h 131"/>
                      <a:gd name="T28" fmla="*/ 112 w 143"/>
                      <a:gd name="T29" fmla="*/ 25 h 131"/>
                      <a:gd name="T30" fmla="*/ 128 w 143"/>
                      <a:gd name="T31" fmla="*/ 33 h 131"/>
                      <a:gd name="T32" fmla="*/ 143 w 143"/>
                      <a:gd name="T33" fmla="*/ 50 h 131"/>
                      <a:gd name="T34" fmla="*/ 134 w 143"/>
                      <a:gd name="T35" fmla="*/ 5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131">
                        <a:moveTo>
                          <a:pt x="134" y="56"/>
                        </a:moveTo>
                        <a:lnTo>
                          <a:pt x="111" y="75"/>
                        </a:lnTo>
                        <a:lnTo>
                          <a:pt x="89" y="81"/>
                        </a:lnTo>
                        <a:lnTo>
                          <a:pt x="93" y="66"/>
                        </a:lnTo>
                        <a:lnTo>
                          <a:pt x="42" y="106"/>
                        </a:lnTo>
                        <a:lnTo>
                          <a:pt x="31" y="131"/>
                        </a:lnTo>
                        <a:lnTo>
                          <a:pt x="21" y="125"/>
                        </a:lnTo>
                        <a:lnTo>
                          <a:pt x="18" y="99"/>
                        </a:lnTo>
                        <a:lnTo>
                          <a:pt x="0" y="84"/>
                        </a:lnTo>
                        <a:lnTo>
                          <a:pt x="15" y="70"/>
                        </a:lnTo>
                        <a:lnTo>
                          <a:pt x="51" y="25"/>
                        </a:lnTo>
                        <a:lnTo>
                          <a:pt x="85" y="8"/>
                        </a:lnTo>
                        <a:lnTo>
                          <a:pt x="101" y="0"/>
                        </a:lnTo>
                        <a:lnTo>
                          <a:pt x="110" y="14"/>
                        </a:lnTo>
                        <a:lnTo>
                          <a:pt x="112" y="25"/>
                        </a:lnTo>
                        <a:lnTo>
                          <a:pt x="128" y="33"/>
                        </a:lnTo>
                        <a:lnTo>
                          <a:pt x="143" y="50"/>
                        </a:lnTo>
                        <a:lnTo>
                          <a:pt x="134" y="5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5" name="Mongolia" descr="{&quot;Key&quot;:&quot;mongolia&quot;,&quot;Name&quot;:&quot;Mongolia&quot;,&quot;Value&quot;:1.0,&quot;Formula&quot;:&quot;&quot;,&quot;Text&quot;:&quot;&quot;,&quot;OfficeApplication&quot;:1,&quot;HasValue&quot;:true}">
                    <a:extLst>
                      <a:ext uri="{FF2B5EF4-FFF2-40B4-BE49-F238E27FC236}">
                        <a16:creationId xmlns:a16="http://schemas.microsoft.com/office/drawing/2014/main" id="{573E0ADB-F99C-DD3B-3D7C-396691936322}"/>
                      </a:ext>
                    </a:extLst>
                  </p:cNvPr>
                  <p:cNvSpPr>
                    <a:spLocks/>
                  </p:cNvSpPr>
                  <p:nvPr/>
                </p:nvSpPr>
                <p:spPr bwMode="auto">
                  <a:xfrm>
                    <a:off x="2730" y="1611"/>
                    <a:ext cx="552" cy="232"/>
                  </a:xfrm>
                  <a:custGeom>
                    <a:avLst/>
                    <a:gdLst>
                      <a:gd name="T0" fmla="*/ 1780 w 1978"/>
                      <a:gd name="T1" fmla="*/ 228 h 830"/>
                      <a:gd name="T2" fmla="*/ 1732 w 1978"/>
                      <a:gd name="T3" fmla="*/ 339 h 830"/>
                      <a:gd name="T4" fmla="*/ 1830 w 1978"/>
                      <a:gd name="T5" fmla="*/ 341 h 830"/>
                      <a:gd name="T6" fmla="*/ 1930 w 1978"/>
                      <a:gd name="T7" fmla="*/ 337 h 830"/>
                      <a:gd name="T8" fmla="*/ 1967 w 1978"/>
                      <a:gd name="T9" fmla="*/ 421 h 830"/>
                      <a:gd name="T10" fmla="*/ 1823 w 1978"/>
                      <a:gd name="T11" fmla="*/ 422 h 830"/>
                      <a:gd name="T12" fmla="*/ 1720 w 1978"/>
                      <a:gd name="T13" fmla="*/ 499 h 830"/>
                      <a:gd name="T14" fmla="*/ 1546 w 1978"/>
                      <a:gd name="T15" fmla="*/ 571 h 830"/>
                      <a:gd name="T16" fmla="*/ 1447 w 1978"/>
                      <a:gd name="T17" fmla="*/ 549 h 830"/>
                      <a:gd name="T18" fmla="*/ 1418 w 1978"/>
                      <a:gd name="T19" fmla="*/ 630 h 830"/>
                      <a:gd name="T20" fmla="*/ 1375 w 1978"/>
                      <a:gd name="T21" fmla="*/ 684 h 830"/>
                      <a:gd name="T22" fmla="*/ 1239 w 1978"/>
                      <a:gd name="T23" fmla="*/ 755 h 830"/>
                      <a:gd name="T24" fmla="*/ 1029 w 1978"/>
                      <a:gd name="T25" fmla="*/ 786 h 830"/>
                      <a:gd name="T26" fmla="*/ 920 w 1978"/>
                      <a:gd name="T27" fmla="*/ 804 h 830"/>
                      <a:gd name="T28" fmla="*/ 755 w 1978"/>
                      <a:gd name="T29" fmla="*/ 755 h 830"/>
                      <a:gd name="T30" fmla="*/ 604 w 1978"/>
                      <a:gd name="T31" fmla="*/ 755 h 830"/>
                      <a:gd name="T32" fmla="*/ 401 w 1978"/>
                      <a:gd name="T33" fmla="*/ 739 h 830"/>
                      <a:gd name="T34" fmla="*/ 364 w 1978"/>
                      <a:gd name="T35" fmla="*/ 617 h 830"/>
                      <a:gd name="T36" fmla="*/ 262 w 1978"/>
                      <a:gd name="T37" fmla="*/ 559 h 830"/>
                      <a:gd name="T38" fmla="*/ 106 w 1978"/>
                      <a:gd name="T39" fmla="*/ 534 h 830"/>
                      <a:gd name="T40" fmla="*/ 145 w 1978"/>
                      <a:gd name="T41" fmla="*/ 406 h 830"/>
                      <a:gd name="T42" fmla="*/ 39 w 1978"/>
                      <a:gd name="T43" fmla="*/ 312 h 830"/>
                      <a:gd name="T44" fmla="*/ 1 w 1978"/>
                      <a:gd name="T45" fmla="*/ 215 h 830"/>
                      <a:gd name="T46" fmla="*/ 214 w 1978"/>
                      <a:gd name="T47" fmla="*/ 134 h 830"/>
                      <a:gd name="T48" fmla="*/ 366 w 1978"/>
                      <a:gd name="T49" fmla="*/ 121 h 830"/>
                      <a:gd name="T50" fmla="*/ 461 w 1978"/>
                      <a:gd name="T51" fmla="*/ 159 h 830"/>
                      <a:gd name="T52" fmla="*/ 606 w 1978"/>
                      <a:gd name="T53" fmla="*/ 181 h 830"/>
                      <a:gd name="T54" fmla="*/ 671 w 1978"/>
                      <a:gd name="T55" fmla="*/ 80 h 830"/>
                      <a:gd name="T56" fmla="*/ 820 w 1978"/>
                      <a:gd name="T57" fmla="*/ 31 h 830"/>
                      <a:gd name="T58" fmla="*/ 940 w 1978"/>
                      <a:gd name="T59" fmla="*/ 61 h 830"/>
                      <a:gd name="T60" fmla="*/ 1015 w 1978"/>
                      <a:gd name="T61" fmla="*/ 152 h 830"/>
                      <a:gd name="T62" fmla="*/ 1159 w 1978"/>
                      <a:gd name="T63" fmla="*/ 127 h 830"/>
                      <a:gd name="T64" fmla="*/ 1270 w 1978"/>
                      <a:gd name="T65" fmla="*/ 176 h 830"/>
                      <a:gd name="T66" fmla="*/ 1357 w 1978"/>
                      <a:gd name="T67" fmla="*/ 215 h 830"/>
                      <a:gd name="T68" fmla="*/ 1495 w 1978"/>
                      <a:gd name="T69" fmla="*/ 209 h 830"/>
                      <a:gd name="T70" fmla="*/ 1682 w 1978"/>
                      <a:gd name="T71" fmla="*/ 140 h 830"/>
                      <a:gd name="T72" fmla="*/ 1746 w 1978"/>
                      <a:gd name="T73" fmla="*/ 17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78" h="830">
                        <a:moveTo>
                          <a:pt x="1821" y="169"/>
                        </a:moveTo>
                        <a:lnTo>
                          <a:pt x="1780" y="228"/>
                        </a:lnTo>
                        <a:lnTo>
                          <a:pt x="1721" y="308"/>
                        </a:lnTo>
                        <a:lnTo>
                          <a:pt x="1732" y="339"/>
                        </a:lnTo>
                        <a:lnTo>
                          <a:pt x="1770" y="329"/>
                        </a:lnTo>
                        <a:lnTo>
                          <a:pt x="1830" y="341"/>
                        </a:lnTo>
                        <a:lnTo>
                          <a:pt x="1883" y="312"/>
                        </a:lnTo>
                        <a:lnTo>
                          <a:pt x="1930" y="337"/>
                        </a:lnTo>
                        <a:lnTo>
                          <a:pt x="1978" y="394"/>
                        </a:lnTo>
                        <a:lnTo>
                          <a:pt x="1967" y="421"/>
                        </a:lnTo>
                        <a:lnTo>
                          <a:pt x="1918" y="412"/>
                        </a:lnTo>
                        <a:lnTo>
                          <a:pt x="1823" y="422"/>
                        </a:lnTo>
                        <a:lnTo>
                          <a:pt x="1776" y="446"/>
                        </a:lnTo>
                        <a:lnTo>
                          <a:pt x="1720" y="499"/>
                        </a:lnTo>
                        <a:lnTo>
                          <a:pt x="1617" y="529"/>
                        </a:lnTo>
                        <a:lnTo>
                          <a:pt x="1546" y="571"/>
                        </a:lnTo>
                        <a:lnTo>
                          <a:pt x="1482" y="555"/>
                        </a:lnTo>
                        <a:lnTo>
                          <a:pt x="1447" y="549"/>
                        </a:lnTo>
                        <a:lnTo>
                          <a:pt x="1403" y="600"/>
                        </a:lnTo>
                        <a:lnTo>
                          <a:pt x="1418" y="630"/>
                        </a:lnTo>
                        <a:lnTo>
                          <a:pt x="1425" y="657"/>
                        </a:lnTo>
                        <a:lnTo>
                          <a:pt x="1375" y="684"/>
                        </a:lnTo>
                        <a:lnTo>
                          <a:pt x="1320" y="727"/>
                        </a:lnTo>
                        <a:lnTo>
                          <a:pt x="1239" y="755"/>
                        </a:lnTo>
                        <a:lnTo>
                          <a:pt x="1140" y="759"/>
                        </a:lnTo>
                        <a:lnTo>
                          <a:pt x="1029" y="786"/>
                        </a:lnTo>
                        <a:lnTo>
                          <a:pt x="945" y="830"/>
                        </a:lnTo>
                        <a:lnTo>
                          <a:pt x="920" y="804"/>
                        </a:lnTo>
                        <a:lnTo>
                          <a:pt x="841" y="805"/>
                        </a:lnTo>
                        <a:lnTo>
                          <a:pt x="755" y="755"/>
                        </a:lnTo>
                        <a:lnTo>
                          <a:pt x="694" y="744"/>
                        </a:lnTo>
                        <a:lnTo>
                          <a:pt x="604" y="755"/>
                        </a:lnTo>
                        <a:lnTo>
                          <a:pt x="474" y="736"/>
                        </a:lnTo>
                        <a:lnTo>
                          <a:pt x="401" y="739"/>
                        </a:lnTo>
                        <a:lnTo>
                          <a:pt x="375" y="691"/>
                        </a:lnTo>
                        <a:lnTo>
                          <a:pt x="364" y="617"/>
                        </a:lnTo>
                        <a:lnTo>
                          <a:pt x="326" y="609"/>
                        </a:lnTo>
                        <a:lnTo>
                          <a:pt x="262" y="559"/>
                        </a:lnTo>
                        <a:lnTo>
                          <a:pt x="179" y="547"/>
                        </a:lnTo>
                        <a:lnTo>
                          <a:pt x="106" y="534"/>
                        </a:lnTo>
                        <a:lnTo>
                          <a:pt x="92" y="499"/>
                        </a:lnTo>
                        <a:lnTo>
                          <a:pt x="145" y="406"/>
                        </a:lnTo>
                        <a:lnTo>
                          <a:pt x="120" y="342"/>
                        </a:lnTo>
                        <a:lnTo>
                          <a:pt x="39" y="312"/>
                        </a:lnTo>
                        <a:lnTo>
                          <a:pt x="0" y="270"/>
                        </a:lnTo>
                        <a:lnTo>
                          <a:pt x="1" y="215"/>
                        </a:lnTo>
                        <a:lnTo>
                          <a:pt x="72" y="201"/>
                        </a:lnTo>
                        <a:lnTo>
                          <a:pt x="214" y="134"/>
                        </a:lnTo>
                        <a:lnTo>
                          <a:pt x="320" y="96"/>
                        </a:lnTo>
                        <a:lnTo>
                          <a:pt x="366" y="121"/>
                        </a:lnTo>
                        <a:lnTo>
                          <a:pt x="431" y="122"/>
                        </a:lnTo>
                        <a:lnTo>
                          <a:pt x="461" y="159"/>
                        </a:lnTo>
                        <a:lnTo>
                          <a:pt x="522" y="161"/>
                        </a:lnTo>
                        <a:lnTo>
                          <a:pt x="606" y="181"/>
                        </a:lnTo>
                        <a:lnTo>
                          <a:pt x="684" y="126"/>
                        </a:lnTo>
                        <a:lnTo>
                          <a:pt x="671" y="80"/>
                        </a:lnTo>
                        <a:lnTo>
                          <a:pt x="760" y="0"/>
                        </a:lnTo>
                        <a:lnTo>
                          <a:pt x="820" y="31"/>
                        </a:lnTo>
                        <a:lnTo>
                          <a:pt x="872" y="41"/>
                        </a:lnTo>
                        <a:lnTo>
                          <a:pt x="940" y="61"/>
                        </a:lnTo>
                        <a:lnTo>
                          <a:pt x="935" y="120"/>
                        </a:lnTo>
                        <a:lnTo>
                          <a:pt x="1015" y="152"/>
                        </a:lnTo>
                        <a:lnTo>
                          <a:pt x="1077" y="139"/>
                        </a:lnTo>
                        <a:lnTo>
                          <a:pt x="1159" y="127"/>
                        </a:lnTo>
                        <a:lnTo>
                          <a:pt x="1219" y="139"/>
                        </a:lnTo>
                        <a:lnTo>
                          <a:pt x="1270" y="176"/>
                        </a:lnTo>
                        <a:lnTo>
                          <a:pt x="1299" y="216"/>
                        </a:lnTo>
                        <a:lnTo>
                          <a:pt x="1357" y="215"/>
                        </a:lnTo>
                        <a:lnTo>
                          <a:pt x="1434" y="229"/>
                        </a:lnTo>
                        <a:lnTo>
                          <a:pt x="1495" y="209"/>
                        </a:lnTo>
                        <a:lnTo>
                          <a:pt x="1580" y="196"/>
                        </a:lnTo>
                        <a:lnTo>
                          <a:pt x="1682" y="140"/>
                        </a:lnTo>
                        <a:lnTo>
                          <a:pt x="1719" y="149"/>
                        </a:lnTo>
                        <a:lnTo>
                          <a:pt x="1746" y="175"/>
                        </a:lnTo>
                        <a:lnTo>
                          <a:pt x="1821" y="16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6" name="Mozambique" descr="{&quot;Key&quot;:&quot;mozambique&quot;,&quot;Name&quot;:&quot;Mozambique&quot;,&quot;Value&quot;:1.0,&quot;Formula&quot;:&quot;&quot;,&quot;Text&quot;:&quot;&quot;,&quot;OfficeApplication&quot;:1,&quot;HasValue&quot;:true}">
                    <a:extLst>
                      <a:ext uri="{FF2B5EF4-FFF2-40B4-BE49-F238E27FC236}">
                        <a16:creationId xmlns:a16="http://schemas.microsoft.com/office/drawing/2014/main" id="{336765ED-BA9B-9276-B7D2-5F23B246E95E}"/>
                      </a:ext>
                    </a:extLst>
                  </p:cNvPr>
                  <p:cNvSpPr>
                    <a:spLocks/>
                  </p:cNvSpPr>
                  <p:nvPr/>
                </p:nvSpPr>
                <p:spPr bwMode="auto">
                  <a:xfrm>
                    <a:off x="1442" y="3019"/>
                    <a:ext cx="209" cy="372"/>
                  </a:xfrm>
                  <a:custGeom>
                    <a:avLst/>
                    <a:gdLst>
                      <a:gd name="T0" fmla="*/ 300 w 752"/>
                      <a:gd name="T1" fmla="*/ 1297 h 1335"/>
                      <a:gd name="T2" fmla="*/ 267 w 752"/>
                      <a:gd name="T3" fmla="*/ 1232 h 1335"/>
                      <a:gd name="T4" fmla="*/ 230 w 752"/>
                      <a:gd name="T5" fmla="*/ 1083 h 1335"/>
                      <a:gd name="T6" fmla="*/ 231 w 752"/>
                      <a:gd name="T7" fmla="*/ 877 h 1335"/>
                      <a:gd name="T8" fmla="*/ 249 w 752"/>
                      <a:gd name="T9" fmla="*/ 811 h 1335"/>
                      <a:gd name="T10" fmla="*/ 234 w 752"/>
                      <a:gd name="T11" fmla="*/ 738 h 1335"/>
                      <a:gd name="T12" fmla="*/ 230 w 752"/>
                      <a:gd name="T13" fmla="*/ 622 h 1335"/>
                      <a:gd name="T14" fmla="*/ 172 w 752"/>
                      <a:gd name="T15" fmla="*/ 493 h 1335"/>
                      <a:gd name="T16" fmla="*/ 118 w 752"/>
                      <a:gd name="T17" fmla="*/ 467 h 1335"/>
                      <a:gd name="T18" fmla="*/ 25 w 752"/>
                      <a:gd name="T19" fmla="*/ 451 h 1335"/>
                      <a:gd name="T20" fmla="*/ 0 w 752"/>
                      <a:gd name="T21" fmla="*/ 363 h 1335"/>
                      <a:gd name="T22" fmla="*/ 253 w 752"/>
                      <a:gd name="T23" fmla="*/ 335 h 1335"/>
                      <a:gd name="T24" fmla="*/ 302 w 752"/>
                      <a:gd name="T25" fmla="*/ 348 h 1335"/>
                      <a:gd name="T26" fmla="*/ 301 w 752"/>
                      <a:gd name="T27" fmla="*/ 418 h 1335"/>
                      <a:gd name="T28" fmla="*/ 370 w 752"/>
                      <a:gd name="T29" fmla="*/ 526 h 1335"/>
                      <a:gd name="T30" fmla="*/ 411 w 752"/>
                      <a:gd name="T31" fmla="*/ 452 h 1335"/>
                      <a:gd name="T32" fmla="*/ 352 w 752"/>
                      <a:gd name="T33" fmla="*/ 290 h 1335"/>
                      <a:gd name="T34" fmla="*/ 320 w 752"/>
                      <a:gd name="T35" fmla="*/ 263 h 1335"/>
                      <a:gd name="T36" fmla="*/ 307 w 752"/>
                      <a:gd name="T37" fmla="*/ 93 h 1335"/>
                      <a:gd name="T38" fmla="*/ 422 w 752"/>
                      <a:gd name="T39" fmla="*/ 113 h 1335"/>
                      <a:gd name="T40" fmla="*/ 488 w 752"/>
                      <a:gd name="T41" fmla="*/ 101 h 1335"/>
                      <a:gd name="T42" fmla="*/ 555 w 752"/>
                      <a:gd name="T43" fmla="*/ 78 h 1335"/>
                      <a:gd name="T44" fmla="*/ 682 w 752"/>
                      <a:gd name="T45" fmla="*/ 0 h 1335"/>
                      <a:gd name="T46" fmla="*/ 702 w 752"/>
                      <a:gd name="T47" fmla="*/ 117 h 1335"/>
                      <a:gd name="T48" fmla="*/ 735 w 752"/>
                      <a:gd name="T49" fmla="*/ 315 h 1335"/>
                      <a:gd name="T50" fmla="*/ 738 w 752"/>
                      <a:gd name="T51" fmla="*/ 413 h 1335"/>
                      <a:gd name="T52" fmla="*/ 681 w 752"/>
                      <a:gd name="T53" fmla="*/ 520 h 1335"/>
                      <a:gd name="T54" fmla="*/ 547 w 752"/>
                      <a:gd name="T55" fmla="*/ 590 h 1335"/>
                      <a:gd name="T56" fmla="*/ 457 w 752"/>
                      <a:gd name="T57" fmla="*/ 692 h 1335"/>
                      <a:gd name="T58" fmla="*/ 391 w 752"/>
                      <a:gd name="T59" fmla="*/ 768 h 1335"/>
                      <a:gd name="T60" fmla="*/ 440 w 752"/>
                      <a:gd name="T61" fmla="*/ 888 h 1335"/>
                      <a:gd name="T62" fmla="*/ 467 w 752"/>
                      <a:gd name="T63" fmla="*/ 960 h 1335"/>
                      <a:gd name="T64" fmla="*/ 491 w 752"/>
                      <a:gd name="T65" fmla="*/ 1036 h 1335"/>
                      <a:gd name="T66" fmla="*/ 506 w 752"/>
                      <a:gd name="T67" fmla="*/ 1087 h 1335"/>
                      <a:gd name="T68" fmla="*/ 480 w 752"/>
                      <a:gd name="T69" fmla="*/ 1150 h 1335"/>
                      <a:gd name="T70" fmla="*/ 353 w 752"/>
                      <a:gd name="T71" fmla="*/ 1222 h 1335"/>
                      <a:gd name="T72" fmla="*/ 343 w 752"/>
                      <a:gd name="T73" fmla="*/ 1286 h 1335"/>
                      <a:gd name="T74" fmla="*/ 367 w 752"/>
                      <a:gd name="T75" fmla="*/ 1335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2" h="1335">
                        <a:moveTo>
                          <a:pt x="315" y="1333"/>
                        </a:moveTo>
                        <a:lnTo>
                          <a:pt x="300" y="1297"/>
                        </a:lnTo>
                        <a:lnTo>
                          <a:pt x="281" y="1261"/>
                        </a:lnTo>
                        <a:lnTo>
                          <a:pt x="267" y="1232"/>
                        </a:lnTo>
                        <a:lnTo>
                          <a:pt x="260" y="1141"/>
                        </a:lnTo>
                        <a:lnTo>
                          <a:pt x="230" y="1083"/>
                        </a:lnTo>
                        <a:lnTo>
                          <a:pt x="173" y="970"/>
                        </a:lnTo>
                        <a:lnTo>
                          <a:pt x="231" y="877"/>
                        </a:lnTo>
                        <a:lnTo>
                          <a:pt x="240" y="818"/>
                        </a:lnTo>
                        <a:lnTo>
                          <a:pt x="249" y="811"/>
                        </a:lnTo>
                        <a:lnTo>
                          <a:pt x="249" y="763"/>
                        </a:lnTo>
                        <a:lnTo>
                          <a:pt x="234" y="738"/>
                        </a:lnTo>
                        <a:lnTo>
                          <a:pt x="226" y="678"/>
                        </a:lnTo>
                        <a:lnTo>
                          <a:pt x="230" y="622"/>
                        </a:lnTo>
                        <a:lnTo>
                          <a:pt x="214" y="520"/>
                        </a:lnTo>
                        <a:lnTo>
                          <a:pt x="172" y="493"/>
                        </a:lnTo>
                        <a:lnTo>
                          <a:pt x="137" y="487"/>
                        </a:lnTo>
                        <a:lnTo>
                          <a:pt x="118" y="467"/>
                        </a:lnTo>
                        <a:lnTo>
                          <a:pt x="83" y="450"/>
                        </a:lnTo>
                        <a:lnTo>
                          <a:pt x="25" y="451"/>
                        </a:lnTo>
                        <a:lnTo>
                          <a:pt x="16" y="421"/>
                        </a:lnTo>
                        <a:lnTo>
                          <a:pt x="0" y="363"/>
                        </a:lnTo>
                        <a:lnTo>
                          <a:pt x="207" y="296"/>
                        </a:lnTo>
                        <a:lnTo>
                          <a:pt x="253" y="335"/>
                        </a:lnTo>
                        <a:lnTo>
                          <a:pt x="272" y="327"/>
                        </a:lnTo>
                        <a:lnTo>
                          <a:pt x="302" y="348"/>
                        </a:lnTo>
                        <a:lnTo>
                          <a:pt x="311" y="381"/>
                        </a:lnTo>
                        <a:lnTo>
                          <a:pt x="301" y="418"/>
                        </a:lnTo>
                        <a:lnTo>
                          <a:pt x="315" y="476"/>
                        </a:lnTo>
                        <a:lnTo>
                          <a:pt x="370" y="526"/>
                        </a:lnTo>
                        <a:lnTo>
                          <a:pt x="382" y="470"/>
                        </a:lnTo>
                        <a:lnTo>
                          <a:pt x="411" y="452"/>
                        </a:lnTo>
                        <a:lnTo>
                          <a:pt x="390" y="348"/>
                        </a:lnTo>
                        <a:lnTo>
                          <a:pt x="352" y="290"/>
                        </a:lnTo>
                        <a:lnTo>
                          <a:pt x="323" y="263"/>
                        </a:lnTo>
                        <a:lnTo>
                          <a:pt x="320" y="263"/>
                        </a:lnTo>
                        <a:lnTo>
                          <a:pt x="297" y="170"/>
                        </a:lnTo>
                        <a:lnTo>
                          <a:pt x="307" y="93"/>
                        </a:lnTo>
                        <a:lnTo>
                          <a:pt x="333" y="91"/>
                        </a:lnTo>
                        <a:lnTo>
                          <a:pt x="422" y="113"/>
                        </a:lnTo>
                        <a:lnTo>
                          <a:pt x="440" y="103"/>
                        </a:lnTo>
                        <a:lnTo>
                          <a:pt x="488" y="101"/>
                        </a:lnTo>
                        <a:lnTo>
                          <a:pt x="512" y="76"/>
                        </a:lnTo>
                        <a:lnTo>
                          <a:pt x="555" y="78"/>
                        </a:lnTo>
                        <a:lnTo>
                          <a:pt x="630" y="46"/>
                        </a:lnTo>
                        <a:lnTo>
                          <a:pt x="682" y="0"/>
                        </a:lnTo>
                        <a:lnTo>
                          <a:pt x="697" y="36"/>
                        </a:lnTo>
                        <a:lnTo>
                          <a:pt x="702" y="117"/>
                        </a:lnTo>
                        <a:lnTo>
                          <a:pt x="718" y="188"/>
                        </a:lnTo>
                        <a:lnTo>
                          <a:pt x="735" y="315"/>
                        </a:lnTo>
                        <a:lnTo>
                          <a:pt x="752" y="355"/>
                        </a:lnTo>
                        <a:lnTo>
                          <a:pt x="738" y="413"/>
                        </a:lnTo>
                        <a:lnTo>
                          <a:pt x="720" y="470"/>
                        </a:lnTo>
                        <a:lnTo>
                          <a:pt x="681" y="520"/>
                        </a:lnTo>
                        <a:lnTo>
                          <a:pt x="621" y="551"/>
                        </a:lnTo>
                        <a:lnTo>
                          <a:pt x="547" y="590"/>
                        </a:lnTo>
                        <a:lnTo>
                          <a:pt x="482" y="677"/>
                        </a:lnTo>
                        <a:lnTo>
                          <a:pt x="457" y="692"/>
                        </a:lnTo>
                        <a:lnTo>
                          <a:pt x="417" y="750"/>
                        </a:lnTo>
                        <a:lnTo>
                          <a:pt x="391" y="768"/>
                        </a:lnTo>
                        <a:lnTo>
                          <a:pt x="396" y="827"/>
                        </a:lnTo>
                        <a:lnTo>
                          <a:pt x="440" y="888"/>
                        </a:lnTo>
                        <a:lnTo>
                          <a:pt x="462" y="936"/>
                        </a:lnTo>
                        <a:lnTo>
                          <a:pt x="467" y="960"/>
                        </a:lnTo>
                        <a:lnTo>
                          <a:pt x="478" y="956"/>
                        </a:lnTo>
                        <a:lnTo>
                          <a:pt x="491" y="1036"/>
                        </a:lnTo>
                        <a:lnTo>
                          <a:pt x="487" y="1073"/>
                        </a:lnTo>
                        <a:lnTo>
                          <a:pt x="506" y="1087"/>
                        </a:lnTo>
                        <a:lnTo>
                          <a:pt x="502" y="1121"/>
                        </a:lnTo>
                        <a:lnTo>
                          <a:pt x="480" y="1150"/>
                        </a:lnTo>
                        <a:lnTo>
                          <a:pt x="427" y="1177"/>
                        </a:lnTo>
                        <a:lnTo>
                          <a:pt x="353" y="1222"/>
                        </a:lnTo>
                        <a:lnTo>
                          <a:pt x="330" y="1252"/>
                        </a:lnTo>
                        <a:lnTo>
                          <a:pt x="343" y="1286"/>
                        </a:lnTo>
                        <a:lnTo>
                          <a:pt x="363" y="1291"/>
                        </a:lnTo>
                        <a:lnTo>
                          <a:pt x="367" y="1335"/>
                        </a:lnTo>
                        <a:lnTo>
                          <a:pt x="315" y="133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7" name="Mauritania" descr="{&quot;Key&quot;:&quot;mauritania&quot;,&quot;Name&quot;:&quot;Mauritania&quot;,&quot;Value&quot;:1.0,&quot;Formula&quot;:&quot;&quot;,&quot;Text&quot;:&quot;&quot;,&quot;OfficeApplication&quot;:1,&quot;HasValue&quot;:true}">
                    <a:extLst>
                      <a:ext uri="{FF2B5EF4-FFF2-40B4-BE49-F238E27FC236}">
                        <a16:creationId xmlns:a16="http://schemas.microsoft.com/office/drawing/2014/main" id="{74C3712D-A808-B622-B190-B50C3B7BE59A}"/>
                      </a:ext>
                    </a:extLst>
                  </p:cNvPr>
                  <p:cNvSpPr>
                    <a:spLocks/>
                  </p:cNvSpPr>
                  <p:nvPr/>
                </p:nvSpPr>
                <p:spPr bwMode="auto">
                  <a:xfrm>
                    <a:off x="524" y="2164"/>
                    <a:ext cx="275" cy="289"/>
                  </a:xfrm>
                  <a:custGeom>
                    <a:avLst/>
                    <a:gdLst>
                      <a:gd name="T0" fmla="*/ 989 w 989"/>
                      <a:gd name="T1" fmla="*/ 198 h 1039"/>
                      <a:gd name="T2" fmla="*/ 882 w 989"/>
                      <a:gd name="T3" fmla="*/ 199 h 1039"/>
                      <a:gd name="T4" fmla="*/ 825 w 989"/>
                      <a:gd name="T5" fmla="*/ 549 h 1039"/>
                      <a:gd name="T6" fmla="*/ 782 w 989"/>
                      <a:gd name="T7" fmla="*/ 900 h 1039"/>
                      <a:gd name="T8" fmla="*/ 792 w 989"/>
                      <a:gd name="T9" fmla="*/ 910 h 1039"/>
                      <a:gd name="T10" fmla="*/ 765 w 989"/>
                      <a:gd name="T11" fmla="*/ 968 h 1039"/>
                      <a:gd name="T12" fmla="*/ 479 w 989"/>
                      <a:gd name="T13" fmla="*/ 969 h 1039"/>
                      <a:gd name="T14" fmla="*/ 465 w 989"/>
                      <a:gd name="T15" fmla="*/ 987 h 1039"/>
                      <a:gd name="T16" fmla="*/ 439 w 989"/>
                      <a:gd name="T17" fmla="*/ 982 h 1039"/>
                      <a:gd name="T18" fmla="*/ 395 w 989"/>
                      <a:gd name="T19" fmla="*/ 998 h 1039"/>
                      <a:gd name="T20" fmla="*/ 350 w 989"/>
                      <a:gd name="T21" fmla="*/ 975 h 1039"/>
                      <a:gd name="T22" fmla="*/ 328 w 989"/>
                      <a:gd name="T23" fmla="*/ 977 h 1039"/>
                      <a:gd name="T24" fmla="*/ 307 w 989"/>
                      <a:gd name="T25" fmla="*/ 1024 h 1039"/>
                      <a:gd name="T26" fmla="*/ 279 w 989"/>
                      <a:gd name="T27" fmla="*/ 1039 h 1039"/>
                      <a:gd name="T28" fmla="*/ 244 w 989"/>
                      <a:gd name="T29" fmla="*/ 983 h 1039"/>
                      <a:gd name="T30" fmla="*/ 213 w 989"/>
                      <a:gd name="T31" fmla="*/ 924 h 1039"/>
                      <a:gd name="T32" fmla="*/ 170 w 989"/>
                      <a:gd name="T33" fmla="*/ 902 h 1039"/>
                      <a:gd name="T34" fmla="*/ 142 w 989"/>
                      <a:gd name="T35" fmla="*/ 878 h 1039"/>
                      <a:gd name="T36" fmla="*/ 102 w 989"/>
                      <a:gd name="T37" fmla="*/ 879 h 1039"/>
                      <a:gd name="T38" fmla="*/ 64 w 989"/>
                      <a:gd name="T39" fmla="*/ 897 h 1039"/>
                      <a:gd name="T40" fmla="*/ 30 w 989"/>
                      <a:gd name="T41" fmla="*/ 890 h 1039"/>
                      <a:gd name="T42" fmla="*/ 0 w 989"/>
                      <a:gd name="T43" fmla="*/ 915 h 1039"/>
                      <a:gd name="T44" fmla="*/ 3 w 989"/>
                      <a:gd name="T45" fmla="*/ 872 h 1039"/>
                      <a:gd name="T46" fmla="*/ 32 w 989"/>
                      <a:gd name="T47" fmla="*/ 832 h 1039"/>
                      <a:gd name="T48" fmla="*/ 59 w 989"/>
                      <a:gd name="T49" fmla="*/ 755 h 1039"/>
                      <a:gd name="T50" fmla="*/ 70 w 989"/>
                      <a:gd name="T51" fmla="*/ 675 h 1039"/>
                      <a:gd name="T52" fmla="*/ 72 w 989"/>
                      <a:gd name="T53" fmla="*/ 635 h 1039"/>
                      <a:gd name="T54" fmla="*/ 89 w 989"/>
                      <a:gd name="T55" fmla="*/ 594 h 1039"/>
                      <a:gd name="T56" fmla="*/ 80 w 989"/>
                      <a:gd name="T57" fmla="*/ 555 h 1039"/>
                      <a:gd name="T58" fmla="*/ 52 w 989"/>
                      <a:gd name="T59" fmla="*/ 520 h 1039"/>
                      <a:gd name="T60" fmla="*/ 74 w 989"/>
                      <a:gd name="T61" fmla="*/ 493 h 1039"/>
                      <a:gd name="T62" fmla="*/ 349 w 989"/>
                      <a:gd name="T63" fmla="*/ 494 h 1039"/>
                      <a:gd name="T64" fmla="*/ 365 w 989"/>
                      <a:gd name="T65" fmla="*/ 377 h 1039"/>
                      <a:gd name="T66" fmla="*/ 394 w 989"/>
                      <a:gd name="T67" fmla="*/ 334 h 1039"/>
                      <a:gd name="T68" fmla="*/ 462 w 989"/>
                      <a:gd name="T69" fmla="*/ 328 h 1039"/>
                      <a:gd name="T70" fmla="*/ 522 w 989"/>
                      <a:gd name="T71" fmla="*/ 119 h 1039"/>
                      <a:gd name="T72" fmla="*/ 749 w 989"/>
                      <a:gd name="T73" fmla="*/ 124 h 1039"/>
                      <a:gd name="T74" fmla="*/ 792 w 989"/>
                      <a:gd name="T75" fmla="*/ 0 h 1039"/>
                      <a:gd name="T76" fmla="*/ 989 w 989"/>
                      <a:gd name="T77" fmla="*/ 198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9" h="1039">
                        <a:moveTo>
                          <a:pt x="989" y="198"/>
                        </a:moveTo>
                        <a:lnTo>
                          <a:pt x="882" y="199"/>
                        </a:lnTo>
                        <a:lnTo>
                          <a:pt x="825" y="549"/>
                        </a:lnTo>
                        <a:lnTo>
                          <a:pt x="782" y="900"/>
                        </a:lnTo>
                        <a:lnTo>
                          <a:pt x="792" y="910"/>
                        </a:lnTo>
                        <a:lnTo>
                          <a:pt x="765" y="968"/>
                        </a:lnTo>
                        <a:lnTo>
                          <a:pt x="479" y="969"/>
                        </a:lnTo>
                        <a:lnTo>
                          <a:pt x="465" y="987"/>
                        </a:lnTo>
                        <a:lnTo>
                          <a:pt x="439" y="982"/>
                        </a:lnTo>
                        <a:lnTo>
                          <a:pt x="395" y="998"/>
                        </a:lnTo>
                        <a:lnTo>
                          <a:pt x="350" y="975"/>
                        </a:lnTo>
                        <a:lnTo>
                          <a:pt x="328" y="977"/>
                        </a:lnTo>
                        <a:lnTo>
                          <a:pt x="307" y="1024"/>
                        </a:lnTo>
                        <a:lnTo>
                          <a:pt x="279" y="1039"/>
                        </a:lnTo>
                        <a:lnTo>
                          <a:pt x="244" y="983"/>
                        </a:lnTo>
                        <a:lnTo>
                          <a:pt x="213" y="924"/>
                        </a:lnTo>
                        <a:lnTo>
                          <a:pt x="170" y="902"/>
                        </a:lnTo>
                        <a:lnTo>
                          <a:pt x="142" y="878"/>
                        </a:lnTo>
                        <a:lnTo>
                          <a:pt x="102" y="879"/>
                        </a:lnTo>
                        <a:lnTo>
                          <a:pt x="64" y="897"/>
                        </a:lnTo>
                        <a:lnTo>
                          <a:pt x="30" y="890"/>
                        </a:lnTo>
                        <a:lnTo>
                          <a:pt x="0" y="915"/>
                        </a:lnTo>
                        <a:lnTo>
                          <a:pt x="3" y="872"/>
                        </a:lnTo>
                        <a:lnTo>
                          <a:pt x="32" y="832"/>
                        </a:lnTo>
                        <a:lnTo>
                          <a:pt x="59" y="755"/>
                        </a:lnTo>
                        <a:lnTo>
                          <a:pt x="70" y="675"/>
                        </a:lnTo>
                        <a:lnTo>
                          <a:pt x="72" y="635"/>
                        </a:lnTo>
                        <a:lnTo>
                          <a:pt x="89" y="594"/>
                        </a:lnTo>
                        <a:lnTo>
                          <a:pt x="80" y="555"/>
                        </a:lnTo>
                        <a:lnTo>
                          <a:pt x="52" y="520"/>
                        </a:lnTo>
                        <a:lnTo>
                          <a:pt x="74" y="493"/>
                        </a:lnTo>
                        <a:lnTo>
                          <a:pt x="349" y="494"/>
                        </a:lnTo>
                        <a:lnTo>
                          <a:pt x="365" y="377"/>
                        </a:lnTo>
                        <a:lnTo>
                          <a:pt x="394" y="334"/>
                        </a:lnTo>
                        <a:lnTo>
                          <a:pt x="462" y="328"/>
                        </a:lnTo>
                        <a:lnTo>
                          <a:pt x="522" y="119"/>
                        </a:lnTo>
                        <a:lnTo>
                          <a:pt x="749" y="124"/>
                        </a:lnTo>
                        <a:lnTo>
                          <a:pt x="792" y="0"/>
                        </a:lnTo>
                        <a:lnTo>
                          <a:pt x="989" y="19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8" name="Malawi" descr="{&quot;Key&quot;:&quot;malawi&quot;,&quot;Name&quot;:&quot;Malawi&quot;,&quot;Value&quot;:1.0,&quot;Formula&quot;:&quot;&quot;,&quot;Text&quot;:&quot;&quot;,&quot;OfficeApplication&quot;:1,&quot;HasValue&quot;:true}">
                    <a:extLst>
                      <a:ext uri="{FF2B5EF4-FFF2-40B4-BE49-F238E27FC236}">
                        <a16:creationId xmlns:a16="http://schemas.microsoft.com/office/drawing/2014/main" id="{FF9CF9E7-F0FD-6B81-2968-85E9B90A0CD4}"/>
                      </a:ext>
                    </a:extLst>
                  </p:cNvPr>
                  <p:cNvSpPr>
                    <a:spLocks/>
                  </p:cNvSpPr>
                  <p:nvPr/>
                </p:nvSpPr>
                <p:spPr bwMode="auto">
                  <a:xfrm>
                    <a:off x="1480" y="2994"/>
                    <a:ext cx="76" cy="172"/>
                  </a:xfrm>
                  <a:custGeom>
                    <a:avLst/>
                    <a:gdLst>
                      <a:gd name="T0" fmla="*/ 184 w 275"/>
                      <a:gd name="T1" fmla="*/ 352 h 615"/>
                      <a:gd name="T2" fmla="*/ 188 w 275"/>
                      <a:gd name="T3" fmla="*/ 352 h 615"/>
                      <a:gd name="T4" fmla="*/ 216 w 275"/>
                      <a:gd name="T5" fmla="*/ 379 h 615"/>
                      <a:gd name="T6" fmla="*/ 254 w 275"/>
                      <a:gd name="T7" fmla="*/ 437 h 615"/>
                      <a:gd name="T8" fmla="*/ 275 w 275"/>
                      <a:gd name="T9" fmla="*/ 541 h 615"/>
                      <a:gd name="T10" fmla="*/ 246 w 275"/>
                      <a:gd name="T11" fmla="*/ 559 h 615"/>
                      <a:gd name="T12" fmla="*/ 234 w 275"/>
                      <a:gd name="T13" fmla="*/ 615 h 615"/>
                      <a:gd name="T14" fmla="*/ 179 w 275"/>
                      <a:gd name="T15" fmla="*/ 565 h 615"/>
                      <a:gd name="T16" fmla="*/ 165 w 275"/>
                      <a:gd name="T17" fmla="*/ 507 h 615"/>
                      <a:gd name="T18" fmla="*/ 175 w 275"/>
                      <a:gd name="T19" fmla="*/ 470 h 615"/>
                      <a:gd name="T20" fmla="*/ 166 w 275"/>
                      <a:gd name="T21" fmla="*/ 437 h 615"/>
                      <a:gd name="T22" fmla="*/ 136 w 275"/>
                      <a:gd name="T23" fmla="*/ 416 h 615"/>
                      <a:gd name="T24" fmla="*/ 118 w 275"/>
                      <a:gd name="T25" fmla="*/ 423 h 615"/>
                      <a:gd name="T26" fmla="*/ 71 w 275"/>
                      <a:gd name="T27" fmla="*/ 385 h 615"/>
                      <a:gd name="T28" fmla="*/ 31 w 275"/>
                      <a:gd name="T29" fmla="*/ 363 h 615"/>
                      <a:gd name="T30" fmla="*/ 44 w 275"/>
                      <a:gd name="T31" fmla="*/ 288 h 615"/>
                      <a:gd name="T32" fmla="*/ 63 w 275"/>
                      <a:gd name="T33" fmla="*/ 260 h 615"/>
                      <a:gd name="T34" fmla="*/ 43 w 275"/>
                      <a:gd name="T35" fmla="*/ 192 h 615"/>
                      <a:gd name="T36" fmla="*/ 50 w 275"/>
                      <a:gd name="T37" fmla="*/ 127 h 615"/>
                      <a:gd name="T38" fmla="*/ 60 w 275"/>
                      <a:gd name="T39" fmla="*/ 105 h 615"/>
                      <a:gd name="T40" fmla="*/ 36 w 275"/>
                      <a:gd name="T41" fmla="*/ 36 h 615"/>
                      <a:gd name="T42" fmla="*/ 0 w 275"/>
                      <a:gd name="T43" fmla="*/ 0 h 615"/>
                      <a:gd name="T44" fmla="*/ 71 w 275"/>
                      <a:gd name="T45" fmla="*/ 15 h 615"/>
                      <a:gd name="T46" fmla="*/ 86 w 275"/>
                      <a:gd name="T47" fmla="*/ 37 h 615"/>
                      <a:gd name="T48" fmla="*/ 85 w 275"/>
                      <a:gd name="T49" fmla="*/ 46 h 615"/>
                      <a:gd name="T50" fmla="*/ 115 w 275"/>
                      <a:gd name="T51" fmla="*/ 99 h 615"/>
                      <a:gd name="T52" fmla="*/ 129 w 275"/>
                      <a:gd name="T53" fmla="*/ 196 h 615"/>
                      <a:gd name="T54" fmla="*/ 113 w 275"/>
                      <a:gd name="T55" fmla="*/ 242 h 615"/>
                      <a:gd name="T56" fmla="*/ 140 w 275"/>
                      <a:gd name="T57" fmla="*/ 301 h 615"/>
                      <a:gd name="T58" fmla="*/ 144 w 275"/>
                      <a:gd name="T59" fmla="*/ 337 h 615"/>
                      <a:gd name="T60" fmla="*/ 164 w 275"/>
                      <a:gd name="T61" fmla="*/ 361 h 615"/>
                      <a:gd name="T62" fmla="*/ 166 w 275"/>
                      <a:gd name="T63" fmla="*/ 391 h 615"/>
                      <a:gd name="T64" fmla="*/ 180 w 275"/>
                      <a:gd name="T65" fmla="*/ 409 h 615"/>
                      <a:gd name="T66" fmla="*/ 190 w 275"/>
                      <a:gd name="T67" fmla="*/ 389 h 615"/>
                      <a:gd name="T68" fmla="*/ 220 w 275"/>
                      <a:gd name="T69" fmla="*/ 420 h 615"/>
                      <a:gd name="T70" fmla="*/ 220 w 275"/>
                      <a:gd name="T71" fmla="*/ 410 h 615"/>
                      <a:gd name="T72" fmla="*/ 200 w 275"/>
                      <a:gd name="T73" fmla="*/ 366 h 615"/>
                      <a:gd name="T74" fmla="*/ 186 w 275"/>
                      <a:gd name="T75" fmla="*/ 364 h 615"/>
                      <a:gd name="T76" fmla="*/ 184 w 275"/>
                      <a:gd name="T77" fmla="*/ 35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5" h="615">
                        <a:moveTo>
                          <a:pt x="184" y="352"/>
                        </a:moveTo>
                        <a:lnTo>
                          <a:pt x="188" y="352"/>
                        </a:lnTo>
                        <a:lnTo>
                          <a:pt x="216" y="379"/>
                        </a:lnTo>
                        <a:lnTo>
                          <a:pt x="254" y="437"/>
                        </a:lnTo>
                        <a:lnTo>
                          <a:pt x="275" y="541"/>
                        </a:lnTo>
                        <a:lnTo>
                          <a:pt x="246" y="559"/>
                        </a:lnTo>
                        <a:lnTo>
                          <a:pt x="234" y="615"/>
                        </a:lnTo>
                        <a:lnTo>
                          <a:pt x="179" y="565"/>
                        </a:lnTo>
                        <a:lnTo>
                          <a:pt x="165" y="507"/>
                        </a:lnTo>
                        <a:lnTo>
                          <a:pt x="175" y="470"/>
                        </a:lnTo>
                        <a:lnTo>
                          <a:pt x="166" y="437"/>
                        </a:lnTo>
                        <a:lnTo>
                          <a:pt x="136" y="416"/>
                        </a:lnTo>
                        <a:lnTo>
                          <a:pt x="118" y="423"/>
                        </a:lnTo>
                        <a:lnTo>
                          <a:pt x="71" y="385"/>
                        </a:lnTo>
                        <a:lnTo>
                          <a:pt x="31" y="363"/>
                        </a:lnTo>
                        <a:lnTo>
                          <a:pt x="44" y="288"/>
                        </a:lnTo>
                        <a:lnTo>
                          <a:pt x="63" y="260"/>
                        </a:lnTo>
                        <a:lnTo>
                          <a:pt x="43" y="192"/>
                        </a:lnTo>
                        <a:lnTo>
                          <a:pt x="50" y="127"/>
                        </a:lnTo>
                        <a:lnTo>
                          <a:pt x="60" y="105"/>
                        </a:lnTo>
                        <a:lnTo>
                          <a:pt x="36" y="36"/>
                        </a:lnTo>
                        <a:lnTo>
                          <a:pt x="0" y="0"/>
                        </a:lnTo>
                        <a:lnTo>
                          <a:pt x="71" y="15"/>
                        </a:lnTo>
                        <a:lnTo>
                          <a:pt x="86" y="37"/>
                        </a:lnTo>
                        <a:lnTo>
                          <a:pt x="85" y="46"/>
                        </a:lnTo>
                        <a:lnTo>
                          <a:pt x="115" y="99"/>
                        </a:lnTo>
                        <a:lnTo>
                          <a:pt x="129" y="196"/>
                        </a:lnTo>
                        <a:lnTo>
                          <a:pt x="113" y="242"/>
                        </a:lnTo>
                        <a:lnTo>
                          <a:pt x="140" y="301"/>
                        </a:lnTo>
                        <a:lnTo>
                          <a:pt x="144" y="337"/>
                        </a:lnTo>
                        <a:lnTo>
                          <a:pt x="164" y="361"/>
                        </a:lnTo>
                        <a:lnTo>
                          <a:pt x="166" y="391"/>
                        </a:lnTo>
                        <a:lnTo>
                          <a:pt x="180" y="409"/>
                        </a:lnTo>
                        <a:lnTo>
                          <a:pt x="190" y="389"/>
                        </a:lnTo>
                        <a:lnTo>
                          <a:pt x="220" y="420"/>
                        </a:lnTo>
                        <a:lnTo>
                          <a:pt x="220" y="410"/>
                        </a:lnTo>
                        <a:lnTo>
                          <a:pt x="200" y="366"/>
                        </a:lnTo>
                        <a:lnTo>
                          <a:pt x="186" y="364"/>
                        </a:lnTo>
                        <a:lnTo>
                          <a:pt x="184" y="35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89" name="Malaysia" descr="{&quot;Key&quot;:&quot;malaysia&quot;,&quot;Name&quot;:&quot;Malaysia&quot;,&quot;Value&quot;:1.0,&quot;Formula&quot;:&quot;&quot;,&quot;Text&quot;:&quot;&quot;,&quot;OfficeApplication&quot;:1,&quot;HasValue&quot;:true}">
                    <a:extLst>
                      <a:ext uri="{FF2B5EF4-FFF2-40B4-BE49-F238E27FC236}">
                        <a16:creationId xmlns:a16="http://schemas.microsoft.com/office/drawing/2014/main" id="{330E1838-605D-EF36-FAA2-BD12C96F0E4B}"/>
                      </a:ext>
                    </a:extLst>
                  </p:cNvPr>
                  <p:cNvSpPr>
                    <a:spLocks noEditPoints="1"/>
                  </p:cNvSpPr>
                  <p:nvPr/>
                </p:nvSpPr>
                <p:spPr bwMode="auto">
                  <a:xfrm>
                    <a:off x="2820" y="2628"/>
                    <a:ext cx="381" cy="139"/>
                  </a:xfrm>
                  <a:custGeom>
                    <a:avLst/>
                    <a:gdLst>
                      <a:gd name="T0" fmla="*/ 147 w 1367"/>
                      <a:gd name="T1" fmla="*/ 58 h 500"/>
                      <a:gd name="T2" fmla="*/ 163 w 1367"/>
                      <a:gd name="T3" fmla="*/ 65 h 500"/>
                      <a:gd name="T4" fmla="*/ 204 w 1367"/>
                      <a:gd name="T5" fmla="*/ 114 h 500"/>
                      <a:gd name="T6" fmla="*/ 233 w 1367"/>
                      <a:gd name="T7" fmla="*/ 169 h 500"/>
                      <a:gd name="T8" fmla="*/ 237 w 1367"/>
                      <a:gd name="T9" fmla="*/ 224 h 500"/>
                      <a:gd name="T10" fmla="*/ 228 w 1367"/>
                      <a:gd name="T11" fmla="*/ 260 h 500"/>
                      <a:gd name="T12" fmla="*/ 234 w 1367"/>
                      <a:gd name="T13" fmla="*/ 289 h 500"/>
                      <a:gd name="T14" fmla="*/ 239 w 1367"/>
                      <a:gd name="T15" fmla="*/ 336 h 500"/>
                      <a:gd name="T16" fmla="*/ 264 w 1367"/>
                      <a:gd name="T17" fmla="*/ 359 h 500"/>
                      <a:gd name="T18" fmla="*/ 292 w 1367"/>
                      <a:gd name="T19" fmla="*/ 431 h 500"/>
                      <a:gd name="T20" fmla="*/ 290 w 1367"/>
                      <a:gd name="T21" fmla="*/ 459 h 500"/>
                      <a:gd name="T22" fmla="*/ 239 w 1367"/>
                      <a:gd name="T23" fmla="*/ 464 h 500"/>
                      <a:gd name="T24" fmla="*/ 172 w 1367"/>
                      <a:gd name="T25" fmla="*/ 404 h 500"/>
                      <a:gd name="T26" fmla="*/ 88 w 1367"/>
                      <a:gd name="T27" fmla="*/ 339 h 500"/>
                      <a:gd name="T28" fmla="*/ 80 w 1367"/>
                      <a:gd name="T29" fmla="*/ 297 h 500"/>
                      <a:gd name="T30" fmla="*/ 39 w 1367"/>
                      <a:gd name="T31" fmla="*/ 244 h 500"/>
                      <a:gd name="T32" fmla="*/ 30 w 1367"/>
                      <a:gd name="T33" fmla="*/ 176 h 500"/>
                      <a:gd name="T34" fmla="*/ 5 w 1367"/>
                      <a:gd name="T35" fmla="*/ 131 h 500"/>
                      <a:gd name="T36" fmla="*/ 15 w 1367"/>
                      <a:gd name="T37" fmla="*/ 72 h 500"/>
                      <a:gd name="T38" fmla="*/ 0 w 1367"/>
                      <a:gd name="T39" fmla="*/ 37 h 500"/>
                      <a:gd name="T40" fmla="*/ 13 w 1367"/>
                      <a:gd name="T41" fmla="*/ 24 h 500"/>
                      <a:gd name="T42" fmla="*/ 70 w 1367"/>
                      <a:gd name="T43" fmla="*/ 59 h 500"/>
                      <a:gd name="T44" fmla="*/ 75 w 1367"/>
                      <a:gd name="T45" fmla="*/ 101 h 500"/>
                      <a:gd name="T46" fmla="*/ 123 w 1367"/>
                      <a:gd name="T47" fmla="*/ 91 h 500"/>
                      <a:gd name="T48" fmla="*/ 147 w 1367"/>
                      <a:gd name="T49" fmla="*/ 58 h 500"/>
                      <a:gd name="T50" fmla="*/ 1273 w 1367"/>
                      <a:gd name="T51" fmla="*/ 228 h 500"/>
                      <a:gd name="T52" fmla="*/ 1211 w 1367"/>
                      <a:gd name="T53" fmla="*/ 214 h 500"/>
                      <a:gd name="T54" fmla="*/ 1128 w 1367"/>
                      <a:gd name="T55" fmla="*/ 214 h 500"/>
                      <a:gd name="T56" fmla="*/ 1102 w 1367"/>
                      <a:gd name="T57" fmla="*/ 306 h 500"/>
                      <a:gd name="T58" fmla="*/ 1074 w 1367"/>
                      <a:gd name="T59" fmla="*/ 334 h 500"/>
                      <a:gd name="T60" fmla="*/ 1037 w 1367"/>
                      <a:gd name="T61" fmla="*/ 448 h 500"/>
                      <a:gd name="T62" fmla="*/ 978 w 1367"/>
                      <a:gd name="T63" fmla="*/ 464 h 500"/>
                      <a:gd name="T64" fmla="*/ 911 w 1367"/>
                      <a:gd name="T65" fmla="*/ 441 h 500"/>
                      <a:gd name="T66" fmla="*/ 876 w 1367"/>
                      <a:gd name="T67" fmla="*/ 449 h 500"/>
                      <a:gd name="T68" fmla="*/ 833 w 1367"/>
                      <a:gd name="T69" fmla="*/ 490 h 500"/>
                      <a:gd name="T70" fmla="*/ 788 w 1367"/>
                      <a:gd name="T71" fmla="*/ 484 h 500"/>
                      <a:gd name="T72" fmla="*/ 742 w 1367"/>
                      <a:gd name="T73" fmla="*/ 500 h 500"/>
                      <a:gd name="T74" fmla="*/ 693 w 1367"/>
                      <a:gd name="T75" fmla="*/ 455 h 500"/>
                      <a:gd name="T76" fmla="*/ 681 w 1367"/>
                      <a:gd name="T77" fmla="*/ 400 h 500"/>
                      <a:gd name="T78" fmla="*/ 733 w 1367"/>
                      <a:gd name="T79" fmla="*/ 428 h 500"/>
                      <a:gd name="T80" fmla="*/ 789 w 1367"/>
                      <a:gd name="T81" fmla="*/ 413 h 500"/>
                      <a:gd name="T82" fmla="*/ 804 w 1367"/>
                      <a:gd name="T83" fmla="*/ 344 h 500"/>
                      <a:gd name="T84" fmla="*/ 834 w 1367"/>
                      <a:gd name="T85" fmla="*/ 329 h 500"/>
                      <a:gd name="T86" fmla="*/ 921 w 1367"/>
                      <a:gd name="T87" fmla="*/ 311 h 500"/>
                      <a:gd name="T88" fmla="*/ 973 w 1367"/>
                      <a:gd name="T89" fmla="*/ 246 h 500"/>
                      <a:gd name="T90" fmla="*/ 1009 w 1367"/>
                      <a:gd name="T91" fmla="*/ 195 h 500"/>
                      <a:gd name="T92" fmla="*/ 1042 w 1367"/>
                      <a:gd name="T93" fmla="*/ 238 h 500"/>
                      <a:gd name="T94" fmla="*/ 1057 w 1367"/>
                      <a:gd name="T95" fmla="*/ 210 h 500"/>
                      <a:gd name="T96" fmla="*/ 1091 w 1367"/>
                      <a:gd name="T97" fmla="*/ 213 h 500"/>
                      <a:gd name="T98" fmla="*/ 1096 w 1367"/>
                      <a:gd name="T99" fmla="*/ 160 h 500"/>
                      <a:gd name="T100" fmla="*/ 1099 w 1367"/>
                      <a:gd name="T101" fmla="*/ 120 h 500"/>
                      <a:gd name="T102" fmla="*/ 1156 w 1367"/>
                      <a:gd name="T103" fmla="*/ 64 h 500"/>
                      <a:gd name="T104" fmla="*/ 1193 w 1367"/>
                      <a:gd name="T105" fmla="*/ 0 h 500"/>
                      <a:gd name="T106" fmla="*/ 1222 w 1367"/>
                      <a:gd name="T107" fmla="*/ 0 h 500"/>
                      <a:gd name="T108" fmla="*/ 1258 w 1367"/>
                      <a:gd name="T109" fmla="*/ 41 h 500"/>
                      <a:gd name="T110" fmla="*/ 1261 w 1367"/>
                      <a:gd name="T111" fmla="*/ 76 h 500"/>
                      <a:gd name="T112" fmla="*/ 1308 w 1367"/>
                      <a:gd name="T113" fmla="*/ 99 h 500"/>
                      <a:gd name="T114" fmla="*/ 1367 w 1367"/>
                      <a:gd name="T115" fmla="*/ 124 h 500"/>
                      <a:gd name="T116" fmla="*/ 1362 w 1367"/>
                      <a:gd name="T117" fmla="*/ 155 h 500"/>
                      <a:gd name="T118" fmla="*/ 1313 w 1367"/>
                      <a:gd name="T119" fmla="*/ 160 h 500"/>
                      <a:gd name="T120" fmla="*/ 1326 w 1367"/>
                      <a:gd name="T121" fmla="*/ 199 h 500"/>
                      <a:gd name="T122" fmla="*/ 1273 w 1367"/>
                      <a:gd name="T123" fmla="*/ 22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7" h="500">
                        <a:moveTo>
                          <a:pt x="147" y="58"/>
                        </a:moveTo>
                        <a:lnTo>
                          <a:pt x="163" y="65"/>
                        </a:lnTo>
                        <a:lnTo>
                          <a:pt x="204" y="114"/>
                        </a:lnTo>
                        <a:lnTo>
                          <a:pt x="233" y="169"/>
                        </a:lnTo>
                        <a:lnTo>
                          <a:pt x="237" y="224"/>
                        </a:lnTo>
                        <a:lnTo>
                          <a:pt x="228" y="260"/>
                        </a:lnTo>
                        <a:lnTo>
                          <a:pt x="234" y="289"/>
                        </a:lnTo>
                        <a:lnTo>
                          <a:pt x="239" y="336"/>
                        </a:lnTo>
                        <a:lnTo>
                          <a:pt x="264" y="359"/>
                        </a:lnTo>
                        <a:lnTo>
                          <a:pt x="292" y="431"/>
                        </a:lnTo>
                        <a:lnTo>
                          <a:pt x="290" y="459"/>
                        </a:lnTo>
                        <a:lnTo>
                          <a:pt x="239" y="464"/>
                        </a:lnTo>
                        <a:lnTo>
                          <a:pt x="172" y="404"/>
                        </a:lnTo>
                        <a:lnTo>
                          <a:pt x="88" y="339"/>
                        </a:lnTo>
                        <a:lnTo>
                          <a:pt x="80" y="297"/>
                        </a:lnTo>
                        <a:lnTo>
                          <a:pt x="39" y="244"/>
                        </a:lnTo>
                        <a:lnTo>
                          <a:pt x="30" y="176"/>
                        </a:lnTo>
                        <a:lnTo>
                          <a:pt x="5" y="131"/>
                        </a:lnTo>
                        <a:lnTo>
                          <a:pt x="15" y="72"/>
                        </a:lnTo>
                        <a:lnTo>
                          <a:pt x="0" y="37"/>
                        </a:lnTo>
                        <a:lnTo>
                          <a:pt x="13" y="24"/>
                        </a:lnTo>
                        <a:lnTo>
                          <a:pt x="70" y="59"/>
                        </a:lnTo>
                        <a:lnTo>
                          <a:pt x="75" y="101"/>
                        </a:lnTo>
                        <a:lnTo>
                          <a:pt x="123" y="91"/>
                        </a:lnTo>
                        <a:lnTo>
                          <a:pt x="147" y="58"/>
                        </a:lnTo>
                        <a:close/>
                        <a:moveTo>
                          <a:pt x="1273" y="228"/>
                        </a:moveTo>
                        <a:lnTo>
                          <a:pt x="1211" y="214"/>
                        </a:lnTo>
                        <a:lnTo>
                          <a:pt x="1128" y="214"/>
                        </a:lnTo>
                        <a:lnTo>
                          <a:pt x="1102" y="306"/>
                        </a:lnTo>
                        <a:lnTo>
                          <a:pt x="1074" y="334"/>
                        </a:lnTo>
                        <a:lnTo>
                          <a:pt x="1037" y="448"/>
                        </a:lnTo>
                        <a:lnTo>
                          <a:pt x="978" y="464"/>
                        </a:lnTo>
                        <a:lnTo>
                          <a:pt x="911" y="441"/>
                        </a:lnTo>
                        <a:lnTo>
                          <a:pt x="876" y="449"/>
                        </a:lnTo>
                        <a:lnTo>
                          <a:pt x="833" y="490"/>
                        </a:lnTo>
                        <a:lnTo>
                          <a:pt x="788" y="484"/>
                        </a:lnTo>
                        <a:lnTo>
                          <a:pt x="742" y="500"/>
                        </a:lnTo>
                        <a:lnTo>
                          <a:pt x="693" y="455"/>
                        </a:lnTo>
                        <a:lnTo>
                          <a:pt x="681" y="400"/>
                        </a:lnTo>
                        <a:lnTo>
                          <a:pt x="733" y="428"/>
                        </a:lnTo>
                        <a:lnTo>
                          <a:pt x="789" y="413"/>
                        </a:lnTo>
                        <a:lnTo>
                          <a:pt x="804" y="344"/>
                        </a:lnTo>
                        <a:lnTo>
                          <a:pt x="834" y="329"/>
                        </a:lnTo>
                        <a:lnTo>
                          <a:pt x="921" y="311"/>
                        </a:lnTo>
                        <a:lnTo>
                          <a:pt x="973" y="246"/>
                        </a:lnTo>
                        <a:lnTo>
                          <a:pt x="1009" y="195"/>
                        </a:lnTo>
                        <a:lnTo>
                          <a:pt x="1042" y="238"/>
                        </a:lnTo>
                        <a:lnTo>
                          <a:pt x="1057" y="210"/>
                        </a:lnTo>
                        <a:lnTo>
                          <a:pt x="1091" y="213"/>
                        </a:lnTo>
                        <a:lnTo>
                          <a:pt x="1096" y="160"/>
                        </a:lnTo>
                        <a:lnTo>
                          <a:pt x="1099" y="120"/>
                        </a:lnTo>
                        <a:lnTo>
                          <a:pt x="1156" y="64"/>
                        </a:lnTo>
                        <a:lnTo>
                          <a:pt x="1193" y="0"/>
                        </a:lnTo>
                        <a:lnTo>
                          <a:pt x="1222" y="0"/>
                        </a:lnTo>
                        <a:lnTo>
                          <a:pt x="1258" y="41"/>
                        </a:lnTo>
                        <a:lnTo>
                          <a:pt x="1261" y="76"/>
                        </a:lnTo>
                        <a:lnTo>
                          <a:pt x="1308" y="99"/>
                        </a:lnTo>
                        <a:lnTo>
                          <a:pt x="1367" y="124"/>
                        </a:lnTo>
                        <a:lnTo>
                          <a:pt x="1362" y="155"/>
                        </a:lnTo>
                        <a:lnTo>
                          <a:pt x="1313" y="160"/>
                        </a:lnTo>
                        <a:lnTo>
                          <a:pt x="1326" y="199"/>
                        </a:lnTo>
                        <a:lnTo>
                          <a:pt x="1273" y="22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0" name="Namibia" descr="{&quot;Key&quot;:&quot;namibia&quot;,&quot;Name&quot;:&quot;Namibia&quot;,&quot;Value&quot;:1.0,&quot;Formula&quot;:&quot;&quot;,&quot;Text&quot;:&quot;&quot;,&quot;OfficeApplication&quot;:1,&quot;HasValue&quot;:true}">
                    <a:extLst>
                      <a:ext uri="{FF2B5EF4-FFF2-40B4-BE49-F238E27FC236}">
                        <a16:creationId xmlns:a16="http://schemas.microsoft.com/office/drawing/2014/main" id="{AE627085-7073-5AF4-F9EA-6F0FF6BC6614}"/>
                      </a:ext>
                    </a:extLst>
                  </p:cNvPr>
                  <p:cNvSpPr>
                    <a:spLocks/>
                  </p:cNvSpPr>
                  <p:nvPr/>
                </p:nvSpPr>
                <p:spPr bwMode="auto">
                  <a:xfrm>
                    <a:off x="1086" y="3169"/>
                    <a:ext cx="265" cy="274"/>
                  </a:xfrm>
                  <a:custGeom>
                    <a:avLst/>
                    <a:gdLst>
                      <a:gd name="T0" fmla="*/ 817 w 951"/>
                      <a:gd name="T1" fmla="*/ 48 h 984"/>
                      <a:gd name="T2" fmla="*/ 871 w 951"/>
                      <a:gd name="T3" fmla="*/ 29 h 984"/>
                      <a:gd name="T4" fmla="*/ 919 w 951"/>
                      <a:gd name="T5" fmla="*/ 34 h 984"/>
                      <a:gd name="T6" fmla="*/ 950 w 951"/>
                      <a:gd name="T7" fmla="*/ 53 h 984"/>
                      <a:gd name="T8" fmla="*/ 951 w 951"/>
                      <a:gd name="T9" fmla="*/ 59 h 984"/>
                      <a:gd name="T10" fmla="*/ 915 w 951"/>
                      <a:gd name="T11" fmla="*/ 78 h 984"/>
                      <a:gd name="T12" fmla="*/ 894 w 951"/>
                      <a:gd name="T13" fmla="*/ 78 h 984"/>
                      <a:gd name="T14" fmla="*/ 854 w 951"/>
                      <a:gd name="T15" fmla="*/ 109 h 984"/>
                      <a:gd name="T16" fmla="*/ 820 w 951"/>
                      <a:gd name="T17" fmla="*/ 76 h 984"/>
                      <a:gd name="T18" fmla="*/ 716 w 951"/>
                      <a:gd name="T19" fmla="*/ 104 h 984"/>
                      <a:gd name="T20" fmla="*/ 665 w 951"/>
                      <a:gd name="T21" fmla="*/ 108 h 984"/>
                      <a:gd name="T22" fmla="*/ 717 w 951"/>
                      <a:gd name="T23" fmla="*/ 396 h 984"/>
                      <a:gd name="T24" fmla="*/ 649 w 951"/>
                      <a:gd name="T25" fmla="*/ 399 h 984"/>
                      <a:gd name="T26" fmla="*/ 701 w 951"/>
                      <a:gd name="T27" fmla="*/ 636 h 984"/>
                      <a:gd name="T28" fmla="*/ 785 w 951"/>
                      <a:gd name="T29" fmla="*/ 936 h 984"/>
                      <a:gd name="T30" fmla="*/ 737 w 951"/>
                      <a:gd name="T31" fmla="*/ 979 h 984"/>
                      <a:gd name="T32" fmla="*/ 701 w 951"/>
                      <a:gd name="T33" fmla="*/ 984 h 984"/>
                      <a:gd name="T34" fmla="*/ 654 w 951"/>
                      <a:gd name="T35" fmla="*/ 969 h 984"/>
                      <a:gd name="T36" fmla="*/ 620 w 951"/>
                      <a:gd name="T37" fmla="*/ 963 h 984"/>
                      <a:gd name="T38" fmla="*/ 597 w 951"/>
                      <a:gd name="T39" fmla="*/ 929 h 984"/>
                      <a:gd name="T40" fmla="*/ 562 w 951"/>
                      <a:gd name="T41" fmla="*/ 906 h 984"/>
                      <a:gd name="T42" fmla="*/ 542 w 951"/>
                      <a:gd name="T43" fmla="*/ 946 h 984"/>
                      <a:gd name="T44" fmla="*/ 471 w 951"/>
                      <a:gd name="T45" fmla="*/ 885 h 984"/>
                      <a:gd name="T46" fmla="*/ 426 w 951"/>
                      <a:gd name="T47" fmla="*/ 825 h 984"/>
                      <a:gd name="T48" fmla="*/ 387 w 951"/>
                      <a:gd name="T49" fmla="*/ 746 h 984"/>
                      <a:gd name="T50" fmla="*/ 354 w 951"/>
                      <a:gd name="T51" fmla="*/ 688 h 984"/>
                      <a:gd name="T52" fmla="*/ 300 w 951"/>
                      <a:gd name="T53" fmla="*/ 563 h 984"/>
                      <a:gd name="T54" fmla="*/ 276 w 951"/>
                      <a:gd name="T55" fmla="*/ 465 h 984"/>
                      <a:gd name="T56" fmla="*/ 257 w 951"/>
                      <a:gd name="T57" fmla="*/ 421 h 984"/>
                      <a:gd name="T58" fmla="*/ 222 w 951"/>
                      <a:gd name="T59" fmla="*/ 388 h 984"/>
                      <a:gd name="T60" fmla="*/ 172 w 951"/>
                      <a:gd name="T61" fmla="*/ 320 h 984"/>
                      <a:gd name="T62" fmla="*/ 116 w 951"/>
                      <a:gd name="T63" fmla="*/ 223 h 984"/>
                      <a:gd name="T64" fmla="*/ 90 w 951"/>
                      <a:gd name="T65" fmla="*/ 171 h 984"/>
                      <a:gd name="T66" fmla="*/ 17 w 951"/>
                      <a:gd name="T67" fmla="*/ 93 h 984"/>
                      <a:gd name="T68" fmla="*/ 0 w 951"/>
                      <a:gd name="T69" fmla="*/ 30 h 984"/>
                      <a:gd name="T70" fmla="*/ 31 w 951"/>
                      <a:gd name="T71" fmla="*/ 14 h 984"/>
                      <a:gd name="T72" fmla="*/ 71 w 951"/>
                      <a:gd name="T73" fmla="*/ 0 h 984"/>
                      <a:gd name="T74" fmla="*/ 117 w 951"/>
                      <a:gd name="T75" fmla="*/ 3 h 984"/>
                      <a:gd name="T76" fmla="*/ 167 w 951"/>
                      <a:gd name="T77" fmla="*/ 40 h 984"/>
                      <a:gd name="T78" fmla="*/ 176 w 951"/>
                      <a:gd name="T79" fmla="*/ 34 h 984"/>
                      <a:gd name="T80" fmla="*/ 462 w 951"/>
                      <a:gd name="T81" fmla="*/ 30 h 984"/>
                      <a:gd name="T82" fmla="*/ 518 w 951"/>
                      <a:gd name="T83" fmla="*/ 69 h 984"/>
                      <a:gd name="T84" fmla="*/ 692 w 951"/>
                      <a:gd name="T85" fmla="*/ 81 h 984"/>
                      <a:gd name="T86" fmla="*/ 817 w 951"/>
                      <a:gd name="T87" fmla="*/ 48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1" h="984">
                        <a:moveTo>
                          <a:pt x="817" y="48"/>
                        </a:moveTo>
                        <a:lnTo>
                          <a:pt x="871" y="29"/>
                        </a:lnTo>
                        <a:lnTo>
                          <a:pt x="919" y="34"/>
                        </a:lnTo>
                        <a:lnTo>
                          <a:pt x="950" y="53"/>
                        </a:lnTo>
                        <a:lnTo>
                          <a:pt x="951" y="59"/>
                        </a:lnTo>
                        <a:lnTo>
                          <a:pt x="915" y="78"/>
                        </a:lnTo>
                        <a:lnTo>
                          <a:pt x="894" y="78"/>
                        </a:lnTo>
                        <a:lnTo>
                          <a:pt x="854" y="109"/>
                        </a:lnTo>
                        <a:lnTo>
                          <a:pt x="820" y="76"/>
                        </a:lnTo>
                        <a:lnTo>
                          <a:pt x="716" y="104"/>
                        </a:lnTo>
                        <a:lnTo>
                          <a:pt x="665" y="108"/>
                        </a:lnTo>
                        <a:lnTo>
                          <a:pt x="717" y="396"/>
                        </a:lnTo>
                        <a:lnTo>
                          <a:pt x="649" y="399"/>
                        </a:lnTo>
                        <a:lnTo>
                          <a:pt x="701" y="636"/>
                        </a:lnTo>
                        <a:lnTo>
                          <a:pt x="785" y="936"/>
                        </a:lnTo>
                        <a:lnTo>
                          <a:pt x="737" y="979"/>
                        </a:lnTo>
                        <a:lnTo>
                          <a:pt x="701" y="984"/>
                        </a:lnTo>
                        <a:lnTo>
                          <a:pt x="654" y="969"/>
                        </a:lnTo>
                        <a:lnTo>
                          <a:pt x="620" y="963"/>
                        </a:lnTo>
                        <a:lnTo>
                          <a:pt x="597" y="929"/>
                        </a:lnTo>
                        <a:lnTo>
                          <a:pt x="562" y="906"/>
                        </a:lnTo>
                        <a:lnTo>
                          <a:pt x="542" y="946"/>
                        </a:lnTo>
                        <a:lnTo>
                          <a:pt x="471" y="885"/>
                        </a:lnTo>
                        <a:lnTo>
                          <a:pt x="426" y="825"/>
                        </a:lnTo>
                        <a:lnTo>
                          <a:pt x="387" y="746"/>
                        </a:lnTo>
                        <a:lnTo>
                          <a:pt x="354" y="688"/>
                        </a:lnTo>
                        <a:lnTo>
                          <a:pt x="300" y="563"/>
                        </a:lnTo>
                        <a:lnTo>
                          <a:pt x="276" y="465"/>
                        </a:lnTo>
                        <a:lnTo>
                          <a:pt x="257" y="421"/>
                        </a:lnTo>
                        <a:lnTo>
                          <a:pt x="222" y="388"/>
                        </a:lnTo>
                        <a:lnTo>
                          <a:pt x="172" y="320"/>
                        </a:lnTo>
                        <a:lnTo>
                          <a:pt x="116" y="223"/>
                        </a:lnTo>
                        <a:lnTo>
                          <a:pt x="90" y="171"/>
                        </a:lnTo>
                        <a:lnTo>
                          <a:pt x="17" y="93"/>
                        </a:lnTo>
                        <a:lnTo>
                          <a:pt x="0" y="30"/>
                        </a:lnTo>
                        <a:lnTo>
                          <a:pt x="31" y="14"/>
                        </a:lnTo>
                        <a:lnTo>
                          <a:pt x="71" y="0"/>
                        </a:lnTo>
                        <a:lnTo>
                          <a:pt x="117" y="3"/>
                        </a:lnTo>
                        <a:lnTo>
                          <a:pt x="167" y="40"/>
                        </a:lnTo>
                        <a:lnTo>
                          <a:pt x="176" y="34"/>
                        </a:lnTo>
                        <a:lnTo>
                          <a:pt x="462" y="30"/>
                        </a:lnTo>
                        <a:lnTo>
                          <a:pt x="518" y="69"/>
                        </a:lnTo>
                        <a:lnTo>
                          <a:pt x="692" y="81"/>
                        </a:lnTo>
                        <a:lnTo>
                          <a:pt x="817" y="4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1" name="Niger" descr="{&quot;Key&quot;:&quot;niger&quot;,&quot;Name&quot;:&quot;Niger&quot;,&quot;Value&quot;:1.0,&quot;Formula&quot;:&quot;&quot;,&quot;Text&quot;:&quot;&quot;,&quot;OfficeApplication&quot;:1,&quot;HasValue&quot;:true}">
                    <a:extLst>
                      <a:ext uri="{FF2B5EF4-FFF2-40B4-BE49-F238E27FC236}">
                        <a16:creationId xmlns:a16="http://schemas.microsoft.com/office/drawing/2014/main" id="{695C4A68-230A-B0ED-4BD6-D59D1CD3B852}"/>
                      </a:ext>
                    </a:extLst>
                  </p:cNvPr>
                  <p:cNvSpPr>
                    <a:spLocks/>
                  </p:cNvSpPr>
                  <p:nvPr/>
                </p:nvSpPr>
                <p:spPr bwMode="auto">
                  <a:xfrm>
                    <a:off x="848" y="2253"/>
                    <a:ext cx="334" cy="267"/>
                  </a:xfrm>
                  <a:custGeom>
                    <a:avLst/>
                    <a:gdLst>
                      <a:gd name="T0" fmla="*/ 1166 w 1199"/>
                      <a:gd name="T1" fmla="*/ 50 h 960"/>
                      <a:gd name="T2" fmla="*/ 1156 w 1199"/>
                      <a:gd name="T3" fmla="*/ 176 h 960"/>
                      <a:gd name="T4" fmla="*/ 1179 w 1199"/>
                      <a:gd name="T5" fmla="*/ 198 h 960"/>
                      <a:gd name="T6" fmla="*/ 1175 w 1199"/>
                      <a:gd name="T7" fmla="*/ 224 h 960"/>
                      <a:gd name="T8" fmla="*/ 1199 w 1199"/>
                      <a:gd name="T9" fmla="*/ 251 h 960"/>
                      <a:gd name="T10" fmla="*/ 1176 w 1199"/>
                      <a:gd name="T11" fmla="*/ 286 h 960"/>
                      <a:gd name="T12" fmla="*/ 1116 w 1199"/>
                      <a:gd name="T13" fmla="*/ 451 h 960"/>
                      <a:gd name="T14" fmla="*/ 1092 w 1199"/>
                      <a:gd name="T15" fmla="*/ 556 h 960"/>
                      <a:gd name="T16" fmla="*/ 989 w 1199"/>
                      <a:gd name="T17" fmla="*/ 634 h 960"/>
                      <a:gd name="T18" fmla="*/ 941 w 1199"/>
                      <a:gd name="T19" fmla="*/ 740 h 960"/>
                      <a:gd name="T20" fmla="*/ 966 w 1199"/>
                      <a:gd name="T21" fmla="*/ 770 h 960"/>
                      <a:gd name="T22" fmla="*/ 959 w 1199"/>
                      <a:gd name="T23" fmla="*/ 823 h 960"/>
                      <a:gd name="T24" fmla="*/ 1004 w 1199"/>
                      <a:gd name="T25" fmla="*/ 825 h 960"/>
                      <a:gd name="T26" fmla="*/ 991 w 1199"/>
                      <a:gd name="T27" fmla="*/ 863 h 960"/>
                      <a:gd name="T28" fmla="*/ 970 w 1199"/>
                      <a:gd name="T29" fmla="*/ 867 h 960"/>
                      <a:gd name="T30" fmla="*/ 965 w 1199"/>
                      <a:gd name="T31" fmla="*/ 894 h 960"/>
                      <a:gd name="T32" fmla="*/ 951 w 1199"/>
                      <a:gd name="T33" fmla="*/ 895 h 960"/>
                      <a:gd name="T34" fmla="*/ 915 w 1199"/>
                      <a:gd name="T35" fmla="*/ 806 h 960"/>
                      <a:gd name="T36" fmla="*/ 899 w 1199"/>
                      <a:gd name="T37" fmla="*/ 804 h 960"/>
                      <a:gd name="T38" fmla="*/ 837 w 1199"/>
                      <a:gd name="T39" fmla="*/ 849 h 960"/>
                      <a:gd name="T40" fmla="*/ 785 w 1199"/>
                      <a:gd name="T41" fmla="*/ 825 h 960"/>
                      <a:gd name="T42" fmla="*/ 747 w 1199"/>
                      <a:gd name="T43" fmla="*/ 820 h 960"/>
                      <a:gd name="T44" fmla="*/ 725 w 1199"/>
                      <a:gd name="T45" fmla="*/ 831 h 960"/>
                      <a:gd name="T46" fmla="*/ 684 w 1199"/>
                      <a:gd name="T47" fmla="*/ 829 h 960"/>
                      <a:gd name="T48" fmla="*/ 637 w 1199"/>
                      <a:gd name="T49" fmla="*/ 864 h 960"/>
                      <a:gd name="T50" fmla="*/ 600 w 1199"/>
                      <a:gd name="T51" fmla="*/ 866 h 960"/>
                      <a:gd name="T52" fmla="*/ 520 w 1199"/>
                      <a:gd name="T53" fmla="*/ 824 h 960"/>
                      <a:gd name="T54" fmla="*/ 484 w 1199"/>
                      <a:gd name="T55" fmla="*/ 844 h 960"/>
                      <a:gd name="T56" fmla="*/ 447 w 1199"/>
                      <a:gd name="T57" fmla="*/ 843 h 960"/>
                      <a:gd name="T58" fmla="*/ 425 w 1199"/>
                      <a:gd name="T59" fmla="*/ 811 h 960"/>
                      <a:gd name="T60" fmla="*/ 359 w 1199"/>
                      <a:gd name="T61" fmla="*/ 781 h 960"/>
                      <a:gd name="T62" fmla="*/ 280 w 1199"/>
                      <a:gd name="T63" fmla="*/ 791 h 960"/>
                      <a:gd name="T64" fmla="*/ 259 w 1199"/>
                      <a:gd name="T65" fmla="*/ 809 h 960"/>
                      <a:gd name="T66" fmla="*/ 242 w 1199"/>
                      <a:gd name="T67" fmla="*/ 855 h 960"/>
                      <a:gd name="T68" fmla="*/ 217 w 1199"/>
                      <a:gd name="T69" fmla="*/ 888 h 960"/>
                      <a:gd name="T70" fmla="*/ 202 w 1199"/>
                      <a:gd name="T71" fmla="*/ 960 h 960"/>
                      <a:gd name="T72" fmla="*/ 154 w 1199"/>
                      <a:gd name="T73" fmla="*/ 914 h 960"/>
                      <a:gd name="T74" fmla="*/ 129 w 1199"/>
                      <a:gd name="T75" fmla="*/ 914 h 960"/>
                      <a:gd name="T76" fmla="*/ 101 w 1199"/>
                      <a:gd name="T77" fmla="*/ 938 h 960"/>
                      <a:gd name="T78" fmla="*/ 111 w 1199"/>
                      <a:gd name="T79" fmla="*/ 883 h 960"/>
                      <a:gd name="T80" fmla="*/ 31 w 1199"/>
                      <a:gd name="T81" fmla="*/ 864 h 960"/>
                      <a:gd name="T82" fmla="*/ 35 w 1199"/>
                      <a:gd name="T83" fmla="*/ 824 h 960"/>
                      <a:gd name="T84" fmla="*/ 2 w 1199"/>
                      <a:gd name="T85" fmla="*/ 771 h 960"/>
                      <a:gd name="T86" fmla="*/ 0 w 1199"/>
                      <a:gd name="T87" fmla="*/ 734 h 960"/>
                      <a:gd name="T88" fmla="*/ 12 w 1199"/>
                      <a:gd name="T89" fmla="*/ 695 h 960"/>
                      <a:gd name="T90" fmla="*/ 59 w 1199"/>
                      <a:gd name="T91" fmla="*/ 691 h 960"/>
                      <a:gd name="T92" fmla="*/ 90 w 1199"/>
                      <a:gd name="T93" fmla="*/ 663 h 960"/>
                      <a:gd name="T94" fmla="*/ 187 w 1199"/>
                      <a:gd name="T95" fmla="*/ 656 h 960"/>
                      <a:gd name="T96" fmla="*/ 254 w 1199"/>
                      <a:gd name="T97" fmla="*/ 643 h 960"/>
                      <a:gd name="T98" fmla="*/ 269 w 1199"/>
                      <a:gd name="T99" fmla="*/ 593 h 960"/>
                      <a:gd name="T100" fmla="*/ 319 w 1199"/>
                      <a:gd name="T101" fmla="*/ 539 h 960"/>
                      <a:gd name="T102" fmla="*/ 356 w 1199"/>
                      <a:gd name="T103" fmla="*/ 351 h 960"/>
                      <a:gd name="T104" fmla="*/ 464 w 1199"/>
                      <a:gd name="T105" fmla="*/ 315 h 960"/>
                      <a:gd name="T106" fmla="*/ 702 w 1199"/>
                      <a:gd name="T107" fmla="*/ 155 h 960"/>
                      <a:gd name="T108" fmla="*/ 977 w 1199"/>
                      <a:gd name="T109" fmla="*/ 0 h 960"/>
                      <a:gd name="T110" fmla="*/ 1080 w 1199"/>
                      <a:gd name="T111" fmla="*/ 35 h 960"/>
                      <a:gd name="T112" fmla="*/ 1110 w 1199"/>
                      <a:gd name="T113" fmla="*/ 80 h 960"/>
                      <a:gd name="T114" fmla="*/ 1166 w 1199"/>
                      <a:gd name="T115" fmla="*/ 50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9" h="960">
                        <a:moveTo>
                          <a:pt x="1166" y="50"/>
                        </a:moveTo>
                        <a:lnTo>
                          <a:pt x="1156" y="176"/>
                        </a:lnTo>
                        <a:lnTo>
                          <a:pt x="1179" y="198"/>
                        </a:lnTo>
                        <a:lnTo>
                          <a:pt x="1175" y="224"/>
                        </a:lnTo>
                        <a:lnTo>
                          <a:pt x="1199" y="251"/>
                        </a:lnTo>
                        <a:lnTo>
                          <a:pt x="1176" y="286"/>
                        </a:lnTo>
                        <a:lnTo>
                          <a:pt x="1116" y="451"/>
                        </a:lnTo>
                        <a:lnTo>
                          <a:pt x="1092" y="556"/>
                        </a:lnTo>
                        <a:lnTo>
                          <a:pt x="989" y="634"/>
                        </a:lnTo>
                        <a:lnTo>
                          <a:pt x="941" y="740"/>
                        </a:lnTo>
                        <a:lnTo>
                          <a:pt x="966" y="770"/>
                        </a:lnTo>
                        <a:lnTo>
                          <a:pt x="959" y="823"/>
                        </a:lnTo>
                        <a:lnTo>
                          <a:pt x="1004" y="825"/>
                        </a:lnTo>
                        <a:lnTo>
                          <a:pt x="991" y="863"/>
                        </a:lnTo>
                        <a:lnTo>
                          <a:pt x="970" y="867"/>
                        </a:lnTo>
                        <a:lnTo>
                          <a:pt x="965" y="894"/>
                        </a:lnTo>
                        <a:lnTo>
                          <a:pt x="951" y="895"/>
                        </a:lnTo>
                        <a:lnTo>
                          <a:pt x="915" y="806"/>
                        </a:lnTo>
                        <a:lnTo>
                          <a:pt x="899" y="804"/>
                        </a:lnTo>
                        <a:lnTo>
                          <a:pt x="837" y="849"/>
                        </a:lnTo>
                        <a:lnTo>
                          <a:pt x="785" y="825"/>
                        </a:lnTo>
                        <a:lnTo>
                          <a:pt x="747" y="820"/>
                        </a:lnTo>
                        <a:lnTo>
                          <a:pt x="725" y="831"/>
                        </a:lnTo>
                        <a:lnTo>
                          <a:pt x="684" y="829"/>
                        </a:lnTo>
                        <a:lnTo>
                          <a:pt x="637" y="864"/>
                        </a:lnTo>
                        <a:lnTo>
                          <a:pt x="600" y="866"/>
                        </a:lnTo>
                        <a:lnTo>
                          <a:pt x="520" y="824"/>
                        </a:lnTo>
                        <a:lnTo>
                          <a:pt x="484" y="844"/>
                        </a:lnTo>
                        <a:lnTo>
                          <a:pt x="447" y="843"/>
                        </a:lnTo>
                        <a:lnTo>
                          <a:pt x="425" y="811"/>
                        </a:lnTo>
                        <a:lnTo>
                          <a:pt x="359" y="781"/>
                        </a:lnTo>
                        <a:lnTo>
                          <a:pt x="280" y="791"/>
                        </a:lnTo>
                        <a:lnTo>
                          <a:pt x="259" y="809"/>
                        </a:lnTo>
                        <a:lnTo>
                          <a:pt x="242" y="855"/>
                        </a:lnTo>
                        <a:lnTo>
                          <a:pt x="217" y="888"/>
                        </a:lnTo>
                        <a:lnTo>
                          <a:pt x="202" y="960"/>
                        </a:lnTo>
                        <a:lnTo>
                          <a:pt x="154" y="914"/>
                        </a:lnTo>
                        <a:lnTo>
                          <a:pt x="129" y="914"/>
                        </a:lnTo>
                        <a:lnTo>
                          <a:pt x="101" y="938"/>
                        </a:lnTo>
                        <a:lnTo>
                          <a:pt x="111" y="883"/>
                        </a:lnTo>
                        <a:lnTo>
                          <a:pt x="31" y="864"/>
                        </a:lnTo>
                        <a:lnTo>
                          <a:pt x="35" y="824"/>
                        </a:lnTo>
                        <a:lnTo>
                          <a:pt x="2" y="771"/>
                        </a:lnTo>
                        <a:lnTo>
                          <a:pt x="0" y="734"/>
                        </a:lnTo>
                        <a:lnTo>
                          <a:pt x="12" y="695"/>
                        </a:lnTo>
                        <a:lnTo>
                          <a:pt x="59" y="691"/>
                        </a:lnTo>
                        <a:lnTo>
                          <a:pt x="90" y="663"/>
                        </a:lnTo>
                        <a:lnTo>
                          <a:pt x="187" y="656"/>
                        </a:lnTo>
                        <a:lnTo>
                          <a:pt x="254" y="643"/>
                        </a:lnTo>
                        <a:lnTo>
                          <a:pt x="269" y="593"/>
                        </a:lnTo>
                        <a:lnTo>
                          <a:pt x="319" y="539"/>
                        </a:lnTo>
                        <a:lnTo>
                          <a:pt x="356" y="351"/>
                        </a:lnTo>
                        <a:lnTo>
                          <a:pt x="464" y="315"/>
                        </a:lnTo>
                        <a:lnTo>
                          <a:pt x="702" y="155"/>
                        </a:lnTo>
                        <a:lnTo>
                          <a:pt x="977" y="0"/>
                        </a:lnTo>
                        <a:lnTo>
                          <a:pt x="1080" y="35"/>
                        </a:lnTo>
                        <a:lnTo>
                          <a:pt x="1110" y="80"/>
                        </a:lnTo>
                        <a:lnTo>
                          <a:pt x="1166" y="5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2" name="Nigeria" descr="{&quot;Key&quot;:&quot;nigeria&quot;,&quot;Name&quot;:&quot;Nigeria&quot;,&quot;Value&quot;:1.0,&quot;Formula&quot;:&quot;&quot;,&quot;Text&quot;:&quot;&quot;,&quot;OfficeApplication&quot;:1,&quot;HasValue&quot;:true}">
                    <a:extLst>
                      <a:ext uri="{FF2B5EF4-FFF2-40B4-BE49-F238E27FC236}">
                        <a16:creationId xmlns:a16="http://schemas.microsoft.com/office/drawing/2014/main" id="{E00AE419-FE30-6DE6-E782-AA0A86374B3F}"/>
                      </a:ext>
                    </a:extLst>
                  </p:cNvPr>
                  <p:cNvSpPr>
                    <a:spLocks/>
                  </p:cNvSpPr>
                  <p:nvPr/>
                </p:nvSpPr>
                <p:spPr bwMode="auto">
                  <a:xfrm>
                    <a:off x="874" y="2470"/>
                    <a:ext cx="250" cy="219"/>
                  </a:xfrm>
                  <a:custGeom>
                    <a:avLst/>
                    <a:gdLst>
                      <a:gd name="T0" fmla="*/ 871 w 895"/>
                      <a:gd name="T1" fmla="*/ 113 h 783"/>
                      <a:gd name="T2" fmla="*/ 895 w 895"/>
                      <a:gd name="T3" fmla="*/ 145 h 783"/>
                      <a:gd name="T4" fmla="*/ 886 w 895"/>
                      <a:gd name="T5" fmla="*/ 160 h 783"/>
                      <a:gd name="T6" fmla="*/ 879 w 895"/>
                      <a:gd name="T7" fmla="*/ 187 h 783"/>
                      <a:gd name="T8" fmla="*/ 811 w 895"/>
                      <a:gd name="T9" fmla="*/ 249 h 783"/>
                      <a:gd name="T10" fmla="*/ 787 w 895"/>
                      <a:gd name="T11" fmla="*/ 302 h 783"/>
                      <a:gd name="T12" fmla="*/ 772 w 895"/>
                      <a:gd name="T13" fmla="*/ 344 h 783"/>
                      <a:gd name="T14" fmla="*/ 756 w 895"/>
                      <a:gd name="T15" fmla="*/ 362 h 783"/>
                      <a:gd name="T16" fmla="*/ 736 w 895"/>
                      <a:gd name="T17" fmla="*/ 419 h 783"/>
                      <a:gd name="T18" fmla="*/ 695 w 895"/>
                      <a:gd name="T19" fmla="*/ 453 h 783"/>
                      <a:gd name="T20" fmla="*/ 681 w 895"/>
                      <a:gd name="T21" fmla="*/ 493 h 783"/>
                      <a:gd name="T22" fmla="*/ 662 w 895"/>
                      <a:gd name="T23" fmla="*/ 527 h 783"/>
                      <a:gd name="T24" fmla="*/ 652 w 895"/>
                      <a:gd name="T25" fmla="*/ 560 h 783"/>
                      <a:gd name="T26" fmla="*/ 601 w 895"/>
                      <a:gd name="T27" fmla="*/ 588 h 783"/>
                      <a:gd name="T28" fmla="*/ 564 w 895"/>
                      <a:gd name="T29" fmla="*/ 554 h 783"/>
                      <a:gd name="T30" fmla="*/ 536 w 895"/>
                      <a:gd name="T31" fmla="*/ 555 h 783"/>
                      <a:gd name="T32" fmla="*/ 490 w 895"/>
                      <a:gd name="T33" fmla="*/ 603 h 783"/>
                      <a:gd name="T34" fmla="*/ 470 w 895"/>
                      <a:gd name="T35" fmla="*/ 604 h 783"/>
                      <a:gd name="T36" fmla="*/ 430 w 895"/>
                      <a:gd name="T37" fmla="*/ 682 h 783"/>
                      <a:gd name="T38" fmla="*/ 409 w 895"/>
                      <a:gd name="T39" fmla="*/ 739 h 783"/>
                      <a:gd name="T40" fmla="*/ 332 w 895"/>
                      <a:gd name="T41" fmla="*/ 769 h 783"/>
                      <a:gd name="T42" fmla="*/ 305 w 895"/>
                      <a:gd name="T43" fmla="*/ 764 h 783"/>
                      <a:gd name="T44" fmla="*/ 276 w 895"/>
                      <a:gd name="T45" fmla="*/ 783 h 783"/>
                      <a:gd name="T46" fmla="*/ 220 w 895"/>
                      <a:gd name="T47" fmla="*/ 780 h 783"/>
                      <a:gd name="T48" fmla="*/ 184 w 895"/>
                      <a:gd name="T49" fmla="*/ 730 h 783"/>
                      <a:gd name="T50" fmla="*/ 164 w 895"/>
                      <a:gd name="T51" fmla="*/ 672 h 783"/>
                      <a:gd name="T52" fmla="*/ 117 w 895"/>
                      <a:gd name="T53" fmla="*/ 618 h 783"/>
                      <a:gd name="T54" fmla="*/ 64 w 895"/>
                      <a:gd name="T55" fmla="*/ 619 h 783"/>
                      <a:gd name="T56" fmla="*/ 0 w 895"/>
                      <a:gd name="T57" fmla="*/ 619 h 783"/>
                      <a:gd name="T58" fmla="*/ 15 w 895"/>
                      <a:gd name="T59" fmla="*/ 488 h 783"/>
                      <a:gd name="T60" fmla="*/ 17 w 895"/>
                      <a:gd name="T61" fmla="*/ 435 h 783"/>
                      <a:gd name="T62" fmla="*/ 35 w 895"/>
                      <a:gd name="T63" fmla="*/ 384 h 783"/>
                      <a:gd name="T64" fmla="*/ 60 w 895"/>
                      <a:gd name="T65" fmla="*/ 360 h 783"/>
                      <a:gd name="T66" fmla="*/ 100 w 895"/>
                      <a:gd name="T67" fmla="*/ 309 h 783"/>
                      <a:gd name="T68" fmla="*/ 95 w 895"/>
                      <a:gd name="T69" fmla="*/ 288 h 783"/>
                      <a:gd name="T70" fmla="*/ 112 w 895"/>
                      <a:gd name="T71" fmla="*/ 255 h 783"/>
                      <a:gd name="T72" fmla="*/ 102 w 895"/>
                      <a:gd name="T73" fmla="*/ 207 h 783"/>
                      <a:gd name="T74" fmla="*/ 109 w 895"/>
                      <a:gd name="T75" fmla="*/ 179 h 783"/>
                      <a:gd name="T76" fmla="*/ 124 w 895"/>
                      <a:gd name="T77" fmla="*/ 107 h 783"/>
                      <a:gd name="T78" fmla="*/ 149 w 895"/>
                      <a:gd name="T79" fmla="*/ 74 h 783"/>
                      <a:gd name="T80" fmla="*/ 165 w 895"/>
                      <a:gd name="T81" fmla="*/ 28 h 783"/>
                      <a:gd name="T82" fmla="*/ 186 w 895"/>
                      <a:gd name="T83" fmla="*/ 10 h 783"/>
                      <a:gd name="T84" fmla="*/ 265 w 895"/>
                      <a:gd name="T85" fmla="*/ 0 h 783"/>
                      <a:gd name="T86" fmla="*/ 331 w 895"/>
                      <a:gd name="T87" fmla="*/ 30 h 783"/>
                      <a:gd name="T88" fmla="*/ 354 w 895"/>
                      <a:gd name="T89" fmla="*/ 62 h 783"/>
                      <a:gd name="T90" fmla="*/ 390 w 895"/>
                      <a:gd name="T91" fmla="*/ 63 h 783"/>
                      <a:gd name="T92" fmla="*/ 426 w 895"/>
                      <a:gd name="T93" fmla="*/ 43 h 783"/>
                      <a:gd name="T94" fmla="*/ 506 w 895"/>
                      <a:gd name="T95" fmla="*/ 85 h 783"/>
                      <a:gd name="T96" fmla="*/ 544 w 895"/>
                      <a:gd name="T97" fmla="*/ 83 h 783"/>
                      <a:gd name="T98" fmla="*/ 590 w 895"/>
                      <a:gd name="T99" fmla="*/ 48 h 783"/>
                      <a:gd name="T100" fmla="*/ 631 w 895"/>
                      <a:gd name="T101" fmla="*/ 50 h 783"/>
                      <a:gd name="T102" fmla="*/ 654 w 895"/>
                      <a:gd name="T103" fmla="*/ 39 h 783"/>
                      <a:gd name="T104" fmla="*/ 691 w 895"/>
                      <a:gd name="T105" fmla="*/ 44 h 783"/>
                      <a:gd name="T106" fmla="*/ 744 w 895"/>
                      <a:gd name="T107" fmla="*/ 68 h 783"/>
                      <a:gd name="T108" fmla="*/ 805 w 895"/>
                      <a:gd name="T109" fmla="*/ 23 h 783"/>
                      <a:gd name="T110" fmla="*/ 821 w 895"/>
                      <a:gd name="T111" fmla="*/ 25 h 783"/>
                      <a:gd name="T112" fmla="*/ 857 w 895"/>
                      <a:gd name="T113" fmla="*/ 114 h 783"/>
                      <a:gd name="T114" fmla="*/ 871 w 895"/>
                      <a:gd name="T115" fmla="*/ 11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5" h="783">
                        <a:moveTo>
                          <a:pt x="871" y="113"/>
                        </a:moveTo>
                        <a:lnTo>
                          <a:pt x="895" y="145"/>
                        </a:lnTo>
                        <a:lnTo>
                          <a:pt x="886" y="160"/>
                        </a:lnTo>
                        <a:lnTo>
                          <a:pt x="879" y="187"/>
                        </a:lnTo>
                        <a:lnTo>
                          <a:pt x="811" y="249"/>
                        </a:lnTo>
                        <a:lnTo>
                          <a:pt x="787" y="302"/>
                        </a:lnTo>
                        <a:lnTo>
                          <a:pt x="772" y="344"/>
                        </a:lnTo>
                        <a:lnTo>
                          <a:pt x="756" y="362"/>
                        </a:lnTo>
                        <a:lnTo>
                          <a:pt x="736" y="419"/>
                        </a:lnTo>
                        <a:lnTo>
                          <a:pt x="695" y="453"/>
                        </a:lnTo>
                        <a:lnTo>
                          <a:pt x="681" y="493"/>
                        </a:lnTo>
                        <a:lnTo>
                          <a:pt x="662" y="527"/>
                        </a:lnTo>
                        <a:lnTo>
                          <a:pt x="652" y="560"/>
                        </a:lnTo>
                        <a:lnTo>
                          <a:pt x="601" y="588"/>
                        </a:lnTo>
                        <a:lnTo>
                          <a:pt x="564" y="554"/>
                        </a:lnTo>
                        <a:lnTo>
                          <a:pt x="536" y="555"/>
                        </a:lnTo>
                        <a:lnTo>
                          <a:pt x="490" y="603"/>
                        </a:lnTo>
                        <a:lnTo>
                          <a:pt x="470" y="604"/>
                        </a:lnTo>
                        <a:lnTo>
                          <a:pt x="430" y="682"/>
                        </a:lnTo>
                        <a:lnTo>
                          <a:pt x="409" y="739"/>
                        </a:lnTo>
                        <a:lnTo>
                          <a:pt x="332" y="769"/>
                        </a:lnTo>
                        <a:lnTo>
                          <a:pt x="305" y="764"/>
                        </a:lnTo>
                        <a:lnTo>
                          <a:pt x="276" y="783"/>
                        </a:lnTo>
                        <a:lnTo>
                          <a:pt x="220" y="780"/>
                        </a:lnTo>
                        <a:lnTo>
                          <a:pt x="184" y="730"/>
                        </a:lnTo>
                        <a:lnTo>
                          <a:pt x="164" y="672"/>
                        </a:lnTo>
                        <a:lnTo>
                          <a:pt x="117" y="618"/>
                        </a:lnTo>
                        <a:lnTo>
                          <a:pt x="64" y="619"/>
                        </a:lnTo>
                        <a:lnTo>
                          <a:pt x="0" y="619"/>
                        </a:lnTo>
                        <a:lnTo>
                          <a:pt x="15" y="488"/>
                        </a:lnTo>
                        <a:lnTo>
                          <a:pt x="17" y="435"/>
                        </a:lnTo>
                        <a:lnTo>
                          <a:pt x="35" y="384"/>
                        </a:lnTo>
                        <a:lnTo>
                          <a:pt x="60" y="360"/>
                        </a:lnTo>
                        <a:lnTo>
                          <a:pt x="100" y="309"/>
                        </a:lnTo>
                        <a:lnTo>
                          <a:pt x="95" y="288"/>
                        </a:lnTo>
                        <a:lnTo>
                          <a:pt x="112" y="255"/>
                        </a:lnTo>
                        <a:lnTo>
                          <a:pt x="102" y="207"/>
                        </a:lnTo>
                        <a:lnTo>
                          <a:pt x="109" y="179"/>
                        </a:lnTo>
                        <a:lnTo>
                          <a:pt x="124" y="107"/>
                        </a:lnTo>
                        <a:lnTo>
                          <a:pt x="149" y="74"/>
                        </a:lnTo>
                        <a:lnTo>
                          <a:pt x="165" y="28"/>
                        </a:lnTo>
                        <a:lnTo>
                          <a:pt x="186" y="10"/>
                        </a:lnTo>
                        <a:lnTo>
                          <a:pt x="265" y="0"/>
                        </a:lnTo>
                        <a:lnTo>
                          <a:pt x="331" y="30"/>
                        </a:lnTo>
                        <a:lnTo>
                          <a:pt x="354" y="62"/>
                        </a:lnTo>
                        <a:lnTo>
                          <a:pt x="390" y="63"/>
                        </a:lnTo>
                        <a:lnTo>
                          <a:pt x="426" y="43"/>
                        </a:lnTo>
                        <a:lnTo>
                          <a:pt x="506" y="85"/>
                        </a:lnTo>
                        <a:lnTo>
                          <a:pt x="544" y="83"/>
                        </a:lnTo>
                        <a:lnTo>
                          <a:pt x="590" y="48"/>
                        </a:lnTo>
                        <a:lnTo>
                          <a:pt x="631" y="50"/>
                        </a:lnTo>
                        <a:lnTo>
                          <a:pt x="654" y="39"/>
                        </a:lnTo>
                        <a:lnTo>
                          <a:pt x="691" y="44"/>
                        </a:lnTo>
                        <a:lnTo>
                          <a:pt x="744" y="68"/>
                        </a:lnTo>
                        <a:lnTo>
                          <a:pt x="805" y="23"/>
                        </a:lnTo>
                        <a:lnTo>
                          <a:pt x="821" y="25"/>
                        </a:lnTo>
                        <a:lnTo>
                          <a:pt x="857" y="114"/>
                        </a:lnTo>
                        <a:lnTo>
                          <a:pt x="871" y="11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3" name="Nicaragua" descr="{&quot;Key&quot;:&quot;nicaragua&quot;,&quot;Name&quot;:&quot;Nicaragua&quot;,&quot;Value&quot;:1.0,&quot;Formula&quot;:&quot;&quot;,&quot;Text&quot;:&quot;&quot;,&quot;OfficeApplication&quot;:1,&quot;HasValue&quot;:true}">
                    <a:extLst>
                      <a:ext uri="{FF2B5EF4-FFF2-40B4-BE49-F238E27FC236}">
                        <a16:creationId xmlns:a16="http://schemas.microsoft.com/office/drawing/2014/main" id="{219F8150-CF91-6D23-907E-419BF208AAF8}"/>
                      </a:ext>
                    </a:extLst>
                  </p:cNvPr>
                  <p:cNvSpPr>
                    <a:spLocks/>
                  </p:cNvSpPr>
                  <p:nvPr/>
                </p:nvSpPr>
                <p:spPr bwMode="auto">
                  <a:xfrm>
                    <a:off x="6248" y="2444"/>
                    <a:ext cx="85" cy="97"/>
                  </a:xfrm>
                  <a:custGeom>
                    <a:avLst/>
                    <a:gdLst>
                      <a:gd name="T0" fmla="*/ 299 w 305"/>
                      <a:gd name="T1" fmla="*/ 2 h 348"/>
                      <a:gd name="T2" fmla="*/ 294 w 305"/>
                      <a:gd name="T3" fmla="*/ 10 h 348"/>
                      <a:gd name="T4" fmla="*/ 294 w 305"/>
                      <a:gd name="T5" fmla="*/ 27 h 348"/>
                      <a:gd name="T6" fmla="*/ 305 w 305"/>
                      <a:gd name="T7" fmla="*/ 57 h 348"/>
                      <a:gd name="T8" fmla="*/ 293 w 305"/>
                      <a:gd name="T9" fmla="*/ 85 h 348"/>
                      <a:gd name="T10" fmla="*/ 289 w 305"/>
                      <a:gd name="T11" fmla="*/ 117 h 348"/>
                      <a:gd name="T12" fmla="*/ 291 w 305"/>
                      <a:gd name="T13" fmla="*/ 153 h 348"/>
                      <a:gd name="T14" fmla="*/ 298 w 305"/>
                      <a:gd name="T15" fmla="*/ 175 h 348"/>
                      <a:gd name="T16" fmla="*/ 304 w 305"/>
                      <a:gd name="T17" fmla="*/ 211 h 348"/>
                      <a:gd name="T18" fmla="*/ 294 w 305"/>
                      <a:gd name="T19" fmla="*/ 218 h 348"/>
                      <a:gd name="T20" fmla="*/ 291 w 305"/>
                      <a:gd name="T21" fmla="*/ 253 h 348"/>
                      <a:gd name="T22" fmla="*/ 299 w 305"/>
                      <a:gd name="T23" fmla="*/ 275 h 348"/>
                      <a:gd name="T24" fmla="*/ 286 w 305"/>
                      <a:gd name="T25" fmla="*/ 296 h 348"/>
                      <a:gd name="T26" fmla="*/ 293 w 305"/>
                      <a:gd name="T27" fmla="*/ 318 h 348"/>
                      <a:gd name="T28" fmla="*/ 305 w 305"/>
                      <a:gd name="T29" fmla="*/ 331 h 348"/>
                      <a:gd name="T30" fmla="*/ 289 w 305"/>
                      <a:gd name="T31" fmla="*/ 348 h 348"/>
                      <a:gd name="T32" fmla="*/ 268 w 305"/>
                      <a:gd name="T33" fmla="*/ 343 h 348"/>
                      <a:gd name="T34" fmla="*/ 254 w 305"/>
                      <a:gd name="T35" fmla="*/ 326 h 348"/>
                      <a:gd name="T36" fmla="*/ 231 w 305"/>
                      <a:gd name="T37" fmla="*/ 320 h 348"/>
                      <a:gd name="T38" fmla="*/ 215 w 305"/>
                      <a:gd name="T39" fmla="*/ 330 h 348"/>
                      <a:gd name="T40" fmla="*/ 166 w 305"/>
                      <a:gd name="T41" fmla="*/ 308 h 348"/>
                      <a:gd name="T42" fmla="*/ 156 w 305"/>
                      <a:gd name="T43" fmla="*/ 320 h 348"/>
                      <a:gd name="T44" fmla="*/ 129 w 305"/>
                      <a:gd name="T45" fmla="*/ 293 h 348"/>
                      <a:gd name="T46" fmla="*/ 93 w 305"/>
                      <a:gd name="T47" fmla="*/ 261 h 348"/>
                      <a:gd name="T48" fmla="*/ 74 w 305"/>
                      <a:gd name="T49" fmla="*/ 233 h 348"/>
                      <a:gd name="T50" fmla="*/ 40 w 305"/>
                      <a:gd name="T51" fmla="*/ 208 h 348"/>
                      <a:gd name="T52" fmla="*/ 0 w 305"/>
                      <a:gd name="T53" fmla="*/ 171 h 348"/>
                      <a:gd name="T54" fmla="*/ 6 w 305"/>
                      <a:gd name="T55" fmla="*/ 158 h 348"/>
                      <a:gd name="T56" fmla="*/ 20 w 305"/>
                      <a:gd name="T57" fmla="*/ 171 h 348"/>
                      <a:gd name="T58" fmla="*/ 25 w 305"/>
                      <a:gd name="T59" fmla="*/ 164 h 348"/>
                      <a:gd name="T60" fmla="*/ 46 w 305"/>
                      <a:gd name="T61" fmla="*/ 162 h 348"/>
                      <a:gd name="T62" fmla="*/ 53 w 305"/>
                      <a:gd name="T63" fmla="*/ 143 h 348"/>
                      <a:gd name="T64" fmla="*/ 64 w 305"/>
                      <a:gd name="T65" fmla="*/ 142 h 348"/>
                      <a:gd name="T66" fmla="*/ 56 w 305"/>
                      <a:gd name="T67" fmla="*/ 102 h 348"/>
                      <a:gd name="T68" fmla="*/ 74 w 305"/>
                      <a:gd name="T69" fmla="*/ 101 h 348"/>
                      <a:gd name="T70" fmla="*/ 89 w 305"/>
                      <a:gd name="T71" fmla="*/ 101 h 348"/>
                      <a:gd name="T72" fmla="*/ 101 w 305"/>
                      <a:gd name="T73" fmla="*/ 79 h 348"/>
                      <a:gd name="T74" fmla="*/ 124 w 305"/>
                      <a:gd name="T75" fmla="*/ 96 h 348"/>
                      <a:gd name="T76" fmla="*/ 130 w 305"/>
                      <a:gd name="T77" fmla="*/ 86 h 348"/>
                      <a:gd name="T78" fmla="*/ 141 w 305"/>
                      <a:gd name="T79" fmla="*/ 76 h 348"/>
                      <a:gd name="T80" fmla="*/ 164 w 305"/>
                      <a:gd name="T81" fmla="*/ 53 h 348"/>
                      <a:gd name="T82" fmla="*/ 163 w 305"/>
                      <a:gd name="T83" fmla="*/ 37 h 348"/>
                      <a:gd name="T84" fmla="*/ 169 w 305"/>
                      <a:gd name="T85" fmla="*/ 37 h 348"/>
                      <a:gd name="T86" fmla="*/ 175 w 305"/>
                      <a:gd name="T87" fmla="*/ 18 h 348"/>
                      <a:gd name="T88" fmla="*/ 183 w 305"/>
                      <a:gd name="T89" fmla="*/ 16 h 348"/>
                      <a:gd name="T90" fmla="*/ 196 w 305"/>
                      <a:gd name="T91" fmla="*/ 28 h 348"/>
                      <a:gd name="T92" fmla="*/ 211 w 305"/>
                      <a:gd name="T93" fmla="*/ 32 h 348"/>
                      <a:gd name="T94" fmla="*/ 225 w 305"/>
                      <a:gd name="T95" fmla="*/ 22 h 348"/>
                      <a:gd name="T96" fmla="*/ 244 w 305"/>
                      <a:gd name="T97" fmla="*/ 22 h 348"/>
                      <a:gd name="T98" fmla="*/ 266 w 305"/>
                      <a:gd name="T99" fmla="*/ 11 h 348"/>
                      <a:gd name="T100" fmla="*/ 275 w 305"/>
                      <a:gd name="T101" fmla="*/ 0 h 348"/>
                      <a:gd name="T102" fmla="*/ 299 w 305"/>
                      <a:gd name="T103" fmla="*/ 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5" h="348">
                        <a:moveTo>
                          <a:pt x="299" y="2"/>
                        </a:moveTo>
                        <a:lnTo>
                          <a:pt x="294" y="10"/>
                        </a:lnTo>
                        <a:lnTo>
                          <a:pt x="294" y="27"/>
                        </a:lnTo>
                        <a:lnTo>
                          <a:pt x="305" y="57"/>
                        </a:lnTo>
                        <a:lnTo>
                          <a:pt x="293" y="85"/>
                        </a:lnTo>
                        <a:lnTo>
                          <a:pt x="289" y="117"/>
                        </a:lnTo>
                        <a:lnTo>
                          <a:pt x="291" y="153"/>
                        </a:lnTo>
                        <a:lnTo>
                          <a:pt x="298" y="175"/>
                        </a:lnTo>
                        <a:lnTo>
                          <a:pt x="304" y="211"/>
                        </a:lnTo>
                        <a:lnTo>
                          <a:pt x="294" y="218"/>
                        </a:lnTo>
                        <a:lnTo>
                          <a:pt x="291" y="253"/>
                        </a:lnTo>
                        <a:lnTo>
                          <a:pt x="299" y="275"/>
                        </a:lnTo>
                        <a:lnTo>
                          <a:pt x="286" y="296"/>
                        </a:lnTo>
                        <a:lnTo>
                          <a:pt x="293" y="318"/>
                        </a:lnTo>
                        <a:lnTo>
                          <a:pt x="305" y="331"/>
                        </a:lnTo>
                        <a:lnTo>
                          <a:pt x="289" y="348"/>
                        </a:lnTo>
                        <a:lnTo>
                          <a:pt x="268" y="343"/>
                        </a:lnTo>
                        <a:lnTo>
                          <a:pt x="254" y="326"/>
                        </a:lnTo>
                        <a:lnTo>
                          <a:pt x="231" y="320"/>
                        </a:lnTo>
                        <a:lnTo>
                          <a:pt x="215" y="330"/>
                        </a:lnTo>
                        <a:lnTo>
                          <a:pt x="166" y="308"/>
                        </a:lnTo>
                        <a:lnTo>
                          <a:pt x="156" y="320"/>
                        </a:lnTo>
                        <a:lnTo>
                          <a:pt x="129" y="293"/>
                        </a:lnTo>
                        <a:lnTo>
                          <a:pt x="93" y="261"/>
                        </a:lnTo>
                        <a:lnTo>
                          <a:pt x="74" y="233"/>
                        </a:lnTo>
                        <a:lnTo>
                          <a:pt x="40" y="208"/>
                        </a:lnTo>
                        <a:lnTo>
                          <a:pt x="0" y="171"/>
                        </a:lnTo>
                        <a:lnTo>
                          <a:pt x="6" y="158"/>
                        </a:lnTo>
                        <a:lnTo>
                          <a:pt x="20" y="171"/>
                        </a:lnTo>
                        <a:lnTo>
                          <a:pt x="25" y="164"/>
                        </a:lnTo>
                        <a:lnTo>
                          <a:pt x="46" y="162"/>
                        </a:lnTo>
                        <a:lnTo>
                          <a:pt x="53" y="143"/>
                        </a:lnTo>
                        <a:lnTo>
                          <a:pt x="64" y="142"/>
                        </a:lnTo>
                        <a:lnTo>
                          <a:pt x="56" y="102"/>
                        </a:lnTo>
                        <a:lnTo>
                          <a:pt x="74" y="101"/>
                        </a:lnTo>
                        <a:lnTo>
                          <a:pt x="89" y="101"/>
                        </a:lnTo>
                        <a:lnTo>
                          <a:pt x="101" y="79"/>
                        </a:lnTo>
                        <a:lnTo>
                          <a:pt x="124" y="96"/>
                        </a:lnTo>
                        <a:lnTo>
                          <a:pt x="130" y="86"/>
                        </a:lnTo>
                        <a:lnTo>
                          <a:pt x="141" y="76"/>
                        </a:lnTo>
                        <a:lnTo>
                          <a:pt x="164" y="53"/>
                        </a:lnTo>
                        <a:lnTo>
                          <a:pt x="163" y="37"/>
                        </a:lnTo>
                        <a:lnTo>
                          <a:pt x="169" y="37"/>
                        </a:lnTo>
                        <a:lnTo>
                          <a:pt x="175" y="18"/>
                        </a:lnTo>
                        <a:lnTo>
                          <a:pt x="183" y="16"/>
                        </a:lnTo>
                        <a:lnTo>
                          <a:pt x="196" y="28"/>
                        </a:lnTo>
                        <a:lnTo>
                          <a:pt x="211" y="32"/>
                        </a:lnTo>
                        <a:lnTo>
                          <a:pt x="225" y="22"/>
                        </a:lnTo>
                        <a:lnTo>
                          <a:pt x="244" y="22"/>
                        </a:lnTo>
                        <a:lnTo>
                          <a:pt x="266" y="11"/>
                        </a:lnTo>
                        <a:lnTo>
                          <a:pt x="275" y="0"/>
                        </a:lnTo>
                        <a:lnTo>
                          <a:pt x="299"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4" name="Norway" descr="{&quot;Key&quot;:&quot;norway&quot;,&quot;Name&quot;:&quot;Norway&quot;,&quot;Value&quot;:1.0,&quot;Formula&quot;:&quot;&quot;,&quot;Text&quot;:&quot;&quot;,&quot;OfficeApplication&quot;:1,&quot;HasValue&quot;:true}">
                    <a:extLst>
                      <a:ext uri="{FF2B5EF4-FFF2-40B4-BE49-F238E27FC236}">
                        <a16:creationId xmlns:a16="http://schemas.microsoft.com/office/drawing/2014/main" id="{42247AD5-82A8-AE10-5B0E-99D2DF092465}"/>
                      </a:ext>
                    </a:extLst>
                  </p:cNvPr>
                  <p:cNvSpPr>
                    <a:spLocks noEditPoints="1"/>
                  </p:cNvSpPr>
                  <p:nvPr/>
                </p:nvSpPr>
                <p:spPr bwMode="auto">
                  <a:xfrm>
                    <a:off x="1479" y="1058"/>
                    <a:ext cx="815" cy="424"/>
                  </a:xfrm>
                  <a:custGeom>
                    <a:avLst/>
                    <a:gdLst>
                      <a:gd name="T0" fmla="*/ 2125 w 2921"/>
                      <a:gd name="T1" fmla="*/ 680 h 1521"/>
                      <a:gd name="T2" fmla="*/ 1982 w 2921"/>
                      <a:gd name="T3" fmla="*/ 676 h 1521"/>
                      <a:gd name="T4" fmla="*/ 1820 w 2921"/>
                      <a:gd name="T5" fmla="*/ 756 h 1521"/>
                      <a:gd name="T6" fmla="*/ 1710 w 2921"/>
                      <a:gd name="T7" fmla="*/ 743 h 1521"/>
                      <a:gd name="T8" fmla="*/ 1640 w 2921"/>
                      <a:gd name="T9" fmla="*/ 725 h 1521"/>
                      <a:gd name="T10" fmla="*/ 1546 w 2921"/>
                      <a:gd name="T11" fmla="*/ 773 h 1521"/>
                      <a:gd name="T12" fmla="*/ 1401 w 2921"/>
                      <a:gd name="T13" fmla="*/ 800 h 1521"/>
                      <a:gd name="T14" fmla="*/ 1260 w 2921"/>
                      <a:gd name="T15" fmla="*/ 850 h 1521"/>
                      <a:gd name="T16" fmla="*/ 926 w 2921"/>
                      <a:gd name="T17" fmla="*/ 1028 h 1521"/>
                      <a:gd name="T18" fmla="*/ 869 w 2921"/>
                      <a:gd name="T19" fmla="*/ 1081 h 1521"/>
                      <a:gd name="T20" fmla="*/ 706 w 2921"/>
                      <a:gd name="T21" fmla="*/ 1148 h 1521"/>
                      <a:gd name="T22" fmla="*/ 605 w 2921"/>
                      <a:gd name="T23" fmla="*/ 1283 h 1521"/>
                      <a:gd name="T24" fmla="*/ 399 w 2921"/>
                      <a:gd name="T25" fmla="*/ 1420 h 1521"/>
                      <a:gd name="T26" fmla="*/ 337 w 2921"/>
                      <a:gd name="T27" fmla="*/ 1418 h 1521"/>
                      <a:gd name="T28" fmla="*/ 41 w 2921"/>
                      <a:gd name="T29" fmla="*/ 1521 h 1521"/>
                      <a:gd name="T30" fmla="*/ 62 w 2921"/>
                      <a:gd name="T31" fmla="*/ 1403 h 1521"/>
                      <a:gd name="T32" fmla="*/ 331 w 2921"/>
                      <a:gd name="T33" fmla="*/ 1185 h 1521"/>
                      <a:gd name="T34" fmla="*/ 736 w 2921"/>
                      <a:gd name="T35" fmla="*/ 1050 h 1521"/>
                      <a:gd name="T36" fmla="*/ 1229 w 2921"/>
                      <a:gd name="T37" fmla="*/ 814 h 1521"/>
                      <a:gd name="T38" fmla="*/ 1621 w 2921"/>
                      <a:gd name="T39" fmla="*/ 676 h 1521"/>
                      <a:gd name="T40" fmla="*/ 1849 w 2921"/>
                      <a:gd name="T41" fmla="*/ 650 h 1521"/>
                      <a:gd name="T42" fmla="*/ 2081 w 2921"/>
                      <a:gd name="T43" fmla="*/ 598 h 1521"/>
                      <a:gd name="T44" fmla="*/ 2292 w 2921"/>
                      <a:gd name="T45" fmla="*/ 634 h 1521"/>
                      <a:gd name="T46" fmla="*/ 2217 w 2921"/>
                      <a:gd name="T47" fmla="*/ 694 h 1521"/>
                      <a:gd name="T48" fmla="*/ 2051 w 2921"/>
                      <a:gd name="T49" fmla="*/ 728 h 1521"/>
                      <a:gd name="T50" fmla="*/ 2450 w 2921"/>
                      <a:gd name="T51" fmla="*/ 184 h 1521"/>
                      <a:gd name="T52" fmla="*/ 2448 w 2921"/>
                      <a:gd name="T53" fmla="*/ 154 h 1521"/>
                      <a:gd name="T54" fmla="*/ 2566 w 2921"/>
                      <a:gd name="T55" fmla="*/ 124 h 1521"/>
                      <a:gd name="T56" fmla="*/ 2593 w 2921"/>
                      <a:gd name="T57" fmla="*/ 159 h 1521"/>
                      <a:gd name="T58" fmla="*/ 2554 w 2921"/>
                      <a:gd name="T59" fmla="*/ 94 h 1521"/>
                      <a:gd name="T60" fmla="*/ 2301 w 2921"/>
                      <a:gd name="T61" fmla="*/ 160 h 1521"/>
                      <a:gd name="T62" fmla="*/ 2137 w 2921"/>
                      <a:gd name="T63" fmla="*/ 222 h 1521"/>
                      <a:gd name="T64" fmla="*/ 2037 w 2921"/>
                      <a:gd name="T65" fmla="*/ 187 h 1521"/>
                      <a:gd name="T66" fmla="*/ 2076 w 2921"/>
                      <a:gd name="T67" fmla="*/ 149 h 1521"/>
                      <a:gd name="T68" fmla="*/ 2122 w 2921"/>
                      <a:gd name="T69" fmla="*/ 55 h 1521"/>
                      <a:gd name="T70" fmla="*/ 2270 w 2921"/>
                      <a:gd name="T71" fmla="*/ 54 h 1521"/>
                      <a:gd name="T72" fmla="*/ 2387 w 2921"/>
                      <a:gd name="T73" fmla="*/ 35 h 1521"/>
                      <a:gd name="T74" fmla="*/ 2477 w 2921"/>
                      <a:gd name="T75" fmla="*/ 51 h 1521"/>
                      <a:gd name="T76" fmla="*/ 2921 w 2921"/>
                      <a:gd name="T77" fmla="*/ 32 h 1521"/>
                      <a:gd name="T78" fmla="*/ 2664 w 2921"/>
                      <a:gd name="T79" fmla="*/ 69 h 1521"/>
                      <a:gd name="T80" fmla="*/ 2565 w 2921"/>
                      <a:gd name="T81" fmla="*/ 44 h 1521"/>
                      <a:gd name="T82" fmla="*/ 2500 w 2921"/>
                      <a:gd name="T83" fmla="*/ 17 h 1521"/>
                      <a:gd name="T84" fmla="*/ 2705 w 2921"/>
                      <a:gd name="T85" fmla="*/ 16 h 1521"/>
                      <a:gd name="T86" fmla="*/ 2866 w 2921"/>
                      <a:gd name="T87" fmla="*/ 13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21" h="1521">
                        <a:moveTo>
                          <a:pt x="2051" y="728"/>
                        </a:moveTo>
                        <a:lnTo>
                          <a:pt x="2125" y="680"/>
                        </a:lnTo>
                        <a:lnTo>
                          <a:pt x="2089" y="653"/>
                        </a:lnTo>
                        <a:lnTo>
                          <a:pt x="1982" y="676"/>
                        </a:lnTo>
                        <a:lnTo>
                          <a:pt x="1902" y="726"/>
                        </a:lnTo>
                        <a:lnTo>
                          <a:pt x="1820" y="756"/>
                        </a:lnTo>
                        <a:lnTo>
                          <a:pt x="1781" y="740"/>
                        </a:lnTo>
                        <a:lnTo>
                          <a:pt x="1710" y="743"/>
                        </a:lnTo>
                        <a:lnTo>
                          <a:pt x="1692" y="706"/>
                        </a:lnTo>
                        <a:lnTo>
                          <a:pt x="1640" y="725"/>
                        </a:lnTo>
                        <a:lnTo>
                          <a:pt x="1605" y="728"/>
                        </a:lnTo>
                        <a:lnTo>
                          <a:pt x="1546" y="773"/>
                        </a:lnTo>
                        <a:lnTo>
                          <a:pt x="1460" y="763"/>
                        </a:lnTo>
                        <a:lnTo>
                          <a:pt x="1401" y="800"/>
                        </a:lnTo>
                        <a:lnTo>
                          <a:pt x="1351" y="800"/>
                        </a:lnTo>
                        <a:lnTo>
                          <a:pt x="1260" y="850"/>
                        </a:lnTo>
                        <a:lnTo>
                          <a:pt x="1120" y="928"/>
                        </a:lnTo>
                        <a:lnTo>
                          <a:pt x="926" y="1028"/>
                        </a:lnTo>
                        <a:lnTo>
                          <a:pt x="919" y="1053"/>
                        </a:lnTo>
                        <a:lnTo>
                          <a:pt x="869" y="1081"/>
                        </a:lnTo>
                        <a:lnTo>
                          <a:pt x="816" y="1080"/>
                        </a:lnTo>
                        <a:lnTo>
                          <a:pt x="706" y="1148"/>
                        </a:lnTo>
                        <a:lnTo>
                          <a:pt x="607" y="1245"/>
                        </a:lnTo>
                        <a:lnTo>
                          <a:pt x="605" y="1283"/>
                        </a:lnTo>
                        <a:lnTo>
                          <a:pt x="497" y="1369"/>
                        </a:lnTo>
                        <a:lnTo>
                          <a:pt x="399" y="1420"/>
                        </a:lnTo>
                        <a:lnTo>
                          <a:pt x="331" y="1464"/>
                        </a:lnTo>
                        <a:lnTo>
                          <a:pt x="337" y="1418"/>
                        </a:lnTo>
                        <a:lnTo>
                          <a:pt x="136" y="1504"/>
                        </a:lnTo>
                        <a:lnTo>
                          <a:pt x="41" y="1521"/>
                        </a:lnTo>
                        <a:lnTo>
                          <a:pt x="0" y="1484"/>
                        </a:lnTo>
                        <a:lnTo>
                          <a:pt x="62" y="1403"/>
                        </a:lnTo>
                        <a:lnTo>
                          <a:pt x="227" y="1233"/>
                        </a:lnTo>
                        <a:lnTo>
                          <a:pt x="331" y="1185"/>
                        </a:lnTo>
                        <a:lnTo>
                          <a:pt x="545" y="1124"/>
                        </a:lnTo>
                        <a:lnTo>
                          <a:pt x="736" y="1050"/>
                        </a:lnTo>
                        <a:lnTo>
                          <a:pt x="946" y="950"/>
                        </a:lnTo>
                        <a:lnTo>
                          <a:pt x="1229" y="814"/>
                        </a:lnTo>
                        <a:lnTo>
                          <a:pt x="1377" y="763"/>
                        </a:lnTo>
                        <a:lnTo>
                          <a:pt x="1621" y="676"/>
                        </a:lnTo>
                        <a:lnTo>
                          <a:pt x="1769" y="646"/>
                        </a:lnTo>
                        <a:lnTo>
                          <a:pt x="1849" y="650"/>
                        </a:lnTo>
                        <a:lnTo>
                          <a:pt x="1991" y="595"/>
                        </a:lnTo>
                        <a:lnTo>
                          <a:pt x="2081" y="598"/>
                        </a:lnTo>
                        <a:lnTo>
                          <a:pt x="2187" y="584"/>
                        </a:lnTo>
                        <a:lnTo>
                          <a:pt x="2292" y="634"/>
                        </a:lnTo>
                        <a:lnTo>
                          <a:pt x="2207" y="651"/>
                        </a:lnTo>
                        <a:lnTo>
                          <a:pt x="2217" y="694"/>
                        </a:lnTo>
                        <a:lnTo>
                          <a:pt x="2100" y="721"/>
                        </a:lnTo>
                        <a:lnTo>
                          <a:pt x="2051" y="728"/>
                        </a:lnTo>
                        <a:close/>
                        <a:moveTo>
                          <a:pt x="2593" y="159"/>
                        </a:moveTo>
                        <a:lnTo>
                          <a:pt x="2450" y="184"/>
                        </a:lnTo>
                        <a:lnTo>
                          <a:pt x="2391" y="170"/>
                        </a:lnTo>
                        <a:lnTo>
                          <a:pt x="2448" y="154"/>
                        </a:lnTo>
                        <a:lnTo>
                          <a:pt x="2451" y="135"/>
                        </a:lnTo>
                        <a:lnTo>
                          <a:pt x="2566" y="124"/>
                        </a:lnTo>
                        <a:lnTo>
                          <a:pt x="2549" y="145"/>
                        </a:lnTo>
                        <a:lnTo>
                          <a:pt x="2593" y="159"/>
                        </a:lnTo>
                        <a:close/>
                        <a:moveTo>
                          <a:pt x="2477" y="51"/>
                        </a:moveTo>
                        <a:lnTo>
                          <a:pt x="2554" y="94"/>
                        </a:lnTo>
                        <a:lnTo>
                          <a:pt x="2400" y="117"/>
                        </a:lnTo>
                        <a:lnTo>
                          <a:pt x="2301" y="160"/>
                        </a:lnTo>
                        <a:lnTo>
                          <a:pt x="2242" y="171"/>
                        </a:lnTo>
                        <a:lnTo>
                          <a:pt x="2137" y="222"/>
                        </a:lnTo>
                        <a:lnTo>
                          <a:pt x="2076" y="225"/>
                        </a:lnTo>
                        <a:lnTo>
                          <a:pt x="2037" y="187"/>
                        </a:lnTo>
                        <a:lnTo>
                          <a:pt x="2116" y="166"/>
                        </a:lnTo>
                        <a:lnTo>
                          <a:pt x="2076" y="149"/>
                        </a:lnTo>
                        <a:lnTo>
                          <a:pt x="2076" y="99"/>
                        </a:lnTo>
                        <a:lnTo>
                          <a:pt x="2122" y="55"/>
                        </a:lnTo>
                        <a:lnTo>
                          <a:pt x="2282" y="35"/>
                        </a:lnTo>
                        <a:lnTo>
                          <a:pt x="2270" y="54"/>
                        </a:lnTo>
                        <a:lnTo>
                          <a:pt x="2336" y="54"/>
                        </a:lnTo>
                        <a:lnTo>
                          <a:pt x="2387" y="35"/>
                        </a:lnTo>
                        <a:lnTo>
                          <a:pt x="2456" y="32"/>
                        </a:lnTo>
                        <a:lnTo>
                          <a:pt x="2477" y="51"/>
                        </a:lnTo>
                        <a:close/>
                        <a:moveTo>
                          <a:pt x="2866" y="13"/>
                        </a:moveTo>
                        <a:lnTo>
                          <a:pt x="2921" y="32"/>
                        </a:lnTo>
                        <a:lnTo>
                          <a:pt x="2805" y="62"/>
                        </a:lnTo>
                        <a:lnTo>
                          <a:pt x="2664" y="69"/>
                        </a:lnTo>
                        <a:lnTo>
                          <a:pt x="2546" y="60"/>
                        </a:lnTo>
                        <a:lnTo>
                          <a:pt x="2565" y="44"/>
                        </a:lnTo>
                        <a:lnTo>
                          <a:pt x="2502" y="42"/>
                        </a:lnTo>
                        <a:lnTo>
                          <a:pt x="2500" y="17"/>
                        </a:lnTo>
                        <a:lnTo>
                          <a:pt x="2664" y="2"/>
                        </a:lnTo>
                        <a:lnTo>
                          <a:pt x="2705" y="16"/>
                        </a:lnTo>
                        <a:lnTo>
                          <a:pt x="2777" y="0"/>
                        </a:lnTo>
                        <a:lnTo>
                          <a:pt x="2866" y="1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5" name="Nepal" descr="{&quot;Key&quot;:&quot;nepal&quot;,&quot;Name&quot;:&quot;Nepal&quot;,&quot;Value&quot;:1.0,&quot;Formula&quot;:&quot;&quot;,&quot;Text&quot;:&quot;&quot;,&quot;OfficeApplication&quot;:1,&quot;HasValue&quot;:true}">
                    <a:extLst>
                      <a:ext uri="{FF2B5EF4-FFF2-40B4-BE49-F238E27FC236}">
                        <a16:creationId xmlns:a16="http://schemas.microsoft.com/office/drawing/2014/main" id="{64025C0D-496E-A67F-065D-F675E58638FC}"/>
                      </a:ext>
                    </a:extLst>
                  </p:cNvPr>
                  <p:cNvSpPr>
                    <a:spLocks/>
                  </p:cNvSpPr>
                  <p:nvPr/>
                </p:nvSpPr>
                <p:spPr bwMode="auto">
                  <a:xfrm>
                    <a:off x="2468" y="2095"/>
                    <a:ext cx="152" cy="91"/>
                  </a:xfrm>
                  <a:custGeom>
                    <a:avLst/>
                    <a:gdLst>
                      <a:gd name="T0" fmla="*/ 545 w 545"/>
                      <a:gd name="T1" fmla="*/ 208 h 328"/>
                      <a:gd name="T2" fmla="*/ 535 w 545"/>
                      <a:gd name="T3" fmla="*/ 243 h 328"/>
                      <a:gd name="T4" fmla="*/ 537 w 545"/>
                      <a:gd name="T5" fmla="*/ 294 h 328"/>
                      <a:gd name="T6" fmla="*/ 524 w 545"/>
                      <a:gd name="T7" fmla="*/ 326 h 328"/>
                      <a:gd name="T8" fmla="*/ 467 w 545"/>
                      <a:gd name="T9" fmla="*/ 328 h 328"/>
                      <a:gd name="T10" fmla="*/ 385 w 545"/>
                      <a:gd name="T11" fmla="*/ 309 h 328"/>
                      <a:gd name="T12" fmla="*/ 333 w 545"/>
                      <a:gd name="T13" fmla="*/ 301 h 328"/>
                      <a:gd name="T14" fmla="*/ 298 w 545"/>
                      <a:gd name="T15" fmla="*/ 260 h 328"/>
                      <a:gd name="T16" fmla="*/ 205 w 545"/>
                      <a:gd name="T17" fmla="*/ 249 h 328"/>
                      <a:gd name="T18" fmla="*/ 122 w 545"/>
                      <a:gd name="T19" fmla="*/ 204 h 328"/>
                      <a:gd name="T20" fmla="*/ 63 w 545"/>
                      <a:gd name="T21" fmla="*/ 164 h 328"/>
                      <a:gd name="T22" fmla="*/ 0 w 545"/>
                      <a:gd name="T23" fmla="*/ 133 h 328"/>
                      <a:gd name="T24" fmla="*/ 42 w 545"/>
                      <a:gd name="T25" fmla="*/ 56 h 328"/>
                      <a:gd name="T26" fmla="*/ 92 w 545"/>
                      <a:gd name="T27" fmla="*/ 20 h 328"/>
                      <a:gd name="T28" fmla="*/ 124 w 545"/>
                      <a:gd name="T29" fmla="*/ 0 h 328"/>
                      <a:gd name="T30" fmla="*/ 174 w 545"/>
                      <a:gd name="T31" fmla="*/ 25 h 328"/>
                      <a:gd name="T32" fmla="*/ 235 w 545"/>
                      <a:gd name="T33" fmla="*/ 79 h 328"/>
                      <a:gd name="T34" fmla="*/ 271 w 545"/>
                      <a:gd name="T35" fmla="*/ 90 h 328"/>
                      <a:gd name="T36" fmla="*/ 288 w 545"/>
                      <a:gd name="T37" fmla="*/ 129 h 328"/>
                      <a:gd name="T38" fmla="*/ 339 w 545"/>
                      <a:gd name="T39" fmla="*/ 145 h 328"/>
                      <a:gd name="T40" fmla="*/ 390 w 545"/>
                      <a:gd name="T41" fmla="*/ 181 h 328"/>
                      <a:gd name="T42" fmla="*/ 465 w 545"/>
                      <a:gd name="T43" fmla="*/ 200 h 328"/>
                      <a:gd name="T44" fmla="*/ 545 w 545"/>
                      <a:gd name="T45" fmla="*/ 20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5" h="328">
                        <a:moveTo>
                          <a:pt x="545" y="208"/>
                        </a:moveTo>
                        <a:lnTo>
                          <a:pt x="535" y="243"/>
                        </a:lnTo>
                        <a:lnTo>
                          <a:pt x="537" y="294"/>
                        </a:lnTo>
                        <a:lnTo>
                          <a:pt x="524" y="326"/>
                        </a:lnTo>
                        <a:lnTo>
                          <a:pt x="467" y="328"/>
                        </a:lnTo>
                        <a:lnTo>
                          <a:pt x="385" y="309"/>
                        </a:lnTo>
                        <a:lnTo>
                          <a:pt x="333" y="301"/>
                        </a:lnTo>
                        <a:lnTo>
                          <a:pt x="298" y="260"/>
                        </a:lnTo>
                        <a:lnTo>
                          <a:pt x="205" y="249"/>
                        </a:lnTo>
                        <a:lnTo>
                          <a:pt x="122" y="204"/>
                        </a:lnTo>
                        <a:lnTo>
                          <a:pt x="63" y="164"/>
                        </a:lnTo>
                        <a:lnTo>
                          <a:pt x="0" y="133"/>
                        </a:lnTo>
                        <a:lnTo>
                          <a:pt x="42" y="56"/>
                        </a:lnTo>
                        <a:lnTo>
                          <a:pt x="92" y="20"/>
                        </a:lnTo>
                        <a:lnTo>
                          <a:pt x="124" y="0"/>
                        </a:lnTo>
                        <a:lnTo>
                          <a:pt x="174" y="25"/>
                        </a:lnTo>
                        <a:lnTo>
                          <a:pt x="235" y="79"/>
                        </a:lnTo>
                        <a:lnTo>
                          <a:pt x="271" y="90"/>
                        </a:lnTo>
                        <a:lnTo>
                          <a:pt x="288" y="129"/>
                        </a:lnTo>
                        <a:lnTo>
                          <a:pt x="339" y="145"/>
                        </a:lnTo>
                        <a:lnTo>
                          <a:pt x="390" y="181"/>
                        </a:lnTo>
                        <a:lnTo>
                          <a:pt x="465" y="200"/>
                        </a:lnTo>
                        <a:lnTo>
                          <a:pt x="545" y="20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6" name="Oman" descr="{&quot;Key&quot;:&quot;oman&quot;,&quot;Name&quot;:&quot;Oman&quot;,&quot;Value&quot;:1.0,&quot;Formula&quot;:&quot;&quot;,&quot;Text&quot;:&quot;&quot;,&quot;OfficeApplication&quot;:1,&quot;HasValue&quot;:true}">
                    <a:extLst>
                      <a:ext uri="{FF2B5EF4-FFF2-40B4-BE49-F238E27FC236}">
                        <a16:creationId xmlns:a16="http://schemas.microsoft.com/office/drawing/2014/main" id="{F4C4659A-F2A1-57FE-99EA-8AFC6168B4C1}"/>
                      </a:ext>
                    </a:extLst>
                  </p:cNvPr>
                  <p:cNvSpPr>
                    <a:spLocks noEditPoints="1"/>
                  </p:cNvSpPr>
                  <p:nvPr/>
                </p:nvSpPr>
                <p:spPr bwMode="auto">
                  <a:xfrm>
                    <a:off x="1887" y="2186"/>
                    <a:ext cx="165" cy="221"/>
                  </a:xfrm>
                  <a:custGeom>
                    <a:avLst/>
                    <a:gdLst>
                      <a:gd name="T0" fmla="*/ 52 w 590"/>
                      <a:gd name="T1" fmla="*/ 792 h 792"/>
                      <a:gd name="T2" fmla="*/ 37 w 590"/>
                      <a:gd name="T3" fmla="*/ 735 h 792"/>
                      <a:gd name="T4" fmla="*/ 0 w 590"/>
                      <a:gd name="T5" fmla="*/ 601 h 792"/>
                      <a:gd name="T6" fmla="*/ 223 w 590"/>
                      <a:gd name="T7" fmla="*/ 520 h 792"/>
                      <a:gd name="T8" fmla="*/ 293 w 590"/>
                      <a:gd name="T9" fmla="*/ 357 h 792"/>
                      <a:gd name="T10" fmla="*/ 269 w 590"/>
                      <a:gd name="T11" fmla="*/ 300 h 792"/>
                      <a:gd name="T12" fmla="*/ 277 w 590"/>
                      <a:gd name="T13" fmla="*/ 267 h 792"/>
                      <a:gd name="T14" fmla="*/ 303 w 590"/>
                      <a:gd name="T15" fmla="*/ 233 h 792"/>
                      <a:gd name="T16" fmla="*/ 308 w 590"/>
                      <a:gd name="T17" fmla="*/ 200 h 792"/>
                      <a:gd name="T18" fmla="*/ 342 w 590"/>
                      <a:gd name="T19" fmla="*/ 183 h 792"/>
                      <a:gd name="T20" fmla="*/ 332 w 590"/>
                      <a:gd name="T21" fmla="*/ 172 h 792"/>
                      <a:gd name="T22" fmla="*/ 347 w 590"/>
                      <a:gd name="T23" fmla="*/ 120 h 792"/>
                      <a:gd name="T24" fmla="*/ 383 w 590"/>
                      <a:gd name="T25" fmla="*/ 120 h 792"/>
                      <a:gd name="T26" fmla="*/ 404 w 590"/>
                      <a:gd name="T27" fmla="*/ 175 h 792"/>
                      <a:gd name="T28" fmla="*/ 438 w 590"/>
                      <a:gd name="T29" fmla="*/ 204 h 792"/>
                      <a:gd name="T30" fmla="*/ 488 w 590"/>
                      <a:gd name="T31" fmla="*/ 214 h 792"/>
                      <a:gd name="T32" fmla="*/ 528 w 590"/>
                      <a:gd name="T33" fmla="*/ 229 h 792"/>
                      <a:gd name="T34" fmla="*/ 552 w 590"/>
                      <a:gd name="T35" fmla="*/ 277 h 792"/>
                      <a:gd name="T36" fmla="*/ 567 w 590"/>
                      <a:gd name="T37" fmla="*/ 303 h 792"/>
                      <a:gd name="T38" fmla="*/ 590 w 590"/>
                      <a:gd name="T39" fmla="*/ 313 h 792"/>
                      <a:gd name="T40" fmla="*/ 588 w 590"/>
                      <a:gd name="T41" fmla="*/ 332 h 792"/>
                      <a:gd name="T42" fmla="*/ 555 w 590"/>
                      <a:gd name="T43" fmla="*/ 381 h 792"/>
                      <a:gd name="T44" fmla="*/ 540 w 590"/>
                      <a:gd name="T45" fmla="*/ 403 h 792"/>
                      <a:gd name="T46" fmla="*/ 508 w 590"/>
                      <a:gd name="T47" fmla="*/ 430 h 792"/>
                      <a:gd name="T48" fmla="*/ 474 w 590"/>
                      <a:gd name="T49" fmla="*/ 485 h 792"/>
                      <a:gd name="T50" fmla="*/ 443 w 590"/>
                      <a:gd name="T51" fmla="*/ 481 h 792"/>
                      <a:gd name="T52" fmla="*/ 425 w 590"/>
                      <a:gd name="T53" fmla="*/ 500 h 792"/>
                      <a:gd name="T54" fmla="*/ 408 w 590"/>
                      <a:gd name="T55" fmla="*/ 541 h 792"/>
                      <a:gd name="T56" fmla="*/ 409 w 590"/>
                      <a:gd name="T57" fmla="*/ 596 h 792"/>
                      <a:gd name="T58" fmla="*/ 402 w 590"/>
                      <a:gd name="T59" fmla="*/ 606 h 792"/>
                      <a:gd name="T60" fmla="*/ 369 w 590"/>
                      <a:gd name="T61" fmla="*/ 606 h 792"/>
                      <a:gd name="T62" fmla="*/ 320 w 590"/>
                      <a:gd name="T63" fmla="*/ 636 h 792"/>
                      <a:gd name="T64" fmla="*/ 309 w 590"/>
                      <a:gd name="T65" fmla="*/ 675 h 792"/>
                      <a:gd name="T66" fmla="*/ 290 w 590"/>
                      <a:gd name="T67" fmla="*/ 692 h 792"/>
                      <a:gd name="T68" fmla="*/ 247 w 590"/>
                      <a:gd name="T69" fmla="*/ 692 h 792"/>
                      <a:gd name="T70" fmla="*/ 215 w 590"/>
                      <a:gd name="T71" fmla="*/ 712 h 792"/>
                      <a:gd name="T72" fmla="*/ 212 w 590"/>
                      <a:gd name="T73" fmla="*/ 745 h 792"/>
                      <a:gd name="T74" fmla="*/ 174 w 590"/>
                      <a:gd name="T75" fmla="*/ 767 h 792"/>
                      <a:gd name="T76" fmla="*/ 137 w 590"/>
                      <a:gd name="T77" fmla="*/ 760 h 792"/>
                      <a:gd name="T78" fmla="*/ 85 w 590"/>
                      <a:gd name="T79" fmla="*/ 787 h 792"/>
                      <a:gd name="T80" fmla="*/ 52 w 590"/>
                      <a:gd name="T81" fmla="*/ 792 h 792"/>
                      <a:gd name="T82" fmla="*/ 384 w 590"/>
                      <a:gd name="T83" fmla="*/ 55 h 792"/>
                      <a:gd name="T84" fmla="*/ 377 w 590"/>
                      <a:gd name="T85" fmla="*/ 27 h 792"/>
                      <a:gd name="T86" fmla="*/ 403 w 590"/>
                      <a:gd name="T87" fmla="*/ 0 h 792"/>
                      <a:gd name="T88" fmla="*/ 409 w 590"/>
                      <a:gd name="T89" fmla="*/ 7 h 792"/>
                      <a:gd name="T90" fmla="*/ 397 w 590"/>
                      <a:gd name="T91" fmla="*/ 41 h 792"/>
                      <a:gd name="T92" fmla="*/ 384 w 590"/>
                      <a:gd name="T93" fmla="*/ 55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90" h="792">
                        <a:moveTo>
                          <a:pt x="52" y="792"/>
                        </a:moveTo>
                        <a:lnTo>
                          <a:pt x="37" y="735"/>
                        </a:lnTo>
                        <a:lnTo>
                          <a:pt x="0" y="601"/>
                        </a:lnTo>
                        <a:lnTo>
                          <a:pt x="223" y="520"/>
                        </a:lnTo>
                        <a:lnTo>
                          <a:pt x="293" y="357"/>
                        </a:lnTo>
                        <a:lnTo>
                          <a:pt x="269" y="300"/>
                        </a:lnTo>
                        <a:lnTo>
                          <a:pt x="277" y="267"/>
                        </a:lnTo>
                        <a:lnTo>
                          <a:pt x="303" y="233"/>
                        </a:lnTo>
                        <a:lnTo>
                          <a:pt x="308" y="200"/>
                        </a:lnTo>
                        <a:lnTo>
                          <a:pt x="342" y="183"/>
                        </a:lnTo>
                        <a:lnTo>
                          <a:pt x="332" y="172"/>
                        </a:lnTo>
                        <a:lnTo>
                          <a:pt x="347" y="120"/>
                        </a:lnTo>
                        <a:lnTo>
                          <a:pt x="383" y="120"/>
                        </a:lnTo>
                        <a:lnTo>
                          <a:pt x="404" y="175"/>
                        </a:lnTo>
                        <a:lnTo>
                          <a:pt x="438" y="204"/>
                        </a:lnTo>
                        <a:lnTo>
                          <a:pt x="488" y="214"/>
                        </a:lnTo>
                        <a:lnTo>
                          <a:pt x="528" y="229"/>
                        </a:lnTo>
                        <a:lnTo>
                          <a:pt x="552" y="277"/>
                        </a:lnTo>
                        <a:lnTo>
                          <a:pt x="567" y="303"/>
                        </a:lnTo>
                        <a:lnTo>
                          <a:pt x="590" y="313"/>
                        </a:lnTo>
                        <a:lnTo>
                          <a:pt x="588" y="332"/>
                        </a:lnTo>
                        <a:lnTo>
                          <a:pt x="555" y="381"/>
                        </a:lnTo>
                        <a:lnTo>
                          <a:pt x="540" y="403"/>
                        </a:lnTo>
                        <a:lnTo>
                          <a:pt x="508" y="430"/>
                        </a:lnTo>
                        <a:lnTo>
                          <a:pt x="474" y="485"/>
                        </a:lnTo>
                        <a:lnTo>
                          <a:pt x="443" y="481"/>
                        </a:lnTo>
                        <a:lnTo>
                          <a:pt x="425" y="500"/>
                        </a:lnTo>
                        <a:lnTo>
                          <a:pt x="408" y="541"/>
                        </a:lnTo>
                        <a:lnTo>
                          <a:pt x="409" y="596"/>
                        </a:lnTo>
                        <a:lnTo>
                          <a:pt x="402" y="606"/>
                        </a:lnTo>
                        <a:lnTo>
                          <a:pt x="369" y="606"/>
                        </a:lnTo>
                        <a:lnTo>
                          <a:pt x="320" y="636"/>
                        </a:lnTo>
                        <a:lnTo>
                          <a:pt x="309" y="675"/>
                        </a:lnTo>
                        <a:lnTo>
                          <a:pt x="290" y="692"/>
                        </a:lnTo>
                        <a:lnTo>
                          <a:pt x="247" y="692"/>
                        </a:lnTo>
                        <a:lnTo>
                          <a:pt x="215" y="712"/>
                        </a:lnTo>
                        <a:lnTo>
                          <a:pt x="212" y="745"/>
                        </a:lnTo>
                        <a:lnTo>
                          <a:pt x="174" y="767"/>
                        </a:lnTo>
                        <a:lnTo>
                          <a:pt x="137" y="760"/>
                        </a:lnTo>
                        <a:lnTo>
                          <a:pt x="85" y="787"/>
                        </a:lnTo>
                        <a:lnTo>
                          <a:pt x="52" y="792"/>
                        </a:lnTo>
                        <a:close/>
                        <a:moveTo>
                          <a:pt x="384" y="55"/>
                        </a:moveTo>
                        <a:lnTo>
                          <a:pt x="377" y="27"/>
                        </a:lnTo>
                        <a:lnTo>
                          <a:pt x="403" y="0"/>
                        </a:lnTo>
                        <a:lnTo>
                          <a:pt x="409" y="7"/>
                        </a:lnTo>
                        <a:lnTo>
                          <a:pt x="397" y="41"/>
                        </a:lnTo>
                        <a:lnTo>
                          <a:pt x="384" y="5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7" name="Pakistan" descr="{&quot;Key&quot;:&quot;pakistan&quot;,&quot;Name&quot;:&quot;Pakistan&quot;,&quot;Value&quot;:1.0,&quot;Formula&quot;:&quot;&quot;,&quot;Text&quot;:&quot;&quot;,&quot;OfficeApplication&quot;:1,&quot;HasValue&quot;:true}">
                    <a:extLst>
                      <a:ext uri="{FF2B5EF4-FFF2-40B4-BE49-F238E27FC236}">
                        <a16:creationId xmlns:a16="http://schemas.microsoft.com/office/drawing/2014/main" id="{69D4E1EA-0D4B-EBC9-5D29-603F7D19AA74}"/>
                      </a:ext>
                    </a:extLst>
                  </p:cNvPr>
                  <p:cNvSpPr>
                    <a:spLocks/>
                  </p:cNvSpPr>
                  <p:nvPr/>
                </p:nvSpPr>
                <p:spPr bwMode="auto">
                  <a:xfrm>
                    <a:off x="2093" y="1943"/>
                    <a:ext cx="365" cy="305"/>
                  </a:xfrm>
                  <a:custGeom>
                    <a:avLst/>
                    <a:gdLst>
                      <a:gd name="T0" fmla="*/ 1225 w 1308"/>
                      <a:gd name="T1" fmla="*/ 201 h 1093"/>
                      <a:gd name="T2" fmla="*/ 1049 w 1308"/>
                      <a:gd name="T3" fmla="*/ 194 h 1093"/>
                      <a:gd name="T4" fmla="*/ 1014 w 1308"/>
                      <a:gd name="T5" fmla="*/ 300 h 1093"/>
                      <a:gd name="T6" fmla="*/ 1070 w 1308"/>
                      <a:gd name="T7" fmla="*/ 395 h 1093"/>
                      <a:gd name="T8" fmla="*/ 989 w 1308"/>
                      <a:gd name="T9" fmla="*/ 500 h 1093"/>
                      <a:gd name="T10" fmla="*/ 845 w 1308"/>
                      <a:gd name="T11" fmla="*/ 664 h 1093"/>
                      <a:gd name="T12" fmla="*/ 678 w 1308"/>
                      <a:gd name="T13" fmla="*/ 744 h 1093"/>
                      <a:gd name="T14" fmla="*/ 625 w 1308"/>
                      <a:gd name="T15" fmla="*/ 865 h 1093"/>
                      <a:gd name="T16" fmla="*/ 655 w 1308"/>
                      <a:gd name="T17" fmla="*/ 969 h 1093"/>
                      <a:gd name="T18" fmla="*/ 505 w 1308"/>
                      <a:gd name="T19" fmla="*/ 1039 h 1093"/>
                      <a:gd name="T20" fmla="*/ 402 w 1308"/>
                      <a:gd name="T21" fmla="*/ 1073 h 1093"/>
                      <a:gd name="T22" fmla="*/ 345 w 1308"/>
                      <a:gd name="T23" fmla="*/ 951 h 1093"/>
                      <a:gd name="T24" fmla="*/ 102 w 1308"/>
                      <a:gd name="T25" fmla="*/ 969 h 1093"/>
                      <a:gd name="T26" fmla="*/ 44 w 1308"/>
                      <a:gd name="T27" fmla="*/ 885 h 1093"/>
                      <a:gd name="T28" fmla="*/ 153 w 1308"/>
                      <a:gd name="T29" fmla="*/ 806 h 1093"/>
                      <a:gd name="T30" fmla="*/ 135 w 1308"/>
                      <a:gd name="T31" fmla="*/ 721 h 1093"/>
                      <a:gd name="T32" fmla="*/ 60 w 1308"/>
                      <a:gd name="T33" fmla="*/ 636 h 1093"/>
                      <a:gd name="T34" fmla="*/ 142 w 1308"/>
                      <a:gd name="T35" fmla="*/ 635 h 1093"/>
                      <a:gd name="T36" fmla="*/ 253 w 1308"/>
                      <a:gd name="T37" fmla="*/ 634 h 1093"/>
                      <a:gd name="T38" fmla="*/ 318 w 1308"/>
                      <a:gd name="T39" fmla="*/ 623 h 1093"/>
                      <a:gd name="T40" fmla="*/ 433 w 1308"/>
                      <a:gd name="T41" fmla="*/ 520 h 1093"/>
                      <a:gd name="T42" fmla="*/ 533 w 1308"/>
                      <a:gd name="T43" fmla="*/ 474 h 1093"/>
                      <a:gd name="T44" fmla="*/ 600 w 1308"/>
                      <a:gd name="T45" fmla="*/ 440 h 1093"/>
                      <a:gd name="T46" fmla="*/ 657 w 1308"/>
                      <a:gd name="T47" fmla="*/ 425 h 1093"/>
                      <a:gd name="T48" fmla="*/ 707 w 1308"/>
                      <a:gd name="T49" fmla="*/ 328 h 1093"/>
                      <a:gd name="T50" fmla="*/ 742 w 1308"/>
                      <a:gd name="T51" fmla="*/ 253 h 1093"/>
                      <a:gd name="T52" fmla="*/ 832 w 1308"/>
                      <a:gd name="T53" fmla="*/ 226 h 1093"/>
                      <a:gd name="T54" fmla="*/ 880 w 1308"/>
                      <a:gd name="T55" fmla="*/ 161 h 1093"/>
                      <a:gd name="T56" fmla="*/ 877 w 1308"/>
                      <a:gd name="T57" fmla="*/ 86 h 1093"/>
                      <a:gd name="T58" fmla="*/ 1003 w 1308"/>
                      <a:gd name="T59" fmla="*/ 34 h 1093"/>
                      <a:gd name="T60" fmla="*/ 1120 w 1308"/>
                      <a:gd name="T61" fmla="*/ 9 h 1093"/>
                      <a:gd name="T62" fmla="*/ 1202 w 1308"/>
                      <a:gd name="T63" fmla="*/ 38 h 1093"/>
                      <a:gd name="T64" fmla="*/ 1308 w 1308"/>
                      <a:gd name="T65" fmla="*/ 134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8" h="1093">
                        <a:moveTo>
                          <a:pt x="1308" y="134"/>
                        </a:moveTo>
                        <a:lnTo>
                          <a:pt x="1225" y="201"/>
                        </a:lnTo>
                        <a:lnTo>
                          <a:pt x="1148" y="214"/>
                        </a:lnTo>
                        <a:lnTo>
                          <a:pt x="1049" y="194"/>
                        </a:lnTo>
                        <a:lnTo>
                          <a:pt x="1008" y="229"/>
                        </a:lnTo>
                        <a:lnTo>
                          <a:pt x="1014" y="300"/>
                        </a:lnTo>
                        <a:lnTo>
                          <a:pt x="1024" y="355"/>
                        </a:lnTo>
                        <a:lnTo>
                          <a:pt x="1070" y="395"/>
                        </a:lnTo>
                        <a:lnTo>
                          <a:pt x="1002" y="442"/>
                        </a:lnTo>
                        <a:lnTo>
                          <a:pt x="989" y="500"/>
                        </a:lnTo>
                        <a:lnTo>
                          <a:pt x="905" y="581"/>
                        </a:lnTo>
                        <a:lnTo>
                          <a:pt x="845" y="664"/>
                        </a:lnTo>
                        <a:lnTo>
                          <a:pt x="758" y="750"/>
                        </a:lnTo>
                        <a:lnTo>
                          <a:pt x="678" y="744"/>
                        </a:lnTo>
                        <a:lnTo>
                          <a:pt x="585" y="829"/>
                        </a:lnTo>
                        <a:lnTo>
                          <a:pt x="625" y="865"/>
                        </a:lnTo>
                        <a:lnTo>
                          <a:pt x="623" y="927"/>
                        </a:lnTo>
                        <a:lnTo>
                          <a:pt x="655" y="969"/>
                        </a:lnTo>
                        <a:lnTo>
                          <a:pt x="659" y="1039"/>
                        </a:lnTo>
                        <a:lnTo>
                          <a:pt x="505" y="1039"/>
                        </a:lnTo>
                        <a:lnTo>
                          <a:pt x="450" y="1093"/>
                        </a:lnTo>
                        <a:lnTo>
                          <a:pt x="402" y="1073"/>
                        </a:lnTo>
                        <a:lnTo>
                          <a:pt x="390" y="1014"/>
                        </a:lnTo>
                        <a:lnTo>
                          <a:pt x="345" y="951"/>
                        </a:lnTo>
                        <a:lnTo>
                          <a:pt x="214" y="968"/>
                        </a:lnTo>
                        <a:lnTo>
                          <a:pt x="102" y="969"/>
                        </a:lnTo>
                        <a:lnTo>
                          <a:pt x="0" y="980"/>
                        </a:lnTo>
                        <a:lnTo>
                          <a:pt x="44" y="885"/>
                        </a:lnTo>
                        <a:lnTo>
                          <a:pt x="152" y="844"/>
                        </a:lnTo>
                        <a:lnTo>
                          <a:pt x="153" y="806"/>
                        </a:lnTo>
                        <a:lnTo>
                          <a:pt x="123" y="792"/>
                        </a:lnTo>
                        <a:lnTo>
                          <a:pt x="135" y="721"/>
                        </a:lnTo>
                        <a:lnTo>
                          <a:pt x="77" y="685"/>
                        </a:lnTo>
                        <a:lnTo>
                          <a:pt x="60" y="636"/>
                        </a:lnTo>
                        <a:lnTo>
                          <a:pt x="37" y="594"/>
                        </a:lnTo>
                        <a:lnTo>
                          <a:pt x="142" y="635"/>
                        </a:lnTo>
                        <a:lnTo>
                          <a:pt x="214" y="623"/>
                        </a:lnTo>
                        <a:lnTo>
                          <a:pt x="253" y="634"/>
                        </a:lnTo>
                        <a:lnTo>
                          <a:pt x="270" y="615"/>
                        </a:lnTo>
                        <a:lnTo>
                          <a:pt x="318" y="623"/>
                        </a:lnTo>
                        <a:lnTo>
                          <a:pt x="414" y="589"/>
                        </a:lnTo>
                        <a:lnTo>
                          <a:pt x="433" y="520"/>
                        </a:lnTo>
                        <a:lnTo>
                          <a:pt x="482" y="474"/>
                        </a:lnTo>
                        <a:lnTo>
                          <a:pt x="533" y="474"/>
                        </a:lnTo>
                        <a:lnTo>
                          <a:pt x="545" y="451"/>
                        </a:lnTo>
                        <a:lnTo>
                          <a:pt x="600" y="440"/>
                        </a:lnTo>
                        <a:lnTo>
                          <a:pt x="624" y="448"/>
                        </a:lnTo>
                        <a:lnTo>
                          <a:pt x="657" y="425"/>
                        </a:lnTo>
                        <a:lnTo>
                          <a:pt x="665" y="376"/>
                        </a:lnTo>
                        <a:lnTo>
                          <a:pt x="707" y="328"/>
                        </a:lnTo>
                        <a:lnTo>
                          <a:pt x="754" y="306"/>
                        </a:lnTo>
                        <a:lnTo>
                          <a:pt x="742" y="253"/>
                        </a:lnTo>
                        <a:lnTo>
                          <a:pt x="805" y="255"/>
                        </a:lnTo>
                        <a:lnTo>
                          <a:pt x="832" y="226"/>
                        </a:lnTo>
                        <a:lnTo>
                          <a:pt x="838" y="195"/>
                        </a:lnTo>
                        <a:lnTo>
                          <a:pt x="880" y="161"/>
                        </a:lnTo>
                        <a:lnTo>
                          <a:pt x="883" y="120"/>
                        </a:lnTo>
                        <a:lnTo>
                          <a:pt x="877" y="86"/>
                        </a:lnTo>
                        <a:lnTo>
                          <a:pt x="925" y="51"/>
                        </a:lnTo>
                        <a:lnTo>
                          <a:pt x="1003" y="34"/>
                        </a:lnTo>
                        <a:lnTo>
                          <a:pt x="1083" y="24"/>
                        </a:lnTo>
                        <a:lnTo>
                          <a:pt x="1120" y="9"/>
                        </a:lnTo>
                        <a:lnTo>
                          <a:pt x="1163" y="0"/>
                        </a:lnTo>
                        <a:lnTo>
                          <a:pt x="1202" y="38"/>
                        </a:lnTo>
                        <a:lnTo>
                          <a:pt x="1205" y="100"/>
                        </a:lnTo>
                        <a:lnTo>
                          <a:pt x="1308" y="13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8" name="Panama" descr="{&quot;Key&quot;:&quot;panama&quot;,&quot;Name&quot;:&quot;Panama&quot;,&quot;Value&quot;:1.0,&quot;Formula&quot;:&quot;&quot;,&quot;Text&quot;:&quot;&quot;,&quot;OfficeApplication&quot;:1,&quot;HasValue&quot;:true}">
                    <a:extLst>
                      <a:ext uri="{FF2B5EF4-FFF2-40B4-BE49-F238E27FC236}">
                        <a16:creationId xmlns:a16="http://schemas.microsoft.com/office/drawing/2014/main" id="{83CEDB07-3997-572E-0CFD-A091868F1957}"/>
                      </a:ext>
                    </a:extLst>
                  </p:cNvPr>
                  <p:cNvSpPr>
                    <a:spLocks/>
                  </p:cNvSpPr>
                  <p:nvPr/>
                </p:nvSpPr>
                <p:spPr bwMode="auto">
                  <a:xfrm>
                    <a:off x="6350" y="2567"/>
                    <a:ext cx="117" cy="54"/>
                  </a:xfrm>
                  <a:custGeom>
                    <a:avLst/>
                    <a:gdLst>
                      <a:gd name="T0" fmla="*/ 405 w 417"/>
                      <a:gd name="T1" fmla="*/ 77 h 194"/>
                      <a:gd name="T2" fmla="*/ 397 w 417"/>
                      <a:gd name="T3" fmla="*/ 88 h 194"/>
                      <a:gd name="T4" fmla="*/ 417 w 417"/>
                      <a:gd name="T5" fmla="*/ 137 h 194"/>
                      <a:gd name="T6" fmla="*/ 406 w 417"/>
                      <a:gd name="T7" fmla="*/ 160 h 194"/>
                      <a:gd name="T8" fmla="*/ 382 w 417"/>
                      <a:gd name="T9" fmla="*/ 154 h 194"/>
                      <a:gd name="T10" fmla="*/ 376 w 417"/>
                      <a:gd name="T11" fmla="*/ 194 h 194"/>
                      <a:gd name="T12" fmla="*/ 350 w 417"/>
                      <a:gd name="T13" fmla="*/ 170 h 194"/>
                      <a:gd name="T14" fmla="*/ 331 w 417"/>
                      <a:gd name="T15" fmla="*/ 127 h 194"/>
                      <a:gd name="T16" fmla="*/ 347 w 417"/>
                      <a:gd name="T17" fmla="*/ 105 h 194"/>
                      <a:gd name="T18" fmla="*/ 328 w 417"/>
                      <a:gd name="T19" fmla="*/ 99 h 194"/>
                      <a:gd name="T20" fmla="*/ 313 w 417"/>
                      <a:gd name="T21" fmla="*/ 73 h 194"/>
                      <a:gd name="T22" fmla="*/ 276 w 417"/>
                      <a:gd name="T23" fmla="*/ 50 h 194"/>
                      <a:gd name="T24" fmla="*/ 245 w 417"/>
                      <a:gd name="T25" fmla="*/ 55 h 194"/>
                      <a:gd name="T26" fmla="*/ 232 w 417"/>
                      <a:gd name="T27" fmla="*/ 83 h 194"/>
                      <a:gd name="T28" fmla="*/ 206 w 417"/>
                      <a:gd name="T29" fmla="*/ 104 h 194"/>
                      <a:gd name="T30" fmla="*/ 190 w 417"/>
                      <a:gd name="T31" fmla="*/ 107 h 194"/>
                      <a:gd name="T32" fmla="*/ 185 w 417"/>
                      <a:gd name="T33" fmla="*/ 124 h 194"/>
                      <a:gd name="T34" fmla="*/ 222 w 417"/>
                      <a:gd name="T35" fmla="*/ 168 h 194"/>
                      <a:gd name="T36" fmla="*/ 203 w 417"/>
                      <a:gd name="T37" fmla="*/ 178 h 194"/>
                      <a:gd name="T38" fmla="*/ 193 w 417"/>
                      <a:gd name="T39" fmla="*/ 190 h 194"/>
                      <a:gd name="T40" fmla="*/ 161 w 417"/>
                      <a:gd name="T41" fmla="*/ 194 h 194"/>
                      <a:gd name="T42" fmla="*/ 145 w 417"/>
                      <a:gd name="T43" fmla="*/ 145 h 194"/>
                      <a:gd name="T44" fmla="*/ 136 w 417"/>
                      <a:gd name="T45" fmla="*/ 159 h 194"/>
                      <a:gd name="T46" fmla="*/ 112 w 417"/>
                      <a:gd name="T47" fmla="*/ 155 h 194"/>
                      <a:gd name="T48" fmla="*/ 96 w 417"/>
                      <a:gd name="T49" fmla="*/ 122 h 194"/>
                      <a:gd name="T50" fmla="*/ 66 w 417"/>
                      <a:gd name="T51" fmla="*/ 117 h 194"/>
                      <a:gd name="T52" fmla="*/ 46 w 417"/>
                      <a:gd name="T53" fmla="*/ 107 h 194"/>
                      <a:gd name="T54" fmla="*/ 16 w 417"/>
                      <a:gd name="T55" fmla="*/ 108 h 194"/>
                      <a:gd name="T56" fmla="*/ 15 w 417"/>
                      <a:gd name="T57" fmla="*/ 125 h 194"/>
                      <a:gd name="T58" fmla="*/ 6 w 417"/>
                      <a:gd name="T59" fmla="*/ 113 h 194"/>
                      <a:gd name="T60" fmla="*/ 8 w 417"/>
                      <a:gd name="T61" fmla="*/ 97 h 194"/>
                      <a:gd name="T62" fmla="*/ 13 w 417"/>
                      <a:gd name="T63" fmla="*/ 80 h 194"/>
                      <a:gd name="T64" fmla="*/ 8 w 417"/>
                      <a:gd name="T65" fmla="*/ 65 h 194"/>
                      <a:gd name="T66" fmla="*/ 18 w 417"/>
                      <a:gd name="T67" fmla="*/ 55 h 194"/>
                      <a:gd name="T68" fmla="*/ 3 w 417"/>
                      <a:gd name="T69" fmla="*/ 44 h 194"/>
                      <a:gd name="T70" fmla="*/ 0 w 417"/>
                      <a:gd name="T71" fmla="*/ 10 h 194"/>
                      <a:gd name="T72" fmla="*/ 27 w 417"/>
                      <a:gd name="T73" fmla="*/ 4 h 194"/>
                      <a:gd name="T74" fmla="*/ 55 w 417"/>
                      <a:gd name="T75" fmla="*/ 33 h 194"/>
                      <a:gd name="T76" fmla="*/ 55 w 417"/>
                      <a:gd name="T77" fmla="*/ 50 h 194"/>
                      <a:gd name="T78" fmla="*/ 83 w 417"/>
                      <a:gd name="T79" fmla="*/ 54 h 194"/>
                      <a:gd name="T80" fmla="*/ 90 w 417"/>
                      <a:gd name="T81" fmla="*/ 47 h 194"/>
                      <a:gd name="T82" fmla="*/ 111 w 417"/>
                      <a:gd name="T83" fmla="*/ 67 h 194"/>
                      <a:gd name="T84" fmla="*/ 146 w 417"/>
                      <a:gd name="T85" fmla="*/ 62 h 194"/>
                      <a:gd name="T86" fmla="*/ 175 w 417"/>
                      <a:gd name="T87" fmla="*/ 40 h 194"/>
                      <a:gd name="T88" fmla="*/ 217 w 417"/>
                      <a:gd name="T89" fmla="*/ 24 h 194"/>
                      <a:gd name="T90" fmla="*/ 238 w 417"/>
                      <a:gd name="T91" fmla="*/ 0 h 194"/>
                      <a:gd name="T92" fmla="*/ 278 w 417"/>
                      <a:gd name="T93" fmla="*/ 4 h 194"/>
                      <a:gd name="T94" fmla="*/ 277 w 417"/>
                      <a:gd name="T95" fmla="*/ 13 h 194"/>
                      <a:gd name="T96" fmla="*/ 317 w 417"/>
                      <a:gd name="T97" fmla="*/ 15 h 194"/>
                      <a:gd name="T98" fmla="*/ 350 w 417"/>
                      <a:gd name="T99" fmla="*/ 29 h 194"/>
                      <a:gd name="T100" fmla="*/ 376 w 417"/>
                      <a:gd name="T101" fmla="*/ 54 h 194"/>
                      <a:gd name="T102" fmla="*/ 405 w 417"/>
                      <a:gd name="T103" fmla="*/ 7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7" h="194">
                        <a:moveTo>
                          <a:pt x="405" y="77"/>
                        </a:moveTo>
                        <a:lnTo>
                          <a:pt x="397" y="88"/>
                        </a:lnTo>
                        <a:lnTo>
                          <a:pt x="417" y="137"/>
                        </a:lnTo>
                        <a:lnTo>
                          <a:pt x="406" y="160"/>
                        </a:lnTo>
                        <a:lnTo>
                          <a:pt x="382" y="154"/>
                        </a:lnTo>
                        <a:lnTo>
                          <a:pt x="376" y="194"/>
                        </a:lnTo>
                        <a:lnTo>
                          <a:pt x="350" y="170"/>
                        </a:lnTo>
                        <a:lnTo>
                          <a:pt x="331" y="127"/>
                        </a:lnTo>
                        <a:lnTo>
                          <a:pt x="347" y="105"/>
                        </a:lnTo>
                        <a:lnTo>
                          <a:pt x="328" y="99"/>
                        </a:lnTo>
                        <a:lnTo>
                          <a:pt x="313" y="73"/>
                        </a:lnTo>
                        <a:lnTo>
                          <a:pt x="276" y="50"/>
                        </a:lnTo>
                        <a:lnTo>
                          <a:pt x="245" y="55"/>
                        </a:lnTo>
                        <a:lnTo>
                          <a:pt x="232" y="83"/>
                        </a:lnTo>
                        <a:lnTo>
                          <a:pt x="206" y="104"/>
                        </a:lnTo>
                        <a:lnTo>
                          <a:pt x="190" y="107"/>
                        </a:lnTo>
                        <a:lnTo>
                          <a:pt x="185" y="124"/>
                        </a:lnTo>
                        <a:lnTo>
                          <a:pt x="222" y="168"/>
                        </a:lnTo>
                        <a:lnTo>
                          <a:pt x="203" y="178"/>
                        </a:lnTo>
                        <a:lnTo>
                          <a:pt x="193" y="190"/>
                        </a:lnTo>
                        <a:lnTo>
                          <a:pt x="161" y="194"/>
                        </a:lnTo>
                        <a:lnTo>
                          <a:pt x="145" y="145"/>
                        </a:lnTo>
                        <a:lnTo>
                          <a:pt x="136" y="159"/>
                        </a:lnTo>
                        <a:lnTo>
                          <a:pt x="112" y="155"/>
                        </a:lnTo>
                        <a:lnTo>
                          <a:pt x="96" y="122"/>
                        </a:lnTo>
                        <a:lnTo>
                          <a:pt x="66" y="117"/>
                        </a:lnTo>
                        <a:lnTo>
                          <a:pt x="46" y="107"/>
                        </a:lnTo>
                        <a:lnTo>
                          <a:pt x="16" y="108"/>
                        </a:lnTo>
                        <a:lnTo>
                          <a:pt x="15" y="125"/>
                        </a:lnTo>
                        <a:lnTo>
                          <a:pt x="6" y="113"/>
                        </a:lnTo>
                        <a:lnTo>
                          <a:pt x="8" y="97"/>
                        </a:lnTo>
                        <a:lnTo>
                          <a:pt x="13" y="80"/>
                        </a:lnTo>
                        <a:lnTo>
                          <a:pt x="8" y="65"/>
                        </a:lnTo>
                        <a:lnTo>
                          <a:pt x="18" y="55"/>
                        </a:lnTo>
                        <a:lnTo>
                          <a:pt x="3" y="44"/>
                        </a:lnTo>
                        <a:lnTo>
                          <a:pt x="0" y="10"/>
                        </a:lnTo>
                        <a:lnTo>
                          <a:pt x="27" y="4"/>
                        </a:lnTo>
                        <a:lnTo>
                          <a:pt x="55" y="33"/>
                        </a:lnTo>
                        <a:lnTo>
                          <a:pt x="55" y="50"/>
                        </a:lnTo>
                        <a:lnTo>
                          <a:pt x="83" y="54"/>
                        </a:lnTo>
                        <a:lnTo>
                          <a:pt x="90" y="47"/>
                        </a:lnTo>
                        <a:lnTo>
                          <a:pt x="111" y="67"/>
                        </a:lnTo>
                        <a:lnTo>
                          <a:pt x="146" y="62"/>
                        </a:lnTo>
                        <a:lnTo>
                          <a:pt x="175" y="40"/>
                        </a:lnTo>
                        <a:lnTo>
                          <a:pt x="217" y="24"/>
                        </a:lnTo>
                        <a:lnTo>
                          <a:pt x="238" y="0"/>
                        </a:lnTo>
                        <a:lnTo>
                          <a:pt x="278" y="4"/>
                        </a:lnTo>
                        <a:lnTo>
                          <a:pt x="277" y="13"/>
                        </a:lnTo>
                        <a:lnTo>
                          <a:pt x="317" y="15"/>
                        </a:lnTo>
                        <a:lnTo>
                          <a:pt x="350" y="29"/>
                        </a:lnTo>
                        <a:lnTo>
                          <a:pt x="376" y="54"/>
                        </a:lnTo>
                        <a:lnTo>
                          <a:pt x="405" y="7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299" name="Peru" descr="{&quot;Key&quot;:&quot;peru&quot;,&quot;Name&quot;:&quot;Peru&quot;,&quot;Value&quot;:1.0,&quot;Formula&quot;:&quot;&quot;,&quot;Text&quot;:&quot;&quot;,&quot;OfficeApplication&quot;:1,&quot;HasValue&quot;:true}">
                    <a:extLst>
                      <a:ext uri="{FF2B5EF4-FFF2-40B4-BE49-F238E27FC236}">
                        <a16:creationId xmlns:a16="http://schemas.microsoft.com/office/drawing/2014/main" id="{623924E4-349D-74FE-3034-488C9076457D}"/>
                      </a:ext>
                    </a:extLst>
                  </p:cNvPr>
                  <p:cNvSpPr>
                    <a:spLocks/>
                  </p:cNvSpPr>
                  <p:nvPr/>
                </p:nvSpPr>
                <p:spPr bwMode="auto">
                  <a:xfrm>
                    <a:off x="6388" y="2786"/>
                    <a:ext cx="239" cy="415"/>
                  </a:xfrm>
                  <a:custGeom>
                    <a:avLst/>
                    <a:gdLst>
                      <a:gd name="T0" fmla="*/ 763 w 856"/>
                      <a:gd name="T1" fmla="*/ 341 h 1487"/>
                      <a:gd name="T2" fmla="*/ 693 w 856"/>
                      <a:gd name="T3" fmla="*/ 368 h 1487"/>
                      <a:gd name="T4" fmla="*/ 601 w 856"/>
                      <a:gd name="T5" fmla="*/ 462 h 1487"/>
                      <a:gd name="T6" fmla="*/ 585 w 856"/>
                      <a:gd name="T7" fmla="*/ 535 h 1487"/>
                      <a:gd name="T8" fmla="*/ 537 w 856"/>
                      <a:gd name="T9" fmla="*/ 592 h 1487"/>
                      <a:gd name="T10" fmla="*/ 542 w 856"/>
                      <a:gd name="T11" fmla="*/ 680 h 1487"/>
                      <a:gd name="T12" fmla="*/ 558 w 856"/>
                      <a:gd name="T13" fmla="*/ 765 h 1487"/>
                      <a:gd name="T14" fmla="*/ 628 w 856"/>
                      <a:gd name="T15" fmla="*/ 812 h 1487"/>
                      <a:gd name="T16" fmla="*/ 755 w 856"/>
                      <a:gd name="T17" fmla="*/ 767 h 1487"/>
                      <a:gd name="T18" fmla="*/ 768 w 856"/>
                      <a:gd name="T19" fmla="*/ 900 h 1487"/>
                      <a:gd name="T20" fmla="*/ 856 w 856"/>
                      <a:gd name="T21" fmla="*/ 1017 h 1487"/>
                      <a:gd name="T22" fmla="*/ 825 w 856"/>
                      <a:gd name="T23" fmla="*/ 1101 h 1487"/>
                      <a:gd name="T24" fmla="*/ 778 w 856"/>
                      <a:gd name="T25" fmla="*/ 1211 h 1487"/>
                      <a:gd name="T26" fmla="*/ 765 w 856"/>
                      <a:gd name="T27" fmla="*/ 1268 h 1487"/>
                      <a:gd name="T28" fmla="*/ 721 w 856"/>
                      <a:gd name="T29" fmla="*/ 1425 h 1487"/>
                      <a:gd name="T30" fmla="*/ 653 w 856"/>
                      <a:gd name="T31" fmla="*/ 1487 h 1487"/>
                      <a:gd name="T32" fmla="*/ 592 w 856"/>
                      <a:gd name="T33" fmla="*/ 1407 h 1487"/>
                      <a:gd name="T34" fmla="*/ 355 w 856"/>
                      <a:gd name="T35" fmla="*/ 1236 h 1487"/>
                      <a:gd name="T36" fmla="*/ 288 w 856"/>
                      <a:gd name="T37" fmla="*/ 1120 h 1487"/>
                      <a:gd name="T38" fmla="*/ 257 w 856"/>
                      <a:gd name="T39" fmla="*/ 988 h 1487"/>
                      <a:gd name="T40" fmla="*/ 151 w 856"/>
                      <a:gd name="T41" fmla="*/ 677 h 1487"/>
                      <a:gd name="T42" fmla="*/ 106 w 856"/>
                      <a:gd name="T43" fmla="*/ 581 h 1487"/>
                      <a:gd name="T44" fmla="*/ 5 w 856"/>
                      <a:gd name="T45" fmla="*/ 495 h 1487"/>
                      <a:gd name="T46" fmla="*/ 0 w 856"/>
                      <a:gd name="T47" fmla="*/ 381 h 1487"/>
                      <a:gd name="T48" fmla="*/ 85 w 856"/>
                      <a:gd name="T49" fmla="*/ 272 h 1487"/>
                      <a:gd name="T50" fmla="*/ 71 w 856"/>
                      <a:gd name="T51" fmla="*/ 326 h 1487"/>
                      <a:gd name="T52" fmla="*/ 101 w 856"/>
                      <a:gd name="T53" fmla="*/ 348 h 1487"/>
                      <a:gd name="T54" fmla="*/ 157 w 856"/>
                      <a:gd name="T55" fmla="*/ 398 h 1487"/>
                      <a:gd name="T56" fmla="*/ 216 w 856"/>
                      <a:gd name="T57" fmla="*/ 311 h 1487"/>
                      <a:gd name="T58" fmla="*/ 351 w 856"/>
                      <a:gd name="T59" fmla="*/ 207 h 1487"/>
                      <a:gd name="T60" fmla="*/ 455 w 856"/>
                      <a:gd name="T61" fmla="*/ 70 h 1487"/>
                      <a:gd name="T62" fmla="*/ 465 w 856"/>
                      <a:gd name="T63" fmla="*/ 0 h 1487"/>
                      <a:gd name="T64" fmla="*/ 535 w 856"/>
                      <a:gd name="T65" fmla="*/ 77 h 1487"/>
                      <a:gd name="T66" fmla="*/ 607 w 856"/>
                      <a:gd name="T67" fmla="*/ 183 h 1487"/>
                      <a:gd name="T68" fmla="*/ 701 w 856"/>
                      <a:gd name="T69" fmla="*/ 172 h 1487"/>
                      <a:gd name="T70" fmla="*/ 769 w 856"/>
                      <a:gd name="T71" fmla="*/ 178 h 1487"/>
                      <a:gd name="T72" fmla="*/ 773 w 856"/>
                      <a:gd name="T73" fmla="*/ 300 h 1487"/>
                      <a:gd name="T74" fmla="*/ 828 w 856"/>
                      <a:gd name="T75" fmla="*/ 345 h 1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6" h="1487">
                        <a:moveTo>
                          <a:pt x="828" y="345"/>
                        </a:moveTo>
                        <a:lnTo>
                          <a:pt x="763" y="341"/>
                        </a:lnTo>
                        <a:lnTo>
                          <a:pt x="753" y="353"/>
                        </a:lnTo>
                        <a:lnTo>
                          <a:pt x="693" y="368"/>
                        </a:lnTo>
                        <a:lnTo>
                          <a:pt x="608" y="425"/>
                        </a:lnTo>
                        <a:lnTo>
                          <a:pt x="601" y="462"/>
                        </a:lnTo>
                        <a:lnTo>
                          <a:pt x="581" y="491"/>
                        </a:lnTo>
                        <a:lnTo>
                          <a:pt x="585" y="535"/>
                        </a:lnTo>
                        <a:lnTo>
                          <a:pt x="540" y="558"/>
                        </a:lnTo>
                        <a:lnTo>
                          <a:pt x="537" y="592"/>
                        </a:lnTo>
                        <a:lnTo>
                          <a:pt x="517" y="607"/>
                        </a:lnTo>
                        <a:lnTo>
                          <a:pt x="542" y="680"/>
                        </a:lnTo>
                        <a:lnTo>
                          <a:pt x="577" y="730"/>
                        </a:lnTo>
                        <a:lnTo>
                          <a:pt x="558" y="765"/>
                        </a:lnTo>
                        <a:lnTo>
                          <a:pt x="606" y="770"/>
                        </a:lnTo>
                        <a:lnTo>
                          <a:pt x="628" y="812"/>
                        </a:lnTo>
                        <a:lnTo>
                          <a:pt x="691" y="815"/>
                        </a:lnTo>
                        <a:lnTo>
                          <a:pt x="755" y="767"/>
                        </a:lnTo>
                        <a:lnTo>
                          <a:pt x="737" y="891"/>
                        </a:lnTo>
                        <a:lnTo>
                          <a:pt x="768" y="900"/>
                        </a:lnTo>
                        <a:lnTo>
                          <a:pt x="810" y="886"/>
                        </a:lnTo>
                        <a:lnTo>
                          <a:pt x="856" y="1017"/>
                        </a:lnTo>
                        <a:lnTo>
                          <a:pt x="837" y="1045"/>
                        </a:lnTo>
                        <a:lnTo>
                          <a:pt x="825" y="1101"/>
                        </a:lnTo>
                        <a:lnTo>
                          <a:pt x="812" y="1171"/>
                        </a:lnTo>
                        <a:lnTo>
                          <a:pt x="778" y="1211"/>
                        </a:lnTo>
                        <a:lnTo>
                          <a:pt x="786" y="1241"/>
                        </a:lnTo>
                        <a:lnTo>
                          <a:pt x="765" y="1268"/>
                        </a:lnTo>
                        <a:lnTo>
                          <a:pt x="783" y="1337"/>
                        </a:lnTo>
                        <a:lnTo>
                          <a:pt x="721" y="1425"/>
                        </a:lnTo>
                        <a:lnTo>
                          <a:pt x="695" y="1466"/>
                        </a:lnTo>
                        <a:lnTo>
                          <a:pt x="653" y="1487"/>
                        </a:lnTo>
                        <a:lnTo>
                          <a:pt x="592" y="1440"/>
                        </a:lnTo>
                        <a:lnTo>
                          <a:pt x="592" y="1407"/>
                        </a:lnTo>
                        <a:lnTo>
                          <a:pt x="467" y="1325"/>
                        </a:lnTo>
                        <a:lnTo>
                          <a:pt x="355" y="1236"/>
                        </a:lnTo>
                        <a:lnTo>
                          <a:pt x="308" y="1186"/>
                        </a:lnTo>
                        <a:lnTo>
                          <a:pt x="288" y="1120"/>
                        </a:lnTo>
                        <a:lnTo>
                          <a:pt x="303" y="1096"/>
                        </a:lnTo>
                        <a:lnTo>
                          <a:pt x="257" y="988"/>
                        </a:lnTo>
                        <a:lnTo>
                          <a:pt x="203" y="840"/>
                        </a:lnTo>
                        <a:lnTo>
                          <a:pt x="151" y="677"/>
                        </a:lnTo>
                        <a:lnTo>
                          <a:pt x="125" y="640"/>
                        </a:lnTo>
                        <a:lnTo>
                          <a:pt x="106" y="581"/>
                        </a:lnTo>
                        <a:lnTo>
                          <a:pt x="55" y="527"/>
                        </a:lnTo>
                        <a:lnTo>
                          <a:pt x="5" y="495"/>
                        </a:lnTo>
                        <a:lnTo>
                          <a:pt x="31" y="458"/>
                        </a:lnTo>
                        <a:lnTo>
                          <a:pt x="0" y="381"/>
                        </a:lnTo>
                        <a:lnTo>
                          <a:pt x="26" y="323"/>
                        </a:lnTo>
                        <a:lnTo>
                          <a:pt x="85" y="272"/>
                        </a:lnTo>
                        <a:lnTo>
                          <a:pt x="92" y="306"/>
                        </a:lnTo>
                        <a:lnTo>
                          <a:pt x="71" y="326"/>
                        </a:lnTo>
                        <a:lnTo>
                          <a:pt x="71" y="355"/>
                        </a:lnTo>
                        <a:lnTo>
                          <a:pt x="101" y="348"/>
                        </a:lnTo>
                        <a:lnTo>
                          <a:pt x="130" y="357"/>
                        </a:lnTo>
                        <a:lnTo>
                          <a:pt x="157" y="398"/>
                        </a:lnTo>
                        <a:lnTo>
                          <a:pt x="200" y="365"/>
                        </a:lnTo>
                        <a:lnTo>
                          <a:pt x="216" y="311"/>
                        </a:lnTo>
                        <a:lnTo>
                          <a:pt x="263" y="240"/>
                        </a:lnTo>
                        <a:lnTo>
                          <a:pt x="351" y="207"/>
                        </a:lnTo>
                        <a:lnTo>
                          <a:pt x="432" y="122"/>
                        </a:lnTo>
                        <a:lnTo>
                          <a:pt x="455" y="70"/>
                        </a:lnTo>
                        <a:lnTo>
                          <a:pt x="446" y="8"/>
                        </a:lnTo>
                        <a:lnTo>
                          <a:pt x="465" y="0"/>
                        </a:lnTo>
                        <a:lnTo>
                          <a:pt x="512" y="38"/>
                        </a:lnTo>
                        <a:lnTo>
                          <a:pt x="535" y="77"/>
                        </a:lnTo>
                        <a:lnTo>
                          <a:pt x="567" y="98"/>
                        </a:lnTo>
                        <a:lnTo>
                          <a:pt x="607" y="183"/>
                        </a:lnTo>
                        <a:lnTo>
                          <a:pt x="661" y="193"/>
                        </a:lnTo>
                        <a:lnTo>
                          <a:pt x="701" y="172"/>
                        </a:lnTo>
                        <a:lnTo>
                          <a:pt x="726" y="186"/>
                        </a:lnTo>
                        <a:lnTo>
                          <a:pt x="769" y="178"/>
                        </a:lnTo>
                        <a:lnTo>
                          <a:pt x="823" y="217"/>
                        </a:lnTo>
                        <a:lnTo>
                          <a:pt x="773" y="300"/>
                        </a:lnTo>
                        <a:lnTo>
                          <a:pt x="794" y="302"/>
                        </a:lnTo>
                        <a:lnTo>
                          <a:pt x="828" y="34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0" name="Philippines" descr="{&quot;Key&quot;:&quot;philippines&quot;,&quot;Name&quot;:&quot;Philippines&quot;,&quot;Value&quot;:1.0,&quot;Formula&quot;:&quot;&quot;,&quot;Text&quot;:&quot;&quot;,&quot;OfficeApplication&quot;:1,&quot;HasValue&quot;:true}">
                    <a:extLst>
                      <a:ext uri="{FF2B5EF4-FFF2-40B4-BE49-F238E27FC236}">
                        <a16:creationId xmlns:a16="http://schemas.microsoft.com/office/drawing/2014/main" id="{8B181ED0-44AA-7606-4220-20D0B9328290}"/>
                      </a:ext>
                    </a:extLst>
                  </p:cNvPr>
                  <p:cNvSpPr>
                    <a:spLocks noEditPoints="1"/>
                  </p:cNvSpPr>
                  <p:nvPr/>
                </p:nvSpPr>
                <p:spPr bwMode="auto">
                  <a:xfrm>
                    <a:off x="3162" y="2365"/>
                    <a:ext cx="186" cy="293"/>
                  </a:xfrm>
                  <a:custGeom>
                    <a:avLst/>
                    <a:gdLst>
                      <a:gd name="T0" fmla="*/ 665 w 668"/>
                      <a:gd name="T1" fmla="*/ 875 h 1051"/>
                      <a:gd name="T2" fmla="*/ 643 w 668"/>
                      <a:gd name="T3" fmla="*/ 995 h 1051"/>
                      <a:gd name="T4" fmla="*/ 585 w 668"/>
                      <a:gd name="T5" fmla="*/ 952 h 1051"/>
                      <a:gd name="T6" fmla="*/ 586 w 668"/>
                      <a:gd name="T7" fmla="*/ 1051 h 1051"/>
                      <a:gd name="T8" fmla="*/ 482 w 668"/>
                      <a:gd name="T9" fmla="*/ 945 h 1051"/>
                      <a:gd name="T10" fmla="*/ 460 w 668"/>
                      <a:gd name="T11" fmla="*/ 867 h 1051"/>
                      <a:gd name="T12" fmla="*/ 403 w 668"/>
                      <a:gd name="T13" fmla="*/ 899 h 1051"/>
                      <a:gd name="T14" fmla="*/ 338 w 668"/>
                      <a:gd name="T15" fmla="*/ 920 h 1051"/>
                      <a:gd name="T16" fmla="*/ 412 w 668"/>
                      <a:gd name="T17" fmla="*/ 829 h 1051"/>
                      <a:gd name="T18" fmla="*/ 477 w 668"/>
                      <a:gd name="T19" fmla="*/ 835 h 1051"/>
                      <a:gd name="T20" fmla="*/ 543 w 668"/>
                      <a:gd name="T21" fmla="*/ 776 h 1051"/>
                      <a:gd name="T22" fmla="*/ 591 w 668"/>
                      <a:gd name="T23" fmla="*/ 711 h 1051"/>
                      <a:gd name="T24" fmla="*/ 655 w 668"/>
                      <a:gd name="T25" fmla="*/ 791 h 1051"/>
                      <a:gd name="T26" fmla="*/ 490 w 668"/>
                      <a:gd name="T27" fmla="*/ 669 h 1051"/>
                      <a:gd name="T28" fmla="*/ 441 w 668"/>
                      <a:gd name="T29" fmla="*/ 747 h 1051"/>
                      <a:gd name="T30" fmla="*/ 375 w 668"/>
                      <a:gd name="T31" fmla="*/ 715 h 1051"/>
                      <a:gd name="T32" fmla="*/ 409 w 668"/>
                      <a:gd name="T33" fmla="*/ 670 h 1051"/>
                      <a:gd name="T34" fmla="*/ 457 w 668"/>
                      <a:gd name="T35" fmla="*/ 615 h 1051"/>
                      <a:gd name="T36" fmla="*/ 499 w 668"/>
                      <a:gd name="T37" fmla="*/ 591 h 1051"/>
                      <a:gd name="T38" fmla="*/ 97 w 668"/>
                      <a:gd name="T39" fmla="*/ 747 h 1051"/>
                      <a:gd name="T40" fmla="*/ 36 w 668"/>
                      <a:gd name="T41" fmla="*/ 767 h 1051"/>
                      <a:gd name="T42" fmla="*/ 134 w 668"/>
                      <a:gd name="T43" fmla="*/ 661 h 1051"/>
                      <a:gd name="T44" fmla="*/ 184 w 668"/>
                      <a:gd name="T45" fmla="*/ 646 h 1051"/>
                      <a:gd name="T46" fmla="*/ 97 w 668"/>
                      <a:gd name="T47" fmla="*/ 747 h 1051"/>
                      <a:gd name="T48" fmla="*/ 386 w 668"/>
                      <a:gd name="T49" fmla="*/ 562 h 1051"/>
                      <a:gd name="T50" fmla="*/ 429 w 668"/>
                      <a:gd name="T51" fmla="*/ 597 h 1051"/>
                      <a:gd name="T52" fmla="*/ 348 w 668"/>
                      <a:gd name="T53" fmla="*/ 656 h 1051"/>
                      <a:gd name="T54" fmla="*/ 353 w 668"/>
                      <a:gd name="T55" fmla="*/ 576 h 1051"/>
                      <a:gd name="T56" fmla="*/ 602 w 668"/>
                      <a:gd name="T57" fmla="*/ 516 h 1051"/>
                      <a:gd name="T58" fmla="*/ 565 w 668"/>
                      <a:gd name="T59" fmla="*/ 585 h 1051"/>
                      <a:gd name="T60" fmla="*/ 582 w 668"/>
                      <a:gd name="T61" fmla="*/ 662 h 1051"/>
                      <a:gd name="T62" fmla="*/ 546 w 668"/>
                      <a:gd name="T63" fmla="*/ 623 h 1051"/>
                      <a:gd name="T64" fmla="*/ 515 w 668"/>
                      <a:gd name="T65" fmla="*/ 570 h 1051"/>
                      <a:gd name="T66" fmla="*/ 556 w 668"/>
                      <a:gd name="T67" fmla="*/ 546 h 1051"/>
                      <a:gd name="T68" fmla="*/ 584 w 668"/>
                      <a:gd name="T69" fmla="*/ 485 h 1051"/>
                      <a:gd name="T70" fmla="*/ 320 w 668"/>
                      <a:gd name="T71" fmla="*/ 442 h 1051"/>
                      <a:gd name="T72" fmla="*/ 270 w 668"/>
                      <a:gd name="T73" fmla="*/ 472 h 1051"/>
                      <a:gd name="T74" fmla="*/ 296 w 668"/>
                      <a:gd name="T75" fmla="*/ 412 h 1051"/>
                      <a:gd name="T76" fmla="*/ 321 w 668"/>
                      <a:gd name="T77" fmla="*/ 0 h 1051"/>
                      <a:gd name="T78" fmla="*/ 387 w 668"/>
                      <a:gd name="T79" fmla="*/ 2 h 1051"/>
                      <a:gd name="T80" fmla="*/ 380 w 668"/>
                      <a:gd name="T81" fmla="*/ 56 h 1051"/>
                      <a:gd name="T82" fmla="*/ 380 w 668"/>
                      <a:gd name="T83" fmla="*/ 182 h 1051"/>
                      <a:gd name="T84" fmla="*/ 324 w 668"/>
                      <a:gd name="T85" fmla="*/ 275 h 1051"/>
                      <a:gd name="T86" fmla="*/ 375 w 668"/>
                      <a:gd name="T87" fmla="*/ 348 h 1051"/>
                      <a:gd name="T88" fmla="*/ 495 w 668"/>
                      <a:gd name="T89" fmla="*/ 384 h 1051"/>
                      <a:gd name="T90" fmla="*/ 510 w 668"/>
                      <a:gd name="T91" fmla="*/ 447 h 1051"/>
                      <a:gd name="T92" fmla="*/ 446 w 668"/>
                      <a:gd name="T93" fmla="*/ 446 h 1051"/>
                      <a:gd name="T94" fmla="*/ 402 w 668"/>
                      <a:gd name="T95" fmla="*/ 432 h 1051"/>
                      <a:gd name="T96" fmla="*/ 293 w 668"/>
                      <a:gd name="T97" fmla="*/ 396 h 1051"/>
                      <a:gd name="T98" fmla="*/ 264 w 668"/>
                      <a:gd name="T99" fmla="*/ 345 h 1051"/>
                      <a:gd name="T100" fmla="*/ 265 w 668"/>
                      <a:gd name="T101" fmla="*/ 305 h 1051"/>
                      <a:gd name="T102" fmla="*/ 221 w 668"/>
                      <a:gd name="T103" fmla="*/ 287 h 1051"/>
                      <a:gd name="T104" fmla="*/ 212 w 668"/>
                      <a:gd name="T105" fmla="*/ 175 h 1051"/>
                      <a:gd name="T106" fmla="*/ 252 w 668"/>
                      <a:gd name="T107" fmla="*/ 74 h 1051"/>
                      <a:gd name="T108" fmla="*/ 321 w 668"/>
                      <a:gd name="T109"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8" h="1051">
                        <a:moveTo>
                          <a:pt x="659" y="820"/>
                        </a:moveTo>
                        <a:lnTo>
                          <a:pt x="665" y="875"/>
                        </a:lnTo>
                        <a:lnTo>
                          <a:pt x="668" y="920"/>
                        </a:lnTo>
                        <a:lnTo>
                          <a:pt x="643" y="995"/>
                        </a:lnTo>
                        <a:lnTo>
                          <a:pt x="618" y="911"/>
                        </a:lnTo>
                        <a:lnTo>
                          <a:pt x="585" y="952"/>
                        </a:lnTo>
                        <a:lnTo>
                          <a:pt x="606" y="1012"/>
                        </a:lnTo>
                        <a:lnTo>
                          <a:pt x="586" y="1051"/>
                        </a:lnTo>
                        <a:lnTo>
                          <a:pt x="502" y="1004"/>
                        </a:lnTo>
                        <a:lnTo>
                          <a:pt x="482" y="945"/>
                        </a:lnTo>
                        <a:lnTo>
                          <a:pt x="505" y="906"/>
                        </a:lnTo>
                        <a:lnTo>
                          <a:pt x="460" y="867"/>
                        </a:lnTo>
                        <a:lnTo>
                          <a:pt x="437" y="901"/>
                        </a:lnTo>
                        <a:lnTo>
                          <a:pt x="403" y="899"/>
                        </a:lnTo>
                        <a:lnTo>
                          <a:pt x="350" y="944"/>
                        </a:lnTo>
                        <a:lnTo>
                          <a:pt x="338" y="920"/>
                        </a:lnTo>
                        <a:lnTo>
                          <a:pt x="367" y="851"/>
                        </a:lnTo>
                        <a:lnTo>
                          <a:pt x="412" y="829"/>
                        </a:lnTo>
                        <a:lnTo>
                          <a:pt x="452" y="797"/>
                        </a:lnTo>
                        <a:lnTo>
                          <a:pt x="477" y="835"/>
                        </a:lnTo>
                        <a:lnTo>
                          <a:pt x="532" y="812"/>
                        </a:lnTo>
                        <a:lnTo>
                          <a:pt x="543" y="776"/>
                        </a:lnTo>
                        <a:lnTo>
                          <a:pt x="595" y="774"/>
                        </a:lnTo>
                        <a:lnTo>
                          <a:pt x="591" y="711"/>
                        </a:lnTo>
                        <a:lnTo>
                          <a:pt x="648" y="750"/>
                        </a:lnTo>
                        <a:lnTo>
                          <a:pt x="655" y="791"/>
                        </a:lnTo>
                        <a:lnTo>
                          <a:pt x="659" y="820"/>
                        </a:lnTo>
                        <a:close/>
                        <a:moveTo>
                          <a:pt x="490" y="669"/>
                        </a:moveTo>
                        <a:lnTo>
                          <a:pt x="464" y="696"/>
                        </a:lnTo>
                        <a:lnTo>
                          <a:pt x="441" y="747"/>
                        </a:lnTo>
                        <a:lnTo>
                          <a:pt x="417" y="771"/>
                        </a:lnTo>
                        <a:lnTo>
                          <a:pt x="375" y="715"/>
                        </a:lnTo>
                        <a:lnTo>
                          <a:pt x="390" y="694"/>
                        </a:lnTo>
                        <a:lnTo>
                          <a:pt x="409" y="670"/>
                        </a:lnTo>
                        <a:lnTo>
                          <a:pt x="417" y="620"/>
                        </a:lnTo>
                        <a:lnTo>
                          <a:pt x="457" y="615"/>
                        </a:lnTo>
                        <a:lnTo>
                          <a:pt x="444" y="670"/>
                        </a:lnTo>
                        <a:lnTo>
                          <a:pt x="499" y="591"/>
                        </a:lnTo>
                        <a:lnTo>
                          <a:pt x="490" y="669"/>
                        </a:lnTo>
                        <a:close/>
                        <a:moveTo>
                          <a:pt x="97" y="747"/>
                        </a:moveTo>
                        <a:lnTo>
                          <a:pt x="0" y="825"/>
                        </a:lnTo>
                        <a:lnTo>
                          <a:pt x="36" y="767"/>
                        </a:lnTo>
                        <a:lnTo>
                          <a:pt x="90" y="717"/>
                        </a:lnTo>
                        <a:lnTo>
                          <a:pt x="134" y="661"/>
                        </a:lnTo>
                        <a:lnTo>
                          <a:pt x="172" y="580"/>
                        </a:lnTo>
                        <a:lnTo>
                          <a:pt x="184" y="646"/>
                        </a:lnTo>
                        <a:lnTo>
                          <a:pt x="136" y="691"/>
                        </a:lnTo>
                        <a:lnTo>
                          <a:pt x="97" y="747"/>
                        </a:lnTo>
                        <a:close/>
                        <a:moveTo>
                          <a:pt x="344" y="537"/>
                        </a:moveTo>
                        <a:lnTo>
                          <a:pt x="386" y="562"/>
                        </a:lnTo>
                        <a:lnTo>
                          <a:pt x="431" y="562"/>
                        </a:lnTo>
                        <a:lnTo>
                          <a:pt x="429" y="597"/>
                        </a:lnTo>
                        <a:lnTo>
                          <a:pt x="395" y="631"/>
                        </a:lnTo>
                        <a:lnTo>
                          <a:pt x="348" y="656"/>
                        </a:lnTo>
                        <a:lnTo>
                          <a:pt x="347" y="617"/>
                        </a:lnTo>
                        <a:lnTo>
                          <a:pt x="353" y="576"/>
                        </a:lnTo>
                        <a:lnTo>
                          <a:pt x="344" y="537"/>
                        </a:lnTo>
                        <a:close/>
                        <a:moveTo>
                          <a:pt x="602" y="516"/>
                        </a:moveTo>
                        <a:lnTo>
                          <a:pt x="620" y="606"/>
                        </a:lnTo>
                        <a:lnTo>
                          <a:pt x="565" y="585"/>
                        </a:lnTo>
                        <a:lnTo>
                          <a:pt x="566" y="612"/>
                        </a:lnTo>
                        <a:lnTo>
                          <a:pt x="582" y="662"/>
                        </a:lnTo>
                        <a:lnTo>
                          <a:pt x="549" y="681"/>
                        </a:lnTo>
                        <a:lnTo>
                          <a:pt x="546" y="623"/>
                        </a:lnTo>
                        <a:lnTo>
                          <a:pt x="525" y="620"/>
                        </a:lnTo>
                        <a:lnTo>
                          <a:pt x="515" y="570"/>
                        </a:lnTo>
                        <a:lnTo>
                          <a:pt x="557" y="576"/>
                        </a:lnTo>
                        <a:lnTo>
                          <a:pt x="556" y="546"/>
                        </a:lnTo>
                        <a:lnTo>
                          <a:pt x="515" y="484"/>
                        </a:lnTo>
                        <a:lnTo>
                          <a:pt x="584" y="485"/>
                        </a:lnTo>
                        <a:lnTo>
                          <a:pt x="602" y="516"/>
                        </a:lnTo>
                        <a:close/>
                        <a:moveTo>
                          <a:pt x="320" y="442"/>
                        </a:moveTo>
                        <a:lnTo>
                          <a:pt x="300" y="512"/>
                        </a:lnTo>
                        <a:lnTo>
                          <a:pt x="270" y="472"/>
                        </a:lnTo>
                        <a:lnTo>
                          <a:pt x="236" y="410"/>
                        </a:lnTo>
                        <a:lnTo>
                          <a:pt x="296" y="412"/>
                        </a:lnTo>
                        <a:lnTo>
                          <a:pt x="320" y="442"/>
                        </a:lnTo>
                        <a:close/>
                        <a:moveTo>
                          <a:pt x="321" y="0"/>
                        </a:moveTo>
                        <a:lnTo>
                          <a:pt x="365" y="24"/>
                        </a:lnTo>
                        <a:lnTo>
                          <a:pt x="387" y="2"/>
                        </a:lnTo>
                        <a:lnTo>
                          <a:pt x="392" y="24"/>
                        </a:lnTo>
                        <a:lnTo>
                          <a:pt x="380" y="56"/>
                        </a:lnTo>
                        <a:lnTo>
                          <a:pt x="401" y="115"/>
                        </a:lnTo>
                        <a:lnTo>
                          <a:pt x="380" y="182"/>
                        </a:lnTo>
                        <a:lnTo>
                          <a:pt x="337" y="210"/>
                        </a:lnTo>
                        <a:lnTo>
                          <a:pt x="324" y="275"/>
                        </a:lnTo>
                        <a:lnTo>
                          <a:pt x="337" y="340"/>
                        </a:lnTo>
                        <a:lnTo>
                          <a:pt x="375" y="348"/>
                        </a:lnTo>
                        <a:lnTo>
                          <a:pt x="407" y="338"/>
                        </a:lnTo>
                        <a:lnTo>
                          <a:pt x="495" y="384"/>
                        </a:lnTo>
                        <a:lnTo>
                          <a:pt x="486" y="429"/>
                        </a:lnTo>
                        <a:lnTo>
                          <a:pt x="510" y="447"/>
                        </a:lnTo>
                        <a:lnTo>
                          <a:pt x="501" y="485"/>
                        </a:lnTo>
                        <a:lnTo>
                          <a:pt x="446" y="446"/>
                        </a:lnTo>
                        <a:lnTo>
                          <a:pt x="421" y="402"/>
                        </a:lnTo>
                        <a:lnTo>
                          <a:pt x="402" y="432"/>
                        </a:lnTo>
                        <a:lnTo>
                          <a:pt x="359" y="384"/>
                        </a:lnTo>
                        <a:lnTo>
                          <a:pt x="293" y="396"/>
                        </a:lnTo>
                        <a:lnTo>
                          <a:pt x="259" y="379"/>
                        </a:lnTo>
                        <a:lnTo>
                          <a:pt x="264" y="345"/>
                        </a:lnTo>
                        <a:lnTo>
                          <a:pt x="286" y="324"/>
                        </a:lnTo>
                        <a:lnTo>
                          <a:pt x="265" y="305"/>
                        </a:lnTo>
                        <a:lnTo>
                          <a:pt x="255" y="335"/>
                        </a:lnTo>
                        <a:lnTo>
                          <a:pt x="221" y="287"/>
                        </a:lnTo>
                        <a:lnTo>
                          <a:pt x="212" y="252"/>
                        </a:lnTo>
                        <a:lnTo>
                          <a:pt x="212" y="175"/>
                        </a:lnTo>
                        <a:lnTo>
                          <a:pt x="240" y="201"/>
                        </a:lnTo>
                        <a:lnTo>
                          <a:pt x="252" y="74"/>
                        </a:lnTo>
                        <a:lnTo>
                          <a:pt x="278" y="0"/>
                        </a:lnTo>
                        <a:lnTo>
                          <a:pt x="321"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1" name="Papwa New Guinea" descr="{&quot;Key&quot;:&quot;papwa new guinea&quot;,&quot;Name&quot;:&quot;Papwa New Guinea&quot;,&quot;Value&quot;:1.0,&quot;Formula&quot;:&quot;&quot;,&quot;Text&quot;:&quot;&quot;,&quot;OfficeApplication&quot;:1,&quot;HasValue&quot;:true}">
                    <a:extLst>
                      <a:ext uri="{FF2B5EF4-FFF2-40B4-BE49-F238E27FC236}">
                        <a16:creationId xmlns:a16="http://schemas.microsoft.com/office/drawing/2014/main" id="{4A5AE866-EFFF-31BC-E3DE-A610646A7A13}"/>
                      </a:ext>
                    </a:extLst>
                  </p:cNvPr>
                  <p:cNvSpPr>
                    <a:spLocks noEditPoints="1"/>
                  </p:cNvSpPr>
                  <p:nvPr/>
                </p:nvSpPr>
                <p:spPr bwMode="auto">
                  <a:xfrm>
                    <a:off x="3637" y="2841"/>
                    <a:ext cx="300" cy="185"/>
                  </a:xfrm>
                  <a:custGeom>
                    <a:avLst/>
                    <a:gdLst>
                      <a:gd name="T0" fmla="*/ 1046 w 1076"/>
                      <a:gd name="T1" fmla="*/ 360 h 663"/>
                      <a:gd name="T2" fmla="*/ 983 w 1076"/>
                      <a:gd name="T3" fmla="*/ 277 h 663"/>
                      <a:gd name="T4" fmla="*/ 978 w 1076"/>
                      <a:gd name="T5" fmla="*/ 208 h 663"/>
                      <a:gd name="T6" fmla="*/ 1008 w 1076"/>
                      <a:gd name="T7" fmla="*/ 250 h 663"/>
                      <a:gd name="T8" fmla="*/ 1076 w 1076"/>
                      <a:gd name="T9" fmla="*/ 329 h 663"/>
                      <a:gd name="T10" fmla="*/ 787 w 1076"/>
                      <a:gd name="T11" fmla="*/ 243 h 663"/>
                      <a:gd name="T12" fmla="*/ 738 w 1076"/>
                      <a:gd name="T13" fmla="*/ 271 h 663"/>
                      <a:gd name="T14" fmla="*/ 662 w 1076"/>
                      <a:gd name="T15" fmla="*/ 312 h 663"/>
                      <a:gd name="T16" fmla="*/ 566 w 1076"/>
                      <a:gd name="T17" fmla="*/ 288 h 663"/>
                      <a:gd name="T18" fmla="*/ 531 w 1076"/>
                      <a:gd name="T19" fmla="*/ 239 h 663"/>
                      <a:gd name="T20" fmla="*/ 635 w 1076"/>
                      <a:gd name="T21" fmla="*/ 245 h 663"/>
                      <a:gd name="T22" fmla="*/ 655 w 1076"/>
                      <a:gd name="T23" fmla="*/ 204 h 663"/>
                      <a:gd name="T24" fmla="*/ 703 w 1076"/>
                      <a:gd name="T25" fmla="*/ 240 h 663"/>
                      <a:gd name="T26" fmla="*/ 763 w 1076"/>
                      <a:gd name="T27" fmla="*/ 184 h 663"/>
                      <a:gd name="T28" fmla="*/ 798 w 1076"/>
                      <a:gd name="T29" fmla="*/ 134 h 663"/>
                      <a:gd name="T30" fmla="*/ 811 w 1076"/>
                      <a:gd name="T31" fmla="*/ 193 h 663"/>
                      <a:gd name="T32" fmla="*/ 3 w 1076"/>
                      <a:gd name="T33" fmla="*/ 539 h 663"/>
                      <a:gd name="T34" fmla="*/ 0 w 1076"/>
                      <a:gd name="T35" fmla="*/ 9 h 663"/>
                      <a:gd name="T36" fmla="*/ 257 w 1076"/>
                      <a:gd name="T37" fmla="*/ 112 h 663"/>
                      <a:gd name="T38" fmla="*/ 346 w 1076"/>
                      <a:gd name="T39" fmla="*/ 194 h 663"/>
                      <a:gd name="T40" fmla="*/ 477 w 1076"/>
                      <a:gd name="T41" fmla="*/ 291 h 663"/>
                      <a:gd name="T42" fmla="*/ 428 w 1076"/>
                      <a:gd name="T43" fmla="*/ 344 h 663"/>
                      <a:gd name="T44" fmla="*/ 508 w 1076"/>
                      <a:gd name="T45" fmla="*/ 451 h 663"/>
                      <a:gd name="T46" fmla="*/ 596 w 1076"/>
                      <a:gd name="T47" fmla="*/ 535 h 663"/>
                      <a:gd name="T48" fmla="*/ 648 w 1076"/>
                      <a:gd name="T49" fmla="*/ 584 h 663"/>
                      <a:gd name="T50" fmla="*/ 702 w 1076"/>
                      <a:gd name="T51" fmla="*/ 634 h 663"/>
                      <a:gd name="T52" fmla="*/ 647 w 1076"/>
                      <a:gd name="T53" fmla="*/ 663 h 663"/>
                      <a:gd name="T54" fmla="*/ 568 w 1076"/>
                      <a:gd name="T55" fmla="*/ 633 h 663"/>
                      <a:gd name="T56" fmla="*/ 441 w 1076"/>
                      <a:gd name="T57" fmla="*/ 569 h 663"/>
                      <a:gd name="T58" fmla="*/ 362 w 1076"/>
                      <a:gd name="T59" fmla="*/ 453 h 663"/>
                      <a:gd name="T60" fmla="*/ 208 w 1076"/>
                      <a:gd name="T61" fmla="*/ 440 h 663"/>
                      <a:gd name="T62" fmla="*/ 175 w 1076"/>
                      <a:gd name="T63" fmla="*/ 528 h 663"/>
                      <a:gd name="T64" fmla="*/ 78 w 1076"/>
                      <a:gd name="T65" fmla="*/ 541 h 663"/>
                      <a:gd name="T66" fmla="*/ 871 w 1076"/>
                      <a:gd name="T67" fmla="*/ 163 h 663"/>
                      <a:gd name="T68" fmla="*/ 835 w 1076"/>
                      <a:gd name="T69" fmla="*/ 137 h 663"/>
                      <a:gd name="T70" fmla="*/ 785 w 1076"/>
                      <a:gd name="T71" fmla="*/ 79 h 663"/>
                      <a:gd name="T72" fmla="*/ 692 w 1076"/>
                      <a:gd name="T73" fmla="*/ 20 h 663"/>
                      <a:gd name="T74" fmla="*/ 751 w 1076"/>
                      <a:gd name="T75" fmla="*/ 23 h 663"/>
                      <a:gd name="T76" fmla="*/ 806 w 1076"/>
                      <a:gd name="T77" fmla="*/ 60 h 663"/>
                      <a:gd name="T78" fmla="*/ 862 w 1076"/>
                      <a:gd name="T79" fmla="*/ 12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76" h="663">
                        <a:moveTo>
                          <a:pt x="1066" y="352"/>
                        </a:moveTo>
                        <a:lnTo>
                          <a:pt x="1046" y="360"/>
                        </a:lnTo>
                        <a:lnTo>
                          <a:pt x="1015" y="329"/>
                        </a:lnTo>
                        <a:lnTo>
                          <a:pt x="983" y="277"/>
                        </a:lnTo>
                        <a:lnTo>
                          <a:pt x="968" y="215"/>
                        </a:lnTo>
                        <a:lnTo>
                          <a:pt x="978" y="208"/>
                        </a:lnTo>
                        <a:lnTo>
                          <a:pt x="986" y="232"/>
                        </a:lnTo>
                        <a:lnTo>
                          <a:pt x="1008" y="250"/>
                        </a:lnTo>
                        <a:lnTo>
                          <a:pt x="1042" y="302"/>
                        </a:lnTo>
                        <a:lnTo>
                          <a:pt x="1076" y="329"/>
                        </a:lnTo>
                        <a:lnTo>
                          <a:pt x="1066" y="352"/>
                        </a:lnTo>
                        <a:close/>
                        <a:moveTo>
                          <a:pt x="787" y="243"/>
                        </a:moveTo>
                        <a:lnTo>
                          <a:pt x="750" y="249"/>
                        </a:lnTo>
                        <a:lnTo>
                          <a:pt x="738" y="271"/>
                        </a:lnTo>
                        <a:lnTo>
                          <a:pt x="700" y="291"/>
                        </a:lnTo>
                        <a:lnTo>
                          <a:pt x="662" y="312"/>
                        </a:lnTo>
                        <a:lnTo>
                          <a:pt x="625" y="310"/>
                        </a:lnTo>
                        <a:lnTo>
                          <a:pt x="566" y="288"/>
                        </a:lnTo>
                        <a:lnTo>
                          <a:pt x="525" y="264"/>
                        </a:lnTo>
                        <a:lnTo>
                          <a:pt x="531" y="239"/>
                        </a:lnTo>
                        <a:lnTo>
                          <a:pt x="595" y="252"/>
                        </a:lnTo>
                        <a:lnTo>
                          <a:pt x="635" y="245"/>
                        </a:lnTo>
                        <a:lnTo>
                          <a:pt x="645" y="207"/>
                        </a:lnTo>
                        <a:lnTo>
                          <a:pt x="655" y="204"/>
                        </a:lnTo>
                        <a:lnTo>
                          <a:pt x="662" y="246"/>
                        </a:lnTo>
                        <a:lnTo>
                          <a:pt x="703" y="240"/>
                        </a:lnTo>
                        <a:lnTo>
                          <a:pt x="723" y="213"/>
                        </a:lnTo>
                        <a:lnTo>
                          <a:pt x="763" y="184"/>
                        </a:lnTo>
                        <a:lnTo>
                          <a:pt x="756" y="137"/>
                        </a:lnTo>
                        <a:lnTo>
                          <a:pt x="798" y="134"/>
                        </a:lnTo>
                        <a:lnTo>
                          <a:pt x="813" y="148"/>
                        </a:lnTo>
                        <a:lnTo>
                          <a:pt x="811" y="193"/>
                        </a:lnTo>
                        <a:lnTo>
                          <a:pt x="787" y="243"/>
                        </a:lnTo>
                        <a:close/>
                        <a:moveTo>
                          <a:pt x="3" y="539"/>
                        </a:moveTo>
                        <a:lnTo>
                          <a:pt x="1" y="274"/>
                        </a:lnTo>
                        <a:lnTo>
                          <a:pt x="0" y="9"/>
                        </a:lnTo>
                        <a:lnTo>
                          <a:pt x="123" y="65"/>
                        </a:lnTo>
                        <a:lnTo>
                          <a:pt x="257" y="112"/>
                        </a:lnTo>
                        <a:lnTo>
                          <a:pt x="306" y="153"/>
                        </a:lnTo>
                        <a:lnTo>
                          <a:pt x="346" y="194"/>
                        </a:lnTo>
                        <a:lnTo>
                          <a:pt x="357" y="241"/>
                        </a:lnTo>
                        <a:lnTo>
                          <a:pt x="477" y="291"/>
                        </a:lnTo>
                        <a:lnTo>
                          <a:pt x="495" y="335"/>
                        </a:lnTo>
                        <a:lnTo>
                          <a:pt x="428" y="344"/>
                        </a:lnTo>
                        <a:lnTo>
                          <a:pt x="445" y="398"/>
                        </a:lnTo>
                        <a:lnTo>
                          <a:pt x="508" y="451"/>
                        </a:lnTo>
                        <a:lnTo>
                          <a:pt x="555" y="538"/>
                        </a:lnTo>
                        <a:lnTo>
                          <a:pt x="596" y="535"/>
                        </a:lnTo>
                        <a:lnTo>
                          <a:pt x="592" y="570"/>
                        </a:lnTo>
                        <a:lnTo>
                          <a:pt x="648" y="584"/>
                        </a:lnTo>
                        <a:lnTo>
                          <a:pt x="626" y="600"/>
                        </a:lnTo>
                        <a:lnTo>
                          <a:pt x="702" y="634"/>
                        </a:lnTo>
                        <a:lnTo>
                          <a:pt x="695" y="658"/>
                        </a:lnTo>
                        <a:lnTo>
                          <a:pt x="647" y="663"/>
                        </a:lnTo>
                        <a:lnTo>
                          <a:pt x="630" y="643"/>
                        </a:lnTo>
                        <a:lnTo>
                          <a:pt x="568" y="633"/>
                        </a:lnTo>
                        <a:lnTo>
                          <a:pt x="496" y="620"/>
                        </a:lnTo>
                        <a:lnTo>
                          <a:pt x="441" y="569"/>
                        </a:lnTo>
                        <a:lnTo>
                          <a:pt x="400" y="524"/>
                        </a:lnTo>
                        <a:lnTo>
                          <a:pt x="362" y="453"/>
                        </a:lnTo>
                        <a:lnTo>
                          <a:pt x="268" y="418"/>
                        </a:lnTo>
                        <a:lnTo>
                          <a:pt x="208" y="440"/>
                        </a:lnTo>
                        <a:lnTo>
                          <a:pt x="165" y="468"/>
                        </a:lnTo>
                        <a:lnTo>
                          <a:pt x="175" y="528"/>
                        </a:lnTo>
                        <a:lnTo>
                          <a:pt x="118" y="555"/>
                        </a:lnTo>
                        <a:lnTo>
                          <a:pt x="78" y="541"/>
                        </a:lnTo>
                        <a:lnTo>
                          <a:pt x="3" y="539"/>
                        </a:lnTo>
                        <a:close/>
                        <a:moveTo>
                          <a:pt x="871" y="163"/>
                        </a:moveTo>
                        <a:lnTo>
                          <a:pt x="848" y="185"/>
                        </a:lnTo>
                        <a:lnTo>
                          <a:pt x="835" y="137"/>
                        </a:lnTo>
                        <a:lnTo>
                          <a:pt x="817" y="105"/>
                        </a:lnTo>
                        <a:lnTo>
                          <a:pt x="785" y="79"/>
                        </a:lnTo>
                        <a:lnTo>
                          <a:pt x="745" y="44"/>
                        </a:lnTo>
                        <a:lnTo>
                          <a:pt x="692" y="20"/>
                        </a:lnTo>
                        <a:lnTo>
                          <a:pt x="712" y="0"/>
                        </a:lnTo>
                        <a:lnTo>
                          <a:pt x="751" y="23"/>
                        </a:lnTo>
                        <a:lnTo>
                          <a:pt x="776" y="41"/>
                        </a:lnTo>
                        <a:lnTo>
                          <a:pt x="806" y="60"/>
                        </a:lnTo>
                        <a:lnTo>
                          <a:pt x="835" y="95"/>
                        </a:lnTo>
                        <a:lnTo>
                          <a:pt x="862" y="120"/>
                        </a:lnTo>
                        <a:lnTo>
                          <a:pt x="871" y="16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2" name="Poland" descr="{&quot;Key&quot;:&quot;poland&quot;,&quot;Name&quot;:&quot;Poland&quot;,&quot;Value&quot;:1.0,&quot;Formula&quot;:&quot;&quot;,&quot;Text&quot;:&quot;&quot;,&quot;OfficeApplication&quot;:1,&quot;HasValue&quot;:true}">
                    <a:extLst>
                      <a:ext uri="{FF2B5EF4-FFF2-40B4-BE49-F238E27FC236}">
                        <a16:creationId xmlns:a16="http://schemas.microsoft.com/office/drawing/2014/main" id="{5A26961E-9D6B-C0A8-9820-BB2388F5F4F9}"/>
                      </a:ext>
                    </a:extLst>
                  </p:cNvPr>
                  <p:cNvSpPr>
                    <a:spLocks/>
                  </p:cNvSpPr>
                  <p:nvPr/>
                </p:nvSpPr>
                <p:spPr bwMode="auto">
                  <a:xfrm>
                    <a:off x="1491" y="1551"/>
                    <a:ext cx="194" cy="126"/>
                  </a:xfrm>
                  <a:custGeom>
                    <a:avLst/>
                    <a:gdLst>
                      <a:gd name="T0" fmla="*/ 672 w 696"/>
                      <a:gd name="T1" fmla="*/ 40 h 453"/>
                      <a:gd name="T2" fmla="*/ 696 w 696"/>
                      <a:gd name="T3" fmla="*/ 48 h 453"/>
                      <a:gd name="T4" fmla="*/ 691 w 696"/>
                      <a:gd name="T5" fmla="*/ 72 h 453"/>
                      <a:gd name="T6" fmla="*/ 667 w 696"/>
                      <a:gd name="T7" fmla="*/ 106 h 453"/>
                      <a:gd name="T8" fmla="*/ 660 w 696"/>
                      <a:gd name="T9" fmla="*/ 136 h 453"/>
                      <a:gd name="T10" fmla="*/ 636 w 696"/>
                      <a:gd name="T11" fmla="*/ 167 h 453"/>
                      <a:gd name="T12" fmla="*/ 587 w 696"/>
                      <a:gd name="T13" fmla="*/ 182 h 453"/>
                      <a:gd name="T14" fmla="*/ 579 w 696"/>
                      <a:gd name="T15" fmla="*/ 218 h 453"/>
                      <a:gd name="T16" fmla="*/ 554 w 696"/>
                      <a:gd name="T17" fmla="*/ 253 h 453"/>
                      <a:gd name="T18" fmla="*/ 535 w 696"/>
                      <a:gd name="T19" fmla="*/ 322 h 453"/>
                      <a:gd name="T20" fmla="*/ 512 w 696"/>
                      <a:gd name="T21" fmla="*/ 343 h 453"/>
                      <a:gd name="T22" fmla="*/ 475 w 696"/>
                      <a:gd name="T23" fmla="*/ 352 h 453"/>
                      <a:gd name="T24" fmla="*/ 372 w 696"/>
                      <a:gd name="T25" fmla="*/ 418 h 453"/>
                      <a:gd name="T26" fmla="*/ 364 w 696"/>
                      <a:gd name="T27" fmla="*/ 453 h 453"/>
                      <a:gd name="T28" fmla="*/ 354 w 696"/>
                      <a:gd name="T29" fmla="*/ 448 h 453"/>
                      <a:gd name="T30" fmla="*/ 315 w 696"/>
                      <a:gd name="T31" fmla="*/ 418 h 453"/>
                      <a:gd name="T32" fmla="*/ 261 w 696"/>
                      <a:gd name="T33" fmla="*/ 430 h 453"/>
                      <a:gd name="T34" fmla="*/ 237 w 696"/>
                      <a:gd name="T35" fmla="*/ 422 h 453"/>
                      <a:gd name="T36" fmla="*/ 189 w 696"/>
                      <a:gd name="T37" fmla="*/ 438 h 453"/>
                      <a:gd name="T38" fmla="*/ 177 w 696"/>
                      <a:gd name="T39" fmla="*/ 411 h 453"/>
                      <a:gd name="T40" fmla="*/ 144 w 696"/>
                      <a:gd name="T41" fmla="*/ 421 h 453"/>
                      <a:gd name="T42" fmla="*/ 144 w 696"/>
                      <a:gd name="T43" fmla="*/ 417 h 453"/>
                      <a:gd name="T44" fmla="*/ 144 w 696"/>
                      <a:gd name="T45" fmla="*/ 378 h 453"/>
                      <a:gd name="T46" fmla="*/ 100 w 696"/>
                      <a:gd name="T47" fmla="*/ 373 h 453"/>
                      <a:gd name="T48" fmla="*/ 112 w 696"/>
                      <a:gd name="T49" fmla="*/ 348 h 453"/>
                      <a:gd name="T50" fmla="*/ 76 w 696"/>
                      <a:gd name="T51" fmla="*/ 340 h 453"/>
                      <a:gd name="T52" fmla="*/ 52 w 696"/>
                      <a:gd name="T53" fmla="*/ 360 h 453"/>
                      <a:gd name="T54" fmla="*/ 30 w 696"/>
                      <a:gd name="T55" fmla="*/ 343 h 453"/>
                      <a:gd name="T56" fmla="*/ 51 w 696"/>
                      <a:gd name="T57" fmla="*/ 322 h 453"/>
                      <a:gd name="T58" fmla="*/ 10 w 696"/>
                      <a:gd name="T59" fmla="*/ 316 h 453"/>
                      <a:gd name="T60" fmla="*/ 0 w 696"/>
                      <a:gd name="T61" fmla="*/ 290 h 453"/>
                      <a:gd name="T62" fmla="*/ 15 w 696"/>
                      <a:gd name="T63" fmla="*/ 240 h 453"/>
                      <a:gd name="T64" fmla="*/ 41 w 696"/>
                      <a:gd name="T65" fmla="*/ 213 h 453"/>
                      <a:gd name="T66" fmla="*/ 60 w 696"/>
                      <a:gd name="T67" fmla="*/ 172 h 453"/>
                      <a:gd name="T68" fmla="*/ 61 w 696"/>
                      <a:gd name="T69" fmla="*/ 145 h 453"/>
                      <a:gd name="T70" fmla="*/ 95 w 696"/>
                      <a:gd name="T71" fmla="*/ 123 h 453"/>
                      <a:gd name="T72" fmla="*/ 115 w 696"/>
                      <a:gd name="T73" fmla="*/ 83 h 453"/>
                      <a:gd name="T74" fmla="*/ 176 w 696"/>
                      <a:gd name="T75" fmla="*/ 61 h 453"/>
                      <a:gd name="T76" fmla="*/ 300 w 696"/>
                      <a:gd name="T77" fmla="*/ 26 h 453"/>
                      <a:gd name="T78" fmla="*/ 399 w 696"/>
                      <a:gd name="T79" fmla="*/ 0 h 453"/>
                      <a:gd name="T80" fmla="*/ 447 w 696"/>
                      <a:gd name="T81" fmla="*/ 12 h 453"/>
                      <a:gd name="T82" fmla="*/ 436 w 696"/>
                      <a:gd name="T83" fmla="*/ 31 h 453"/>
                      <a:gd name="T84" fmla="*/ 494 w 696"/>
                      <a:gd name="T85" fmla="*/ 32 h 453"/>
                      <a:gd name="T86" fmla="*/ 560 w 696"/>
                      <a:gd name="T87" fmla="*/ 41 h 453"/>
                      <a:gd name="T88" fmla="*/ 672 w 696"/>
                      <a:gd name="T89" fmla="*/ 4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6" h="453">
                        <a:moveTo>
                          <a:pt x="672" y="40"/>
                        </a:moveTo>
                        <a:lnTo>
                          <a:pt x="696" y="48"/>
                        </a:lnTo>
                        <a:lnTo>
                          <a:pt x="691" y="72"/>
                        </a:lnTo>
                        <a:lnTo>
                          <a:pt x="667" y="106"/>
                        </a:lnTo>
                        <a:lnTo>
                          <a:pt x="660" y="136"/>
                        </a:lnTo>
                        <a:lnTo>
                          <a:pt x="636" y="167"/>
                        </a:lnTo>
                        <a:lnTo>
                          <a:pt x="587" y="182"/>
                        </a:lnTo>
                        <a:lnTo>
                          <a:pt x="579" y="218"/>
                        </a:lnTo>
                        <a:lnTo>
                          <a:pt x="554" y="253"/>
                        </a:lnTo>
                        <a:lnTo>
                          <a:pt x="535" y="322"/>
                        </a:lnTo>
                        <a:lnTo>
                          <a:pt x="512" y="343"/>
                        </a:lnTo>
                        <a:lnTo>
                          <a:pt x="475" y="352"/>
                        </a:lnTo>
                        <a:lnTo>
                          <a:pt x="372" y="418"/>
                        </a:lnTo>
                        <a:lnTo>
                          <a:pt x="364" y="453"/>
                        </a:lnTo>
                        <a:lnTo>
                          <a:pt x="354" y="448"/>
                        </a:lnTo>
                        <a:lnTo>
                          <a:pt x="315" y="418"/>
                        </a:lnTo>
                        <a:lnTo>
                          <a:pt x="261" y="430"/>
                        </a:lnTo>
                        <a:lnTo>
                          <a:pt x="237" y="422"/>
                        </a:lnTo>
                        <a:lnTo>
                          <a:pt x="189" y="438"/>
                        </a:lnTo>
                        <a:lnTo>
                          <a:pt x="177" y="411"/>
                        </a:lnTo>
                        <a:lnTo>
                          <a:pt x="144" y="421"/>
                        </a:lnTo>
                        <a:lnTo>
                          <a:pt x="144" y="417"/>
                        </a:lnTo>
                        <a:lnTo>
                          <a:pt x="144" y="378"/>
                        </a:lnTo>
                        <a:lnTo>
                          <a:pt x="100" y="373"/>
                        </a:lnTo>
                        <a:lnTo>
                          <a:pt x="112" y="348"/>
                        </a:lnTo>
                        <a:lnTo>
                          <a:pt x="76" y="340"/>
                        </a:lnTo>
                        <a:lnTo>
                          <a:pt x="52" y="360"/>
                        </a:lnTo>
                        <a:lnTo>
                          <a:pt x="30" y="343"/>
                        </a:lnTo>
                        <a:lnTo>
                          <a:pt x="51" y="322"/>
                        </a:lnTo>
                        <a:lnTo>
                          <a:pt x="10" y="316"/>
                        </a:lnTo>
                        <a:lnTo>
                          <a:pt x="0" y="290"/>
                        </a:lnTo>
                        <a:lnTo>
                          <a:pt x="15" y="240"/>
                        </a:lnTo>
                        <a:lnTo>
                          <a:pt x="41" y="213"/>
                        </a:lnTo>
                        <a:lnTo>
                          <a:pt x="60" y="172"/>
                        </a:lnTo>
                        <a:lnTo>
                          <a:pt x="61" y="145"/>
                        </a:lnTo>
                        <a:lnTo>
                          <a:pt x="95" y="123"/>
                        </a:lnTo>
                        <a:lnTo>
                          <a:pt x="115" y="83"/>
                        </a:lnTo>
                        <a:lnTo>
                          <a:pt x="176" y="61"/>
                        </a:lnTo>
                        <a:lnTo>
                          <a:pt x="300" y="26"/>
                        </a:lnTo>
                        <a:lnTo>
                          <a:pt x="399" y="0"/>
                        </a:lnTo>
                        <a:lnTo>
                          <a:pt x="447" y="12"/>
                        </a:lnTo>
                        <a:lnTo>
                          <a:pt x="436" y="31"/>
                        </a:lnTo>
                        <a:lnTo>
                          <a:pt x="494" y="32"/>
                        </a:lnTo>
                        <a:lnTo>
                          <a:pt x="560" y="41"/>
                        </a:lnTo>
                        <a:lnTo>
                          <a:pt x="672" y="4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3" name="North Korea" descr="{&quot;Key&quot;:&quot;north korea&quot;,&quot;Name&quot;:&quot;North Korea&quot;,&quot;Value&quot;:1.0,&quot;Formula&quot;:&quot;&quot;,&quot;Text&quot;:&quot;&quot;,&quot;OfficeApplication&quot;:1,&quot;HasValue&quot;:true}">
                    <a:extLst>
                      <a:ext uri="{FF2B5EF4-FFF2-40B4-BE49-F238E27FC236}">
                        <a16:creationId xmlns:a16="http://schemas.microsoft.com/office/drawing/2014/main" id="{9ACD68FF-BC82-5CA5-1AE3-F4531CD73C2A}"/>
                      </a:ext>
                    </a:extLst>
                  </p:cNvPr>
                  <p:cNvSpPr>
                    <a:spLocks/>
                  </p:cNvSpPr>
                  <p:nvPr/>
                </p:nvSpPr>
                <p:spPr bwMode="auto">
                  <a:xfrm>
                    <a:off x="3342" y="1811"/>
                    <a:ext cx="125" cy="120"/>
                  </a:xfrm>
                  <a:custGeom>
                    <a:avLst/>
                    <a:gdLst>
                      <a:gd name="T0" fmla="*/ 439 w 446"/>
                      <a:gd name="T1" fmla="*/ 48 h 429"/>
                      <a:gd name="T2" fmla="*/ 446 w 446"/>
                      <a:gd name="T3" fmla="*/ 62 h 429"/>
                      <a:gd name="T4" fmla="*/ 421 w 446"/>
                      <a:gd name="T5" fmla="*/ 58 h 429"/>
                      <a:gd name="T6" fmla="*/ 391 w 446"/>
                      <a:gd name="T7" fmla="*/ 84 h 429"/>
                      <a:gd name="T8" fmla="*/ 369 w 446"/>
                      <a:gd name="T9" fmla="*/ 112 h 429"/>
                      <a:gd name="T10" fmla="*/ 366 w 446"/>
                      <a:gd name="T11" fmla="*/ 170 h 429"/>
                      <a:gd name="T12" fmla="*/ 331 w 446"/>
                      <a:gd name="T13" fmla="*/ 188 h 429"/>
                      <a:gd name="T14" fmla="*/ 318 w 446"/>
                      <a:gd name="T15" fmla="*/ 202 h 429"/>
                      <a:gd name="T16" fmla="*/ 290 w 446"/>
                      <a:gd name="T17" fmla="*/ 225 h 429"/>
                      <a:gd name="T18" fmla="*/ 245 w 446"/>
                      <a:gd name="T19" fmla="*/ 239 h 429"/>
                      <a:gd name="T20" fmla="*/ 215 w 446"/>
                      <a:gd name="T21" fmla="*/ 260 h 429"/>
                      <a:gd name="T22" fmla="*/ 209 w 446"/>
                      <a:gd name="T23" fmla="*/ 295 h 429"/>
                      <a:gd name="T24" fmla="*/ 201 w 446"/>
                      <a:gd name="T25" fmla="*/ 304 h 429"/>
                      <a:gd name="T26" fmla="*/ 226 w 446"/>
                      <a:gd name="T27" fmla="*/ 318 h 429"/>
                      <a:gd name="T28" fmla="*/ 261 w 446"/>
                      <a:gd name="T29" fmla="*/ 353 h 429"/>
                      <a:gd name="T30" fmla="*/ 250 w 446"/>
                      <a:gd name="T31" fmla="*/ 373 h 429"/>
                      <a:gd name="T32" fmla="*/ 220 w 446"/>
                      <a:gd name="T33" fmla="*/ 378 h 429"/>
                      <a:gd name="T34" fmla="*/ 173 w 446"/>
                      <a:gd name="T35" fmla="*/ 382 h 429"/>
                      <a:gd name="T36" fmla="*/ 144 w 446"/>
                      <a:gd name="T37" fmla="*/ 419 h 429"/>
                      <a:gd name="T38" fmla="*/ 114 w 446"/>
                      <a:gd name="T39" fmla="*/ 415 h 429"/>
                      <a:gd name="T40" fmla="*/ 110 w 446"/>
                      <a:gd name="T41" fmla="*/ 423 h 429"/>
                      <a:gd name="T42" fmla="*/ 79 w 446"/>
                      <a:gd name="T43" fmla="*/ 408 h 429"/>
                      <a:gd name="T44" fmla="*/ 69 w 446"/>
                      <a:gd name="T45" fmla="*/ 423 h 429"/>
                      <a:gd name="T46" fmla="*/ 49 w 446"/>
                      <a:gd name="T47" fmla="*/ 429 h 429"/>
                      <a:gd name="T48" fmla="*/ 48 w 446"/>
                      <a:gd name="T49" fmla="*/ 414 h 429"/>
                      <a:gd name="T50" fmla="*/ 31 w 446"/>
                      <a:gd name="T51" fmla="*/ 407 h 429"/>
                      <a:gd name="T52" fmla="*/ 15 w 446"/>
                      <a:gd name="T53" fmla="*/ 394 h 429"/>
                      <a:gd name="T54" fmla="*/ 36 w 446"/>
                      <a:gd name="T55" fmla="*/ 358 h 429"/>
                      <a:gd name="T56" fmla="*/ 53 w 446"/>
                      <a:gd name="T57" fmla="*/ 349 h 429"/>
                      <a:gd name="T58" fmla="*/ 49 w 446"/>
                      <a:gd name="T59" fmla="*/ 334 h 429"/>
                      <a:gd name="T60" fmla="*/ 70 w 446"/>
                      <a:gd name="T61" fmla="*/ 291 h 429"/>
                      <a:gd name="T62" fmla="*/ 66 w 446"/>
                      <a:gd name="T63" fmla="*/ 278 h 429"/>
                      <a:gd name="T64" fmla="*/ 29 w 446"/>
                      <a:gd name="T65" fmla="*/ 269 h 429"/>
                      <a:gd name="T66" fmla="*/ 0 w 446"/>
                      <a:gd name="T67" fmla="*/ 247 h 429"/>
                      <a:gd name="T68" fmla="*/ 59 w 446"/>
                      <a:gd name="T69" fmla="*/ 196 h 429"/>
                      <a:gd name="T70" fmla="*/ 136 w 446"/>
                      <a:gd name="T71" fmla="*/ 152 h 429"/>
                      <a:gd name="T72" fmla="*/ 188 w 446"/>
                      <a:gd name="T73" fmla="*/ 94 h 429"/>
                      <a:gd name="T74" fmla="*/ 216 w 446"/>
                      <a:gd name="T75" fmla="*/ 121 h 429"/>
                      <a:gd name="T76" fmla="*/ 273 w 446"/>
                      <a:gd name="T77" fmla="*/ 123 h 429"/>
                      <a:gd name="T78" fmla="*/ 266 w 446"/>
                      <a:gd name="T79" fmla="*/ 80 h 429"/>
                      <a:gd name="T80" fmla="*/ 370 w 446"/>
                      <a:gd name="T81" fmla="*/ 45 h 429"/>
                      <a:gd name="T82" fmla="*/ 400 w 446"/>
                      <a:gd name="T83" fmla="*/ 0 h 429"/>
                      <a:gd name="T84" fmla="*/ 439 w 446"/>
                      <a:gd name="T85" fmla="*/ 4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6" h="429">
                        <a:moveTo>
                          <a:pt x="439" y="48"/>
                        </a:moveTo>
                        <a:lnTo>
                          <a:pt x="446" y="62"/>
                        </a:lnTo>
                        <a:lnTo>
                          <a:pt x="421" y="58"/>
                        </a:lnTo>
                        <a:lnTo>
                          <a:pt x="391" y="84"/>
                        </a:lnTo>
                        <a:lnTo>
                          <a:pt x="369" y="112"/>
                        </a:lnTo>
                        <a:lnTo>
                          <a:pt x="366" y="170"/>
                        </a:lnTo>
                        <a:lnTo>
                          <a:pt x="331" y="188"/>
                        </a:lnTo>
                        <a:lnTo>
                          <a:pt x="318" y="202"/>
                        </a:lnTo>
                        <a:lnTo>
                          <a:pt x="290" y="225"/>
                        </a:lnTo>
                        <a:lnTo>
                          <a:pt x="245" y="239"/>
                        </a:lnTo>
                        <a:lnTo>
                          <a:pt x="215" y="260"/>
                        </a:lnTo>
                        <a:lnTo>
                          <a:pt x="209" y="295"/>
                        </a:lnTo>
                        <a:lnTo>
                          <a:pt x="201" y="304"/>
                        </a:lnTo>
                        <a:lnTo>
                          <a:pt x="226" y="318"/>
                        </a:lnTo>
                        <a:lnTo>
                          <a:pt x="261" y="353"/>
                        </a:lnTo>
                        <a:lnTo>
                          <a:pt x="250" y="373"/>
                        </a:lnTo>
                        <a:lnTo>
                          <a:pt x="220" y="378"/>
                        </a:lnTo>
                        <a:lnTo>
                          <a:pt x="173" y="382"/>
                        </a:lnTo>
                        <a:lnTo>
                          <a:pt x="144" y="419"/>
                        </a:lnTo>
                        <a:lnTo>
                          <a:pt x="114" y="415"/>
                        </a:lnTo>
                        <a:lnTo>
                          <a:pt x="110" y="423"/>
                        </a:lnTo>
                        <a:lnTo>
                          <a:pt x="79" y="408"/>
                        </a:lnTo>
                        <a:lnTo>
                          <a:pt x="69" y="423"/>
                        </a:lnTo>
                        <a:lnTo>
                          <a:pt x="49" y="429"/>
                        </a:lnTo>
                        <a:lnTo>
                          <a:pt x="48" y="414"/>
                        </a:lnTo>
                        <a:lnTo>
                          <a:pt x="31" y="407"/>
                        </a:lnTo>
                        <a:lnTo>
                          <a:pt x="15" y="394"/>
                        </a:lnTo>
                        <a:lnTo>
                          <a:pt x="36" y="358"/>
                        </a:lnTo>
                        <a:lnTo>
                          <a:pt x="53" y="349"/>
                        </a:lnTo>
                        <a:lnTo>
                          <a:pt x="49" y="334"/>
                        </a:lnTo>
                        <a:lnTo>
                          <a:pt x="70" y="291"/>
                        </a:lnTo>
                        <a:lnTo>
                          <a:pt x="66" y="278"/>
                        </a:lnTo>
                        <a:lnTo>
                          <a:pt x="29" y="269"/>
                        </a:lnTo>
                        <a:lnTo>
                          <a:pt x="0" y="247"/>
                        </a:lnTo>
                        <a:lnTo>
                          <a:pt x="59" y="196"/>
                        </a:lnTo>
                        <a:lnTo>
                          <a:pt x="136" y="152"/>
                        </a:lnTo>
                        <a:lnTo>
                          <a:pt x="188" y="94"/>
                        </a:lnTo>
                        <a:lnTo>
                          <a:pt x="216" y="121"/>
                        </a:lnTo>
                        <a:lnTo>
                          <a:pt x="273" y="123"/>
                        </a:lnTo>
                        <a:lnTo>
                          <a:pt x="266" y="80"/>
                        </a:lnTo>
                        <a:lnTo>
                          <a:pt x="370" y="45"/>
                        </a:lnTo>
                        <a:lnTo>
                          <a:pt x="400" y="0"/>
                        </a:lnTo>
                        <a:lnTo>
                          <a:pt x="439" y="4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4" name="Paraguay" descr="{&quot;Key&quot;:&quot;paraguay&quot;,&quot;Name&quot;:&quot;Paraguay&quot;,&quot;Value&quot;:1.0,&quot;Formula&quot;:&quot;&quot;,&quot;Text&quot;:&quot;&quot;,&quot;OfficeApplication&quot;:1,&quot;HasValue&quot;:true}">
                    <a:extLst>
                      <a:ext uri="{FF2B5EF4-FFF2-40B4-BE49-F238E27FC236}">
                        <a16:creationId xmlns:a16="http://schemas.microsoft.com/office/drawing/2014/main" id="{FBF7F07F-E02F-89BC-031E-AA4065B39A68}"/>
                      </a:ext>
                    </a:extLst>
                  </p:cNvPr>
                  <p:cNvSpPr>
                    <a:spLocks/>
                  </p:cNvSpPr>
                  <p:nvPr/>
                </p:nvSpPr>
                <p:spPr bwMode="auto">
                  <a:xfrm>
                    <a:off x="6702" y="3223"/>
                    <a:ext cx="155" cy="186"/>
                  </a:xfrm>
                  <a:custGeom>
                    <a:avLst/>
                    <a:gdLst>
                      <a:gd name="T0" fmla="*/ 356 w 553"/>
                      <a:gd name="T1" fmla="*/ 69 h 668"/>
                      <a:gd name="T2" fmla="*/ 368 w 553"/>
                      <a:gd name="T3" fmla="*/ 114 h 668"/>
                      <a:gd name="T4" fmla="*/ 336 w 553"/>
                      <a:gd name="T5" fmla="*/ 224 h 668"/>
                      <a:gd name="T6" fmla="*/ 408 w 553"/>
                      <a:gd name="T7" fmla="*/ 240 h 668"/>
                      <a:gd name="T8" fmla="*/ 440 w 553"/>
                      <a:gd name="T9" fmla="*/ 224 h 668"/>
                      <a:gd name="T10" fmla="*/ 481 w 553"/>
                      <a:gd name="T11" fmla="*/ 246 h 668"/>
                      <a:gd name="T12" fmla="*/ 489 w 553"/>
                      <a:gd name="T13" fmla="*/ 270 h 668"/>
                      <a:gd name="T14" fmla="*/ 476 w 553"/>
                      <a:gd name="T15" fmla="*/ 345 h 668"/>
                      <a:gd name="T16" fmla="*/ 476 w 553"/>
                      <a:gd name="T17" fmla="*/ 376 h 668"/>
                      <a:gd name="T18" fmla="*/ 501 w 553"/>
                      <a:gd name="T19" fmla="*/ 379 h 668"/>
                      <a:gd name="T20" fmla="*/ 531 w 553"/>
                      <a:gd name="T21" fmla="*/ 366 h 668"/>
                      <a:gd name="T22" fmla="*/ 553 w 553"/>
                      <a:gd name="T23" fmla="*/ 381 h 668"/>
                      <a:gd name="T24" fmla="*/ 540 w 553"/>
                      <a:gd name="T25" fmla="*/ 425 h 668"/>
                      <a:gd name="T26" fmla="*/ 516 w 553"/>
                      <a:gd name="T27" fmla="*/ 474 h 668"/>
                      <a:gd name="T28" fmla="*/ 489 w 553"/>
                      <a:gd name="T29" fmla="*/ 520 h 668"/>
                      <a:gd name="T30" fmla="*/ 454 w 553"/>
                      <a:gd name="T31" fmla="*/ 593 h 668"/>
                      <a:gd name="T32" fmla="*/ 370 w 553"/>
                      <a:gd name="T33" fmla="*/ 655 h 668"/>
                      <a:gd name="T34" fmla="*/ 310 w 553"/>
                      <a:gd name="T35" fmla="*/ 668 h 668"/>
                      <a:gd name="T36" fmla="*/ 236 w 553"/>
                      <a:gd name="T37" fmla="*/ 655 h 668"/>
                      <a:gd name="T38" fmla="*/ 174 w 553"/>
                      <a:gd name="T39" fmla="*/ 633 h 668"/>
                      <a:gd name="T40" fmla="*/ 283 w 553"/>
                      <a:gd name="T41" fmla="*/ 510 h 668"/>
                      <a:gd name="T42" fmla="*/ 283 w 553"/>
                      <a:gd name="T43" fmla="*/ 474 h 668"/>
                      <a:gd name="T44" fmla="*/ 220 w 553"/>
                      <a:gd name="T45" fmla="*/ 443 h 668"/>
                      <a:gd name="T46" fmla="*/ 151 w 553"/>
                      <a:gd name="T47" fmla="*/ 381 h 668"/>
                      <a:gd name="T48" fmla="*/ 96 w 553"/>
                      <a:gd name="T49" fmla="*/ 370 h 668"/>
                      <a:gd name="T50" fmla="*/ 0 w 553"/>
                      <a:gd name="T51" fmla="*/ 236 h 668"/>
                      <a:gd name="T52" fmla="*/ 50 w 553"/>
                      <a:gd name="T53" fmla="*/ 140 h 668"/>
                      <a:gd name="T54" fmla="*/ 61 w 553"/>
                      <a:gd name="T55" fmla="*/ 96 h 668"/>
                      <a:gd name="T56" fmla="*/ 111 w 553"/>
                      <a:gd name="T57" fmla="*/ 24 h 668"/>
                      <a:gd name="T58" fmla="*/ 239 w 553"/>
                      <a:gd name="T59" fmla="*/ 0 h 668"/>
                      <a:gd name="T60" fmla="*/ 305 w 553"/>
                      <a:gd name="T61" fmla="*/ 1 h 668"/>
                      <a:gd name="T62" fmla="*/ 361 w 553"/>
                      <a:gd name="T63" fmla="*/ 44 h 668"/>
                      <a:gd name="T64" fmla="*/ 356 w 553"/>
                      <a:gd name="T65" fmla="*/ 69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3" h="668">
                        <a:moveTo>
                          <a:pt x="356" y="69"/>
                        </a:moveTo>
                        <a:lnTo>
                          <a:pt x="368" y="114"/>
                        </a:lnTo>
                        <a:lnTo>
                          <a:pt x="336" y="224"/>
                        </a:lnTo>
                        <a:lnTo>
                          <a:pt x="408" y="240"/>
                        </a:lnTo>
                        <a:lnTo>
                          <a:pt x="440" y="224"/>
                        </a:lnTo>
                        <a:lnTo>
                          <a:pt x="481" y="246"/>
                        </a:lnTo>
                        <a:lnTo>
                          <a:pt x="489" y="270"/>
                        </a:lnTo>
                        <a:lnTo>
                          <a:pt x="476" y="345"/>
                        </a:lnTo>
                        <a:lnTo>
                          <a:pt x="476" y="376"/>
                        </a:lnTo>
                        <a:lnTo>
                          <a:pt x="501" y="379"/>
                        </a:lnTo>
                        <a:lnTo>
                          <a:pt x="531" y="366"/>
                        </a:lnTo>
                        <a:lnTo>
                          <a:pt x="553" y="381"/>
                        </a:lnTo>
                        <a:lnTo>
                          <a:pt x="540" y="425"/>
                        </a:lnTo>
                        <a:lnTo>
                          <a:pt x="516" y="474"/>
                        </a:lnTo>
                        <a:lnTo>
                          <a:pt x="489" y="520"/>
                        </a:lnTo>
                        <a:lnTo>
                          <a:pt x="454" y="593"/>
                        </a:lnTo>
                        <a:lnTo>
                          <a:pt x="370" y="655"/>
                        </a:lnTo>
                        <a:lnTo>
                          <a:pt x="310" y="668"/>
                        </a:lnTo>
                        <a:lnTo>
                          <a:pt x="236" y="655"/>
                        </a:lnTo>
                        <a:lnTo>
                          <a:pt x="174" y="633"/>
                        </a:lnTo>
                        <a:lnTo>
                          <a:pt x="283" y="510"/>
                        </a:lnTo>
                        <a:lnTo>
                          <a:pt x="283" y="474"/>
                        </a:lnTo>
                        <a:lnTo>
                          <a:pt x="220" y="443"/>
                        </a:lnTo>
                        <a:lnTo>
                          <a:pt x="151" y="381"/>
                        </a:lnTo>
                        <a:lnTo>
                          <a:pt x="96" y="370"/>
                        </a:lnTo>
                        <a:lnTo>
                          <a:pt x="0" y="236"/>
                        </a:lnTo>
                        <a:lnTo>
                          <a:pt x="50" y="140"/>
                        </a:lnTo>
                        <a:lnTo>
                          <a:pt x="61" y="96"/>
                        </a:lnTo>
                        <a:lnTo>
                          <a:pt x="111" y="24"/>
                        </a:lnTo>
                        <a:lnTo>
                          <a:pt x="239" y="0"/>
                        </a:lnTo>
                        <a:lnTo>
                          <a:pt x="305" y="1"/>
                        </a:lnTo>
                        <a:lnTo>
                          <a:pt x="361" y="44"/>
                        </a:lnTo>
                        <a:lnTo>
                          <a:pt x="356" y="6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5" name="Palestine" descr="{&quot;Key&quot;:&quot;palestine&quot;,&quot;Name&quot;:&quot;Palestine&quot;,&quot;Value&quot;:1.0,&quot;Formula&quot;:&quot;&quot;,&quot;Text&quot;:&quot;&quot;,&quot;OfficeApplication&quot;:1,&quot;HasValue&quot;:true}">
                    <a:extLst>
                      <a:ext uri="{FF2B5EF4-FFF2-40B4-BE49-F238E27FC236}">
                        <a16:creationId xmlns:a16="http://schemas.microsoft.com/office/drawing/2014/main" id="{DA92A8DD-BD00-F99A-3D2A-C602F86877A1}"/>
                      </a:ext>
                    </a:extLst>
                  </p:cNvPr>
                  <p:cNvSpPr>
                    <a:spLocks/>
                  </p:cNvSpPr>
                  <p:nvPr/>
                </p:nvSpPr>
                <p:spPr bwMode="auto">
                  <a:xfrm>
                    <a:off x="1616" y="2047"/>
                    <a:ext cx="20" cy="27"/>
                  </a:xfrm>
                  <a:custGeom>
                    <a:avLst/>
                    <a:gdLst>
                      <a:gd name="T0" fmla="*/ 71 w 71"/>
                      <a:gd name="T1" fmla="*/ 11 h 96"/>
                      <a:gd name="T2" fmla="*/ 53 w 71"/>
                      <a:gd name="T3" fmla="*/ 61 h 96"/>
                      <a:gd name="T4" fmla="*/ 36 w 71"/>
                      <a:gd name="T5" fmla="*/ 85 h 96"/>
                      <a:gd name="T6" fmla="*/ 0 w 71"/>
                      <a:gd name="T7" fmla="*/ 96 h 96"/>
                      <a:gd name="T8" fmla="*/ 10 w 71"/>
                      <a:gd name="T9" fmla="*/ 75 h 96"/>
                      <a:gd name="T10" fmla="*/ 31 w 71"/>
                      <a:gd name="T11" fmla="*/ 64 h 96"/>
                      <a:gd name="T12" fmla="*/ 17 w 71"/>
                      <a:gd name="T13" fmla="*/ 54 h 96"/>
                      <a:gd name="T14" fmla="*/ 50 w 71"/>
                      <a:gd name="T15" fmla="*/ 0 h 96"/>
                      <a:gd name="T16" fmla="*/ 71 w 71"/>
                      <a:gd name="T17"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96">
                        <a:moveTo>
                          <a:pt x="71" y="11"/>
                        </a:moveTo>
                        <a:lnTo>
                          <a:pt x="53" y="61"/>
                        </a:lnTo>
                        <a:lnTo>
                          <a:pt x="36" y="85"/>
                        </a:lnTo>
                        <a:lnTo>
                          <a:pt x="0" y="96"/>
                        </a:lnTo>
                        <a:lnTo>
                          <a:pt x="10" y="75"/>
                        </a:lnTo>
                        <a:lnTo>
                          <a:pt x="31" y="64"/>
                        </a:lnTo>
                        <a:lnTo>
                          <a:pt x="17" y="54"/>
                        </a:lnTo>
                        <a:lnTo>
                          <a:pt x="50" y="0"/>
                        </a:lnTo>
                        <a:lnTo>
                          <a:pt x="71" y="1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6" name="Qatar" descr="{&quot;Key&quot;:&quot;qatar&quot;,&quot;Name&quot;:&quot;Qatar&quot;,&quot;Value&quot;:1.0,&quot;Formula&quot;:&quot;&quot;,&quot;Text&quot;:&quot;&quot;,&quot;OfficeApplication&quot;:1,&quot;HasValue&quot;:true}">
                    <a:extLst>
                      <a:ext uri="{FF2B5EF4-FFF2-40B4-BE49-F238E27FC236}">
                        <a16:creationId xmlns:a16="http://schemas.microsoft.com/office/drawing/2014/main" id="{3B756974-C7E6-C1EC-784E-8A4CCF92F0F9}"/>
                      </a:ext>
                    </a:extLst>
                  </p:cNvPr>
                  <p:cNvSpPr>
                    <a:spLocks/>
                  </p:cNvSpPr>
                  <p:nvPr/>
                </p:nvSpPr>
                <p:spPr bwMode="auto">
                  <a:xfrm>
                    <a:off x="1884" y="2193"/>
                    <a:ext cx="20" cy="35"/>
                  </a:xfrm>
                  <a:custGeom>
                    <a:avLst/>
                    <a:gdLst>
                      <a:gd name="T0" fmla="*/ 39 w 71"/>
                      <a:gd name="T1" fmla="*/ 121 h 128"/>
                      <a:gd name="T2" fmla="*/ 19 w 71"/>
                      <a:gd name="T3" fmla="*/ 128 h 128"/>
                      <a:gd name="T4" fmla="*/ 0 w 71"/>
                      <a:gd name="T5" fmla="*/ 111 h 128"/>
                      <a:gd name="T6" fmla="*/ 8 w 71"/>
                      <a:gd name="T7" fmla="*/ 53 h 128"/>
                      <a:gd name="T8" fmla="*/ 34 w 71"/>
                      <a:gd name="T9" fmla="*/ 9 h 128"/>
                      <a:gd name="T10" fmla="*/ 55 w 71"/>
                      <a:gd name="T11" fmla="*/ 0 h 128"/>
                      <a:gd name="T12" fmla="*/ 71 w 71"/>
                      <a:gd name="T13" fmla="*/ 26 h 128"/>
                      <a:gd name="T14" fmla="*/ 63 w 71"/>
                      <a:gd name="T15" fmla="*/ 74 h 128"/>
                      <a:gd name="T16" fmla="*/ 39 w 71"/>
                      <a:gd name="T17" fmla="*/ 1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8">
                        <a:moveTo>
                          <a:pt x="39" y="121"/>
                        </a:moveTo>
                        <a:lnTo>
                          <a:pt x="19" y="128"/>
                        </a:lnTo>
                        <a:lnTo>
                          <a:pt x="0" y="111"/>
                        </a:lnTo>
                        <a:lnTo>
                          <a:pt x="8" y="53"/>
                        </a:lnTo>
                        <a:lnTo>
                          <a:pt x="34" y="9"/>
                        </a:lnTo>
                        <a:lnTo>
                          <a:pt x="55" y="0"/>
                        </a:lnTo>
                        <a:lnTo>
                          <a:pt x="71" y="26"/>
                        </a:lnTo>
                        <a:lnTo>
                          <a:pt x="63" y="74"/>
                        </a:lnTo>
                        <a:lnTo>
                          <a:pt x="39" y="12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7" name="Romania" descr="{&quot;Key&quot;:&quot;romania&quot;,&quot;Name&quot;:&quot;Romania&quot;,&quot;Value&quot;:1.0,&quot;Formula&quot;:&quot;&quot;,&quot;Text&quot;:&quot;&quot;,&quot;OfficeApplication&quot;:1,&quot;HasValue&quot;:true}">
                    <a:extLst>
                      <a:ext uri="{FF2B5EF4-FFF2-40B4-BE49-F238E27FC236}">
                        <a16:creationId xmlns:a16="http://schemas.microsoft.com/office/drawing/2014/main" id="{9A145785-A107-6A33-8278-C81A8E907674}"/>
                      </a:ext>
                    </a:extLst>
                  </p:cNvPr>
                  <p:cNvSpPr>
                    <a:spLocks/>
                  </p:cNvSpPr>
                  <p:nvPr/>
                </p:nvSpPr>
                <p:spPr bwMode="auto">
                  <a:xfrm>
                    <a:off x="1505" y="1695"/>
                    <a:ext cx="156" cy="100"/>
                  </a:xfrm>
                  <a:custGeom>
                    <a:avLst/>
                    <a:gdLst>
                      <a:gd name="T0" fmla="*/ 513 w 560"/>
                      <a:gd name="T1" fmla="*/ 0 h 361"/>
                      <a:gd name="T2" fmla="*/ 526 w 560"/>
                      <a:gd name="T3" fmla="*/ 8 h 361"/>
                      <a:gd name="T4" fmla="*/ 531 w 560"/>
                      <a:gd name="T5" fmla="*/ 31 h 361"/>
                      <a:gd name="T6" fmla="*/ 530 w 560"/>
                      <a:gd name="T7" fmla="*/ 65 h 361"/>
                      <a:gd name="T8" fmla="*/ 538 w 560"/>
                      <a:gd name="T9" fmla="*/ 113 h 361"/>
                      <a:gd name="T10" fmla="*/ 519 w 560"/>
                      <a:gd name="T11" fmla="*/ 148 h 361"/>
                      <a:gd name="T12" fmla="*/ 491 w 560"/>
                      <a:gd name="T13" fmla="*/ 181 h 361"/>
                      <a:gd name="T14" fmla="*/ 481 w 560"/>
                      <a:gd name="T15" fmla="*/ 218 h 361"/>
                      <a:gd name="T16" fmla="*/ 501 w 560"/>
                      <a:gd name="T17" fmla="*/ 233 h 361"/>
                      <a:gd name="T18" fmla="*/ 539 w 560"/>
                      <a:gd name="T19" fmla="*/ 219 h 361"/>
                      <a:gd name="T20" fmla="*/ 560 w 560"/>
                      <a:gd name="T21" fmla="*/ 233 h 361"/>
                      <a:gd name="T22" fmla="*/ 550 w 560"/>
                      <a:gd name="T23" fmla="*/ 254 h 361"/>
                      <a:gd name="T24" fmla="*/ 509 w 560"/>
                      <a:gd name="T25" fmla="*/ 271 h 361"/>
                      <a:gd name="T26" fmla="*/ 494 w 560"/>
                      <a:gd name="T27" fmla="*/ 264 h 361"/>
                      <a:gd name="T28" fmla="*/ 419 w 560"/>
                      <a:gd name="T29" fmla="*/ 360 h 361"/>
                      <a:gd name="T30" fmla="*/ 386 w 560"/>
                      <a:gd name="T31" fmla="*/ 351 h 361"/>
                      <a:gd name="T32" fmla="*/ 356 w 560"/>
                      <a:gd name="T33" fmla="*/ 322 h 361"/>
                      <a:gd name="T34" fmla="*/ 269 w 560"/>
                      <a:gd name="T35" fmla="*/ 341 h 361"/>
                      <a:gd name="T36" fmla="*/ 225 w 560"/>
                      <a:gd name="T37" fmla="*/ 361 h 361"/>
                      <a:gd name="T38" fmla="*/ 133 w 560"/>
                      <a:gd name="T39" fmla="*/ 357 h 361"/>
                      <a:gd name="T40" fmla="*/ 90 w 560"/>
                      <a:gd name="T41" fmla="*/ 345 h 361"/>
                      <a:gd name="T42" fmla="*/ 61 w 560"/>
                      <a:gd name="T43" fmla="*/ 350 h 361"/>
                      <a:gd name="T44" fmla="*/ 63 w 560"/>
                      <a:gd name="T45" fmla="*/ 317 h 361"/>
                      <a:gd name="T46" fmla="*/ 59 w 560"/>
                      <a:gd name="T47" fmla="*/ 304 h 361"/>
                      <a:gd name="T48" fmla="*/ 83 w 560"/>
                      <a:gd name="T49" fmla="*/ 290 h 361"/>
                      <a:gd name="T50" fmla="*/ 73 w 560"/>
                      <a:gd name="T51" fmla="*/ 280 h 361"/>
                      <a:gd name="T52" fmla="*/ 41 w 560"/>
                      <a:gd name="T53" fmla="*/ 297 h 361"/>
                      <a:gd name="T54" fmla="*/ 18 w 560"/>
                      <a:gd name="T55" fmla="*/ 275 h 361"/>
                      <a:gd name="T56" fmla="*/ 33 w 560"/>
                      <a:gd name="T57" fmla="*/ 242 h 361"/>
                      <a:gd name="T58" fmla="*/ 5 w 560"/>
                      <a:gd name="T59" fmla="*/ 224 h 361"/>
                      <a:gd name="T60" fmla="*/ 14 w 560"/>
                      <a:gd name="T61" fmla="*/ 197 h 361"/>
                      <a:gd name="T62" fmla="*/ 0 w 560"/>
                      <a:gd name="T63" fmla="*/ 166 h 361"/>
                      <a:gd name="T64" fmla="*/ 60 w 560"/>
                      <a:gd name="T65" fmla="*/ 151 h 361"/>
                      <a:gd name="T66" fmla="*/ 134 w 560"/>
                      <a:gd name="T67" fmla="*/ 97 h 361"/>
                      <a:gd name="T68" fmla="*/ 199 w 560"/>
                      <a:gd name="T69" fmla="*/ 44 h 361"/>
                      <a:gd name="T70" fmla="*/ 248 w 560"/>
                      <a:gd name="T71" fmla="*/ 27 h 361"/>
                      <a:gd name="T72" fmla="*/ 286 w 560"/>
                      <a:gd name="T73" fmla="*/ 10 h 361"/>
                      <a:gd name="T74" fmla="*/ 320 w 560"/>
                      <a:gd name="T75" fmla="*/ 19 h 361"/>
                      <a:gd name="T76" fmla="*/ 360 w 560"/>
                      <a:gd name="T77" fmla="*/ 19 h 361"/>
                      <a:gd name="T78" fmla="*/ 376 w 560"/>
                      <a:gd name="T79" fmla="*/ 39 h 361"/>
                      <a:gd name="T80" fmla="*/ 406 w 560"/>
                      <a:gd name="T81" fmla="*/ 26 h 361"/>
                      <a:gd name="T82" fmla="*/ 458 w 560"/>
                      <a:gd name="T83" fmla="*/ 19 h 361"/>
                      <a:gd name="T84" fmla="*/ 485 w 560"/>
                      <a:gd name="T85" fmla="*/ 0 h 361"/>
                      <a:gd name="T86" fmla="*/ 513 w 560"/>
                      <a:gd name="T87"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0" h="361">
                        <a:moveTo>
                          <a:pt x="513" y="0"/>
                        </a:moveTo>
                        <a:lnTo>
                          <a:pt x="526" y="8"/>
                        </a:lnTo>
                        <a:lnTo>
                          <a:pt x="531" y="31"/>
                        </a:lnTo>
                        <a:lnTo>
                          <a:pt x="530" y="65"/>
                        </a:lnTo>
                        <a:lnTo>
                          <a:pt x="538" y="113"/>
                        </a:lnTo>
                        <a:lnTo>
                          <a:pt x="519" y="148"/>
                        </a:lnTo>
                        <a:lnTo>
                          <a:pt x="491" y="181"/>
                        </a:lnTo>
                        <a:lnTo>
                          <a:pt x="481" y="218"/>
                        </a:lnTo>
                        <a:lnTo>
                          <a:pt x="501" y="233"/>
                        </a:lnTo>
                        <a:lnTo>
                          <a:pt x="539" y="219"/>
                        </a:lnTo>
                        <a:lnTo>
                          <a:pt x="560" y="233"/>
                        </a:lnTo>
                        <a:lnTo>
                          <a:pt x="550" y="254"/>
                        </a:lnTo>
                        <a:lnTo>
                          <a:pt x="509" y="271"/>
                        </a:lnTo>
                        <a:lnTo>
                          <a:pt x="494" y="264"/>
                        </a:lnTo>
                        <a:lnTo>
                          <a:pt x="419" y="360"/>
                        </a:lnTo>
                        <a:lnTo>
                          <a:pt x="386" y="351"/>
                        </a:lnTo>
                        <a:lnTo>
                          <a:pt x="356" y="322"/>
                        </a:lnTo>
                        <a:lnTo>
                          <a:pt x="269" y="341"/>
                        </a:lnTo>
                        <a:lnTo>
                          <a:pt x="225" y="361"/>
                        </a:lnTo>
                        <a:lnTo>
                          <a:pt x="133" y="357"/>
                        </a:lnTo>
                        <a:lnTo>
                          <a:pt x="90" y="345"/>
                        </a:lnTo>
                        <a:lnTo>
                          <a:pt x="61" y="350"/>
                        </a:lnTo>
                        <a:lnTo>
                          <a:pt x="63" y="317"/>
                        </a:lnTo>
                        <a:lnTo>
                          <a:pt x="59" y="304"/>
                        </a:lnTo>
                        <a:lnTo>
                          <a:pt x="83" y="290"/>
                        </a:lnTo>
                        <a:lnTo>
                          <a:pt x="73" y="280"/>
                        </a:lnTo>
                        <a:lnTo>
                          <a:pt x="41" y="297"/>
                        </a:lnTo>
                        <a:lnTo>
                          <a:pt x="18" y="275"/>
                        </a:lnTo>
                        <a:lnTo>
                          <a:pt x="33" y="242"/>
                        </a:lnTo>
                        <a:lnTo>
                          <a:pt x="5" y="224"/>
                        </a:lnTo>
                        <a:lnTo>
                          <a:pt x="14" y="197"/>
                        </a:lnTo>
                        <a:lnTo>
                          <a:pt x="0" y="166"/>
                        </a:lnTo>
                        <a:lnTo>
                          <a:pt x="60" y="151"/>
                        </a:lnTo>
                        <a:lnTo>
                          <a:pt x="134" y="97"/>
                        </a:lnTo>
                        <a:lnTo>
                          <a:pt x="199" y="44"/>
                        </a:lnTo>
                        <a:lnTo>
                          <a:pt x="248" y="27"/>
                        </a:lnTo>
                        <a:lnTo>
                          <a:pt x="286" y="10"/>
                        </a:lnTo>
                        <a:lnTo>
                          <a:pt x="320" y="19"/>
                        </a:lnTo>
                        <a:lnTo>
                          <a:pt x="360" y="19"/>
                        </a:lnTo>
                        <a:lnTo>
                          <a:pt x="376" y="39"/>
                        </a:lnTo>
                        <a:lnTo>
                          <a:pt x="406" y="26"/>
                        </a:lnTo>
                        <a:lnTo>
                          <a:pt x="458" y="19"/>
                        </a:lnTo>
                        <a:lnTo>
                          <a:pt x="485" y="0"/>
                        </a:lnTo>
                        <a:lnTo>
                          <a:pt x="513"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8" name="Rwanda" descr="{&quot;Key&quot;:&quot;rwanda&quot;,&quot;Name&quot;:&quot;Rwanda&quot;,&quot;Value&quot;:1.0,&quot;Formula&quot;:&quot;&quot;,&quot;Text&quot;:&quot;&quot;,&quot;OfficeApplication&quot;:1,&quot;HasValue&quot;:true}">
                    <a:extLst>
                      <a:ext uri="{FF2B5EF4-FFF2-40B4-BE49-F238E27FC236}">
                        <a16:creationId xmlns:a16="http://schemas.microsoft.com/office/drawing/2014/main" id="{45FFEECB-A91F-E8E7-39BF-47023CB80A52}"/>
                      </a:ext>
                    </a:extLst>
                  </p:cNvPr>
                  <p:cNvSpPr>
                    <a:spLocks/>
                  </p:cNvSpPr>
                  <p:nvPr/>
                </p:nvSpPr>
                <p:spPr bwMode="auto">
                  <a:xfrm>
                    <a:off x="1397" y="2810"/>
                    <a:ext cx="35" cy="41"/>
                  </a:xfrm>
                  <a:custGeom>
                    <a:avLst/>
                    <a:gdLst>
                      <a:gd name="T0" fmla="*/ 97 w 126"/>
                      <a:gd name="T1" fmla="*/ 0 h 145"/>
                      <a:gd name="T2" fmla="*/ 126 w 126"/>
                      <a:gd name="T3" fmla="*/ 46 h 145"/>
                      <a:gd name="T4" fmla="*/ 123 w 126"/>
                      <a:gd name="T5" fmla="*/ 94 h 145"/>
                      <a:gd name="T6" fmla="*/ 103 w 126"/>
                      <a:gd name="T7" fmla="*/ 105 h 145"/>
                      <a:gd name="T8" fmla="*/ 64 w 126"/>
                      <a:gd name="T9" fmla="*/ 99 h 145"/>
                      <a:gd name="T10" fmla="*/ 44 w 126"/>
                      <a:gd name="T11" fmla="*/ 145 h 145"/>
                      <a:gd name="T12" fmla="*/ 0 w 126"/>
                      <a:gd name="T13" fmla="*/ 139 h 145"/>
                      <a:gd name="T14" fmla="*/ 5 w 126"/>
                      <a:gd name="T15" fmla="*/ 95 h 145"/>
                      <a:gd name="T16" fmla="*/ 15 w 126"/>
                      <a:gd name="T17" fmla="*/ 89 h 145"/>
                      <a:gd name="T18" fmla="*/ 17 w 126"/>
                      <a:gd name="T19" fmla="*/ 40 h 145"/>
                      <a:gd name="T20" fmla="*/ 37 w 126"/>
                      <a:gd name="T21" fmla="*/ 18 h 145"/>
                      <a:gd name="T22" fmla="*/ 54 w 126"/>
                      <a:gd name="T23" fmla="*/ 26 h 145"/>
                      <a:gd name="T24" fmla="*/ 97 w 126"/>
                      <a:gd name="T2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145">
                        <a:moveTo>
                          <a:pt x="97" y="0"/>
                        </a:moveTo>
                        <a:lnTo>
                          <a:pt x="126" y="46"/>
                        </a:lnTo>
                        <a:lnTo>
                          <a:pt x="123" y="94"/>
                        </a:lnTo>
                        <a:lnTo>
                          <a:pt x="103" y="105"/>
                        </a:lnTo>
                        <a:lnTo>
                          <a:pt x="64" y="99"/>
                        </a:lnTo>
                        <a:lnTo>
                          <a:pt x="44" y="145"/>
                        </a:lnTo>
                        <a:lnTo>
                          <a:pt x="0" y="139"/>
                        </a:lnTo>
                        <a:lnTo>
                          <a:pt x="5" y="95"/>
                        </a:lnTo>
                        <a:lnTo>
                          <a:pt x="15" y="89"/>
                        </a:lnTo>
                        <a:lnTo>
                          <a:pt x="17" y="40"/>
                        </a:lnTo>
                        <a:lnTo>
                          <a:pt x="37" y="18"/>
                        </a:lnTo>
                        <a:lnTo>
                          <a:pt x="54" y="26"/>
                        </a:lnTo>
                        <a:lnTo>
                          <a:pt x="97"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09" name="Western Sahara" descr="{&quot;Key&quot;:&quot;western sahara&quot;,&quot;Name&quot;:&quot;Western Sahara&quot;,&quot;Value&quot;:1.0,&quot;Formula&quot;:&quot;&quot;,&quot;Text&quot;:&quot;&quot;,&quot;OfficeApplication&quot;:1,&quot;HasValue&quot;:true}">
                    <a:extLst>
                      <a:ext uri="{FF2B5EF4-FFF2-40B4-BE49-F238E27FC236}">
                        <a16:creationId xmlns:a16="http://schemas.microsoft.com/office/drawing/2014/main" id="{61CA1151-B3C9-A828-1244-3694395A29FB}"/>
                      </a:ext>
                    </a:extLst>
                  </p:cNvPr>
                  <p:cNvSpPr>
                    <a:spLocks/>
                  </p:cNvSpPr>
                  <p:nvPr/>
                </p:nvSpPr>
                <p:spPr bwMode="auto">
                  <a:xfrm>
                    <a:off x="538" y="2158"/>
                    <a:ext cx="209" cy="151"/>
                  </a:xfrm>
                  <a:custGeom>
                    <a:avLst/>
                    <a:gdLst>
                      <a:gd name="T0" fmla="*/ 748 w 748"/>
                      <a:gd name="T1" fmla="*/ 0 h 541"/>
                      <a:gd name="T2" fmla="*/ 747 w 748"/>
                      <a:gd name="T3" fmla="*/ 6 h 541"/>
                      <a:gd name="T4" fmla="*/ 740 w 748"/>
                      <a:gd name="T5" fmla="*/ 21 h 541"/>
                      <a:gd name="T6" fmla="*/ 697 w 748"/>
                      <a:gd name="T7" fmla="*/ 145 h 541"/>
                      <a:gd name="T8" fmla="*/ 470 w 748"/>
                      <a:gd name="T9" fmla="*/ 140 h 541"/>
                      <a:gd name="T10" fmla="*/ 410 w 748"/>
                      <a:gd name="T11" fmla="*/ 349 h 541"/>
                      <a:gd name="T12" fmla="*/ 342 w 748"/>
                      <a:gd name="T13" fmla="*/ 355 h 541"/>
                      <a:gd name="T14" fmla="*/ 313 w 748"/>
                      <a:gd name="T15" fmla="*/ 397 h 541"/>
                      <a:gd name="T16" fmla="*/ 297 w 748"/>
                      <a:gd name="T17" fmla="*/ 515 h 541"/>
                      <a:gd name="T18" fmla="*/ 22 w 748"/>
                      <a:gd name="T19" fmla="*/ 514 h 541"/>
                      <a:gd name="T20" fmla="*/ 0 w 748"/>
                      <a:gd name="T21" fmla="*/ 541 h 541"/>
                      <a:gd name="T22" fmla="*/ 11 w 748"/>
                      <a:gd name="T23" fmla="*/ 507 h 541"/>
                      <a:gd name="T24" fmla="*/ 12 w 748"/>
                      <a:gd name="T25" fmla="*/ 507 h 541"/>
                      <a:gd name="T26" fmla="*/ 172 w 748"/>
                      <a:gd name="T27" fmla="*/ 501 h 541"/>
                      <a:gd name="T28" fmla="*/ 188 w 748"/>
                      <a:gd name="T29" fmla="*/ 471 h 541"/>
                      <a:gd name="T30" fmla="*/ 227 w 748"/>
                      <a:gd name="T31" fmla="*/ 435 h 541"/>
                      <a:gd name="T32" fmla="*/ 279 w 748"/>
                      <a:gd name="T33" fmla="*/ 322 h 541"/>
                      <a:gd name="T34" fmla="*/ 403 w 748"/>
                      <a:gd name="T35" fmla="*/ 235 h 541"/>
                      <a:gd name="T36" fmla="*/ 468 w 748"/>
                      <a:gd name="T37" fmla="*/ 132 h 541"/>
                      <a:gd name="T38" fmla="*/ 492 w 748"/>
                      <a:gd name="T39" fmla="*/ 126 h 541"/>
                      <a:gd name="T40" fmla="*/ 537 w 748"/>
                      <a:gd name="T41" fmla="*/ 62 h 541"/>
                      <a:gd name="T42" fmla="*/ 598 w 748"/>
                      <a:gd name="T43" fmla="*/ 55 h 541"/>
                      <a:gd name="T44" fmla="*/ 620 w 748"/>
                      <a:gd name="T45" fmla="*/ 65 h 541"/>
                      <a:gd name="T46" fmla="*/ 651 w 748"/>
                      <a:gd name="T47" fmla="*/ 65 h 541"/>
                      <a:gd name="T48" fmla="*/ 680 w 748"/>
                      <a:gd name="T49" fmla="*/ 46 h 541"/>
                      <a:gd name="T50" fmla="*/ 725 w 748"/>
                      <a:gd name="T51" fmla="*/ 44 h 541"/>
                      <a:gd name="T52" fmla="*/ 738 w 748"/>
                      <a:gd name="T53" fmla="*/ 0 h 541"/>
                      <a:gd name="T54" fmla="*/ 748 w 748"/>
                      <a:gd name="T55"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8" h="541">
                        <a:moveTo>
                          <a:pt x="748" y="0"/>
                        </a:moveTo>
                        <a:lnTo>
                          <a:pt x="747" y="6"/>
                        </a:lnTo>
                        <a:lnTo>
                          <a:pt x="740" y="21"/>
                        </a:lnTo>
                        <a:lnTo>
                          <a:pt x="697" y="145"/>
                        </a:lnTo>
                        <a:lnTo>
                          <a:pt x="470" y="140"/>
                        </a:lnTo>
                        <a:lnTo>
                          <a:pt x="410" y="349"/>
                        </a:lnTo>
                        <a:lnTo>
                          <a:pt x="342" y="355"/>
                        </a:lnTo>
                        <a:lnTo>
                          <a:pt x="313" y="397"/>
                        </a:lnTo>
                        <a:lnTo>
                          <a:pt x="297" y="515"/>
                        </a:lnTo>
                        <a:lnTo>
                          <a:pt x="22" y="514"/>
                        </a:lnTo>
                        <a:lnTo>
                          <a:pt x="0" y="541"/>
                        </a:lnTo>
                        <a:lnTo>
                          <a:pt x="11" y="507"/>
                        </a:lnTo>
                        <a:lnTo>
                          <a:pt x="12" y="507"/>
                        </a:lnTo>
                        <a:lnTo>
                          <a:pt x="172" y="501"/>
                        </a:lnTo>
                        <a:lnTo>
                          <a:pt x="188" y="471"/>
                        </a:lnTo>
                        <a:lnTo>
                          <a:pt x="227" y="435"/>
                        </a:lnTo>
                        <a:lnTo>
                          <a:pt x="279" y="322"/>
                        </a:lnTo>
                        <a:lnTo>
                          <a:pt x="403" y="235"/>
                        </a:lnTo>
                        <a:lnTo>
                          <a:pt x="468" y="132"/>
                        </a:lnTo>
                        <a:lnTo>
                          <a:pt x="492" y="126"/>
                        </a:lnTo>
                        <a:lnTo>
                          <a:pt x="537" y="62"/>
                        </a:lnTo>
                        <a:lnTo>
                          <a:pt x="598" y="55"/>
                        </a:lnTo>
                        <a:lnTo>
                          <a:pt x="620" y="65"/>
                        </a:lnTo>
                        <a:lnTo>
                          <a:pt x="651" y="65"/>
                        </a:lnTo>
                        <a:lnTo>
                          <a:pt x="680" y="46"/>
                        </a:lnTo>
                        <a:lnTo>
                          <a:pt x="725" y="44"/>
                        </a:lnTo>
                        <a:lnTo>
                          <a:pt x="738" y="0"/>
                        </a:lnTo>
                        <a:lnTo>
                          <a:pt x="748"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0" name="Saudi Arabia" descr="{&quot;Key&quot;:&quot;saudi arabia&quot;,&quot;Name&quot;:&quot;Saudi Arabia&quot;,&quot;Value&quot;:1.0,&quot;Formula&quot;:&quot;&quot;,&quot;Text&quot;:&quot;&quot;,&quot;OfficeApplication&quot;:1,&quot;HasValue&quot;:true}">
                    <a:extLst>
                      <a:ext uri="{FF2B5EF4-FFF2-40B4-BE49-F238E27FC236}">
                        <a16:creationId xmlns:a16="http://schemas.microsoft.com/office/drawing/2014/main" id="{407EE26A-9FBF-48D8-5A87-6A4949DFD662}"/>
                      </a:ext>
                    </a:extLst>
                  </p:cNvPr>
                  <p:cNvSpPr>
                    <a:spLocks/>
                  </p:cNvSpPr>
                  <p:nvPr/>
                </p:nvSpPr>
                <p:spPr bwMode="auto">
                  <a:xfrm>
                    <a:off x="1587" y="2056"/>
                    <a:ext cx="382" cy="358"/>
                  </a:xfrm>
                  <a:custGeom>
                    <a:avLst/>
                    <a:gdLst>
                      <a:gd name="T0" fmla="*/ 909 w 1369"/>
                      <a:gd name="T1" fmla="*/ 257 h 1286"/>
                      <a:gd name="T2" fmla="*/ 966 w 1369"/>
                      <a:gd name="T3" fmla="*/ 294 h 1286"/>
                      <a:gd name="T4" fmla="*/ 1006 w 1369"/>
                      <a:gd name="T5" fmla="*/ 382 h 1286"/>
                      <a:gd name="T6" fmla="*/ 1051 w 1369"/>
                      <a:gd name="T7" fmla="*/ 445 h 1286"/>
                      <a:gd name="T8" fmla="*/ 1035 w 1369"/>
                      <a:gd name="T9" fmla="*/ 506 h 1286"/>
                      <a:gd name="T10" fmla="*/ 1055 w 1369"/>
                      <a:gd name="T11" fmla="*/ 556 h 1286"/>
                      <a:gd name="T12" fmla="*/ 1065 w 1369"/>
                      <a:gd name="T13" fmla="*/ 602 h 1286"/>
                      <a:gd name="T14" fmla="*/ 1104 w 1369"/>
                      <a:gd name="T15" fmla="*/ 612 h 1286"/>
                      <a:gd name="T16" fmla="*/ 1111 w 1369"/>
                      <a:gd name="T17" fmla="*/ 662 h 1286"/>
                      <a:gd name="T18" fmla="*/ 1329 w 1369"/>
                      <a:gd name="T19" fmla="*/ 786 h 1286"/>
                      <a:gd name="T20" fmla="*/ 1369 w 1369"/>
                      <a:gd name="T21" fmla="*/ 826 h 1286"/>
                      <a:gd name="T22" fmla="*/ 1076 w 1369"/>
                      <a:gd name="T23" fmla="*/ 1070 h 1286"/>
                      <a:gd name="T24" fmla="*/ 796 w 1369"/>
                      <a:gd name="T25" fmla="*/ 1137 h 1286"/>
                      <a:gd name="T26" fmla="*/ 699 w 1369"/>
                      <a:gd name="T27" fmla="*/ 1236 h 1286"/>
                      <a:gd name="T28" fmla="*/ 656 w 1369"/>
                      <a:gd name="T29" fmla="*/ 1214 h 1286"/>
                      <a:gd name="T30" fmla="*/ 578 w 1369"/>
                      <a:gd name="T31" fmla="*/ 1197 h 1286"/>
                      <a:gd name="T32" fmla="*/ 475 w 1369"/>
                      <a:gd name="T33" fmla="*/ 1206 h 1286"/>
                      <a:gd name="T34" fmla="*/ 425 w 1369"/>
                      <a:gd name="T35" fmla="*/ 1225 h 1286"/>
                      <a:gd name="T36" fmla="*/ 393 w 1369"/>
                      <a:gd name="T37" fmla="*/ 1286 h 1286"/>
                      <a:gd name="T38" fmla="*/ 370 w 1369"/>
                      <a:gd name="T39" fmla="*/ 1226 h 1286"/>
                      <a:gd name="T40" fmla="*/ 338 w 1369"/>
                      <a:gd name="T41" fmla="*/ 1165 h 1286"/>
                      <a:gd name="T42" fmla="*/ 301 w 1369"/>
                      <a:gd name="T43" fmla="*/ 1030 h 1286"/>
                      <a:gd name="T44" fmla="*/ 231 w 1369"/>
                      <a:gd name="T45" fmla="*/ 961 h 1286"/>
                      <a:gd name="T46" fmla="*/ 200 w 1369"/>
                      <a:gd name="T47" fmla="*/ 827 h 1286"/>
                      <a:gd name="T48" fmla="*/ 188 w 1369"/>
                      <a:gd name="T49" fmla="*/ 689 h 1286"/>
                      <a:gd name="T50" fmla="*/ 126 w 1369"/>
                      <a:gd name="T51" fmla="*/ 640 h 1286"/>
                      <a:gd name="T52" fmla="*/ 120 w 1369"/>
                      <a:gd name="T53" fmla="*/ 575 h 1286"/>
                      <a:gd name="T54" fmla="*/ 94 w 1369"/>
                      <a:gd name="T55" fmla="*/ 515 h 1286"/>
                      <a:gd name="T56" fmla="*/ 55 w 1369"/>
                      <a:gd name="T57" fmla="*/ 389 h 1286"/>
                      <a:gd name="T58" fmla="*/ 0 w 1369"/>
                      <a:gd name="T59" fmla="*/ 334 h 1286"/>
                      <a:gd name="T60" fmla="*/ 35 w 1369"/>
                      <a:gd name="T61" fmla="*/ 261 h 1286"/>
                      <a:gd name="T62" fmla="*/ 126 w 1369"/>
                      <a:gd name="T63" fmla="*/ 241 h 1286"/>
                      <a:gd name="T64" fmla="*/ 189 w 1369"/>
                      <a:gd name="T65" fmla="*/ 187 h 1286"/>
                      <a:gd name="T66" fmla="*/ 264 w 1369"/>
                      <a:gd name="T67" fmla="*/ 149 h 1286"/>
                      <a:gd name="T68" fmla="*/ 249 w 1369"/>
                      <a:gd name="T69" fmla="*/ 54 h 1286"/>
                      <a:gd name="T70" fmla="*/ 416 w 1369"/>
                      <a:gd name="T71" fmla="*/ 0 h 1286"/>
                      <a:gd name="T72" fmla="*/ 576 w 1369"/>
                      <a:gd name="T73" fmla="*/ 79 h 1286"/>
                      <a:gd name="T74" fmla="*/ 850 w 1369"/>
                      <a:gd name="T75" fmla="*/ 249 h 1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9" h="1286">
                        <a:moveTo>
                          <a:pt x="850" y="249"/>
                        </a:moveTo>
                        <a:lnTo>
                          <a:pt x="909" y="257"/>
                        </a:lnTo>
                        <a:lnTo>
                          <a:pt x="916" y="296"/>
                        </a:lnTo>
                        <a:lnTo>
                          <a:pt x="966" y="294"/>
                        </a:lnTo>
                        <a:lnTo>
                          <a:pt x="976" y="364"/>
                        </a:lnTo>
                        <a:lnTo>
                          <a:pt x="1006" y="382"/>
                        </a:lnTo>
                        <a:lnTo>
                          <a:pt x="1011" y="411"/>
                        </a:lnTo>
                        <a:lnTo>
                          <a:pt x="1051" y="445"/>
                        </a:lnTo>
                        <a:lnTo>
                          <a:pt x="1047" y="479"/>
                        </a:lnTo>
                        <a:lnTo>
                          <a:pt x="1035" y="506"/>
                        </a:lnTo>
                        <a:lnTo>
                          <a:pt x="1039" y="532"/>
                        </a:lnTo>
                        <a:lnTo>
                          <a:pt x="1055" y="556"/>
                        </a:lnTo>
                        <a:lnTo>
                          <a:pt x="1059" y="582"/>
                        </a:lnTo>
                        <a:lnTo>
                          <a:pt x="1065" y="602"/>
                        </a:lnTo>
                        <a:lnTo>
                          <a:pt x="1084" y="619"/>
                        </a:lnTo>
                        <a:lnTo>
                          <a:pt x="1104" y="612"/>
                        </a:lnTo>
                        <a:lnTo>
                          <a:pt x="1111" y="644"/>
                        </a:lnTo>
                        <a:lnTo>
                          <a:pt x="1111" y="662"/>
                        </a:lnTo>
                        <a:lnTo>
                          <a:pt x="1124" y="745"/>
                        </a:lnTo>
                        <a:lnTo>
                          <a:pt x="1329" y="786"/>
                        </a:lnTo>
                        <a:lnTo>
                          <a:pt x="1345" y="769"/>
                        </a:lnTo>
                        <a:lnTo>
                          <a:pt x="1369" y="826"/>
                        </a:lnTo>
                        <a:lnTo>
                          <a:pt x="1299" y="989"/>
                        </a:lnTo>
                        <a:lnTo>
                          <a:pt x="1076" y="1070"/>
                        </a:lnTo>
                        <a:lnTo>
                          <a:pt x="868" y="1101"/>
                        </a:lnTo>
                        <a:lnTo>
                          <a:pt x="796" y="1137"/>
                        </a:lnTo>
                        <a:lnTo>
                          <a:pt x="734" y="1224"/>
                        </a:lnTo>
                        <a:lnTo>
                          <a:pt x="699" y="1236"/>
                        </a:lnTo>
                        <a:lnTo>
                          <a:pt x="684" y="1210"/>
                        </a:lnTo>
                        <a:lnTo>
                          <a:pt x="656" y="1214"/>
                        </a:lnTo>
                        <a:lnTo>
                          <a:pt x="589" y="1206"/>
                        </a:lnTo>
                        <a:lnTo>
                          <a:pt x="578" y="1197"/>
                        </a:lnTo>
                        <a:lnTo>
                          <a:pt x="495" y="1200"/>
                        </a:lnTo>
                        <a:lnTo>
                          <a:pt x="475" y="1206"/>
                        </a:lnTo>
                        <a:lnTo>
                          <a:pt x="449" y="1185"/>
                        </a:lnTo>
                        <a:lnTo>
                          <a:pt x="425" y="1225"/>
                        </a:lnTo>
                        <a:lnTo>
                          <a:pt x="426" y="1260"/>
                        </a:lnTo>
                        <a:lnTo>
                          <a:pt x="393" y="1286"/>
                        </a:lnTo>
                        <a:lnTo>
                          <a:pt x="388" y="1251"/>
                        </a:lnTo>
                        <a:lnTo>
                          <a:pt x="370" y="1226"/>
                        </a:lnTo>
                        <a:lnTo>
                          <a:pt x="369" y="1194"/>
                        </a:lnTo>
                        <a:lnTo>
                          <a:pt x="338" y="1165"/>
                        </a:lnTo>
                        <a:lnTo>
                          <a:pt x="310" y="1096"/>
                        </a:lnTo>
                        <a:lnTo>
                          <a:pt x="301" y="1030"/>
                        </a:lnTo>
                        <a:lnTo>
                          <a:pt x="261" y="975"/>
                        </a:lnTo>
                        <a:lnTo>
                          <a:pt x="231" y="961"/>
                        </a:lnTo>
                        <a:lnTo>
                          <a:pt x="198" y="884"/>
                        </a:lnTo>
                        <a:lnTo>
                          <a:pt x="200" y="827"/>
                        </a:lnTo>
                        <a:lnTo>
                          <a:pt x="211" y="779"/>
                        </a:lnTo>
                        <a:lnTo>
                          <a:pt x="188" y="689"/>
                        </a:lnTo>
                        <a:lnTo>
                          <a:pt x="160" y="657"/>
                        </a:lnTo>
                        <a:lnTo>
                          <a:pt x="126" y="640"/>
                        </a:lnTo>
                        <a:lnTo>
                          <a:pt x="113" y="594"/>
                        </a:lnTo>
                        <a:lnTo>
                          <a:pt x="120" y="575"/>
                        </a:lnTo>
                        <a:lnTo>
                          <a:pt x="110" y="534"/>
                        </a:lnTo>
                        <a:lnTo>
                          <a:pt x="94" y="515"/>
                        </a:lnTo>
                        <a:lnTo>
                          <a:pt x="81" y="455"/>
                        </a:lnTo>
                        <a:lnTo>
                          <a:pt x="55" y="389"/>
                        </a:lnTo>
                        <a:lnTo>
                          <a:pt x="35" y="334"/>
                        </a:lnTo>
                        <a:lnTo>
                          <a:pt x="0" y="334"/>
                        </a:lnTo>
                        <a:lnTo>
                          <a:pt x="24" y="289"/>
                        </a:lnTo>
                        <a:lnTo>
                          <a:pt x="35" y="261"/>
                        </a:lnTo>
                        <a:lnTo>
                          <a:pt x="53" y="229"/>
                        </a:lnTo>
                        <a:lnTo>
                          <a:pt x="126" y="241"/>
                        </a:lnTo>
                        <a:lnTo>
                          <a:pt x="164" y="216"/>
                        </a:lnTo>
                        <a:lnTo>
                          <a:pt x="189" y="187"/>
                        </a:lnTo>
                        <a:lnTo>
                          <a:pt x="245" y="176"/>
                        </a:lnTo>
                        <a:lnTo>
                          <a:pt x="264" y="149"/>
                        </a:lnTo>
                        <a:lnTo>
                          <a:pt x="291" y="135"/>
                        </a:lnTo>
                        <a:lnTo>
                          <a:pt x="249" y="54"/>
                        </a:lnTo>
                        <a:lnTo>
                          <a:pt x="400" y="12"/>
                        </a:lnTo>
                        <a:lnTo>
                          <a:pt x="416" y="0"/>
                        </a:lnTo>
                        <a:lnTo>
                          <a:pt x="493" y="22"/>
                        </a:lnTo>
                        <a:lnTo>
                          <a:pt x="576" y="79"/>
                        </a:lnTo>
                        <a:lnTo>
                          <a:pt x="723" y="242"/>
                        </a:lnTo>
                        <a:lnTo>
                          <a:pt x="850" y="24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1" name="Sudan" descr="{&quot;Key&quot;:&quot;sudan&quot;,&quot;Name&quot;:&quot;Sudan&quot;,&quot;Value&quot;:1.0,&quot;Formula&quot;:&quot;&quot;,&quot;Text&quot;:&quot;&quot;,&quot;OfficeApplication&quot;:1,&quot;HasValue&quot;:true}">
                    <a:extLst>
                      <a:ext uri="{FF2B5EF4-FFF2-40B4-BE49-F238E27FC236}">
                        <a16:creationId xmlns:a16="http://schemas.microsoft.com/office/drawing/2014/main" id="{92F6460A-B65C-9551-C694-F99A8DE3C431}"/>
                      </a:ext>
                    </a:extLst>
                  </p:cNvPr>
                  <p:cNvSpPr>
                    <a:spLocks/>
                  </p:cNvSpPr>
                  <p:nvPr/>
                </p:nvSpPr>
                <p:spPr bwMode="auto">
                  <a:xfrm>
                    <a:off x="1272" y="2286"/>
                    <a:ext cx="344" cy="303"/>
                  </a:xfrm>
                  <a:custGeom>
                    <a:avLst/>
                    <a:gdLst>
                      <a:gd name="T0" fmla="*/ 1031 w 1234"/>
                      <a:gd name="T1" fmla="*/ 686 h 1087"/>
                      <a:gd name="T2" fmla="*/ 945 w 1234"/>
                      <a:gd name="T3" fmla="*/ 806 h 1087"/>
                      <a:gd name="T4" fmla="*/ 899 w 1234"/>
                      <a:gd name="T5" fmla="*/ 901 h 1087"/>
                      <a:gd name="T6" fmla="*/ 834 w 1234"/>
                      <a:gd name="T7" fmla="*/ 1009 h 1087"/>
                      <a:gd name="T8" fmla="*/ 824 w 1234"/>
                      <a:gd name="T9" fmla="*/ 1018 h 1087"/>
                      <a:gd name="T10" fmla="*/ 822 w 1234"/>
                      <a:gd name="T11" fmla="*/ 949 h 1087"/>
                      <a:gd name="T12" fmla="*/ 785 w 1234"/>
                      <a:gd name="T13" fmla="*/ 859 h 1087"/>
                      <a:gd name="T14" fmla="*/ 767 w 1234"/>
                      <a:gd name="T15" fmla="*/ 793 h 1087"/>
                      <a:gd name="T16" fmla="*/ 717 w 1234"/>
                      <a:gd name="T17" fmla="*/ 815 h 1087"/>
                      <a:gd name="T18" fmla="*/ 733 w 1234"/>
                      <a:gd name="T19" fmla="*/ 888 h 1087"/>
                      <a:gd name="T20" fmla="*/ 648 w 1234"/>
                      <a:gd name="T21" fmla="*/ 991 h 1087"/>
                      <a:gd name="T22" fmla="*/ 555 w 1234"/>
                      <a:gd name="T23" fmla="*/ 951 h 1087"/>
                      <a:gd name="T24" fmla="*/ 517 w 1234"/>
                      <a:gd name="T25" fmla="*/ 993 h 1087"/>
                      <a:gd name="T26" fmla="*/ 475 w 1234"/>
                      <a:gd name="T27" fmla="*/ 1025 h 1087"/>
                      <a:gd name="T28" fmla="*/ 396 w 1234"/>
                      <a:gd name="T29" fmla="*/ 1007 h 1087"/>
                      <a:gd name="T30" fmla="*/ 317 w 1234"/>
                      <a:gd name="T31" fmla="*/ 1019 h 1087"/>
                      <a:gd name="T32" fmla="*/ 266 w 1234"/>
                      <a:gd name="T33" fmla="*/ 965 h 1087"/>
                      <a:gd name="T34" fmla="*/ 203 w 1234"/>
                      <a:gd name="T35" fmla="*/ 954 h 1087"/>
                      <a:gd name="T36" fmla="*/ 155 w 1234"/>
                      <a:gd name="T37" fmla="*/ 1064 h 1087"/>
                      <a:gd name="T38" fmla="*/ 107 w 1234"/>
                      <a:gd name="T39" fmla="*/ 1087 h 1087"/>
                      <a:gd name="T40" fmla="*/ 78 w 1234"/>
                      <a:gd name="T41" fmla="*/ 1060 h 1087"/>
                      <a:gd name="T42" fmla="*/ 91 w 1234"/>
                      <a:gd name="T43" fmla="*/ 1001 h 1087"/>
                      <a:gd name="T44" fmla="*/ 57 w 1234"/>
                      <a:gd name="T45" fmla="*/ 917 h 1087"/>
                      <a:gd name="T46" fmla="*/ 56 w 1234"/>
                      <a:gd name="T47" fmla="*/ 862 h 1087"/>
                      <a:gd name="T48" fmla="*/ 36 w 1234"/>
                      <a:gd name="T49" fmla="*/ 791 h 1087"/>
                      <a:gd name="T50" fmla="*/ 0 w 1234"/>
                      <a:gd name="T51" fmla="*/ 765 h 1087"/>
                      <a:gd name="T52" fmla="*/ 33 w 1234"/>
                      <a:gd name="T53" fmla="*/ 701 h 1087"/>
                      <a:gd name="T54" fmla="*/ 57 w 1234"/>
                      <a:gd name="T55" fmla="*/ 642 h 1087"/>
                      <a:gd name="T56" fmla="*/ 71 w 1234"/>
                      <a:gd name="T57" fmla="*/ 574 h 1087"/>
                      <a:gd name="T58" fmla="*/ 173 w 1234"/>
                      <a:gd name="T59" fmla="*/ 520 h 1087"/>
                      <a:gd name="T60" fmla="*/ 233 w 1234"/>
                      <a:gd name="T61" fmla="*/ 162 h 1087"/>
                      <a:gd name="T62" fmla="*/ 345 w 1234"/>
                      <a:gd name="T63" fmla="*/ 0 h 1087"/>
                      <a:gd name="T64" fmla="*/ 900 w 1234"/>
                      <a:gd name="T65" fmla="*/ 0 h 1087"/>
                      <a:gd name="T66" fmla="*/ 1189 w 1234"/>
                      <a:gd name="T67" fmla="*/ 80 h 1087"/>
                      <a:gd name="T68" fmla="*/ 1166 w 1234"/>
                      <a:gd name="T69" fmla="*/ 179 h 1087"/>
                      <a:gd name="T70" fmla="*/ 1200 w 1234"/>
                      <a:gd name="T71" fmla="*/ 295 h 1087"/>
                      <a:gd name="T72" fmla="*/ 1191 w 1234"/>
                      <a:gd name="T73" fmla="*/ 371 h 1087"/>
                      <a:gd name="T74" fmla="*/ 1110 w 1234"/>
                      <a:gd name="T75" fmla="*/ 410 h 1087"/>
                      <a:gd name="T76" fmla="*/ 1047 w 1234"/>
                      <a:gd name="T77" fmla="*/ 584 h 1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4" h="1087">
                        <a:moveTo>
                          <a:pt x="1051" y="616"/>
                        </a:moveTo>
                        <a:lnTo>
                          <a:pt x="1031" y="686"/>
                        </a:lnTo>
                        <a:lnTo>
                          <a:pt x="992" y="766"/>
                        </a:lnTo>
                        <a:lnTo>
                          <a:pt x="945" y="806"/>
                        </a:lnTo>
                        <a:lnTo>
                          <a:pt x="909" y="869"/>
                        </a:lnTo>
                        <a:lnTo>
                          <a:pt x="899" y="901"/>
                        </a:lnTo>
                        <a:lnTo>
                          <a:pt x="862" y="924"/>
                        </a:lnTo>
                        <a:lnTo>
                          <a:pt x="834" y="1009"/>
                        </a:lnTo>
                        <a:lnTo>
                          <a:pt x="834" y="1019"/>
                        </a:lnTo>
                        <a:lnTo>
                          <a:pt x="824" y="1018"/>
                        </a:lnTo>
                        <a:lnTo>
                          <a:pt x="827" y="978"/>
                        </a:lnTo>
                        <a:lnTo>
                          <a:pt x="822" y="949"/>
                        </a:lnTo>
                        <a:lnTo>
                          <a:pt x="787" y="918"/>
                        </a:lnTo>
                        <a:lnTo>
                          <a:pt x="785" y="859"/>
                        </a:lnTo>
                        <a:lnTo>
                          <a:pt x="800" y="799"/>
                        </a:lnTo>
                        <a:lnTo>
                          <a:pt x="767" y="793"/>
                        </a:lnTo>
                        <a:lnTo>
                          <a:pt x="760" y="811"/>
                        </a:lnTo>
                        <a:lnTo>
                          <a:pt x="717" y="815"/>
                        </a:lnTo>
                        <a:lnTo>
                          <a:pt x="732" y="839"/>
                        </a:lnTo>
                        <a:lnTo>
                          <a:pt x="733" y="888"/>
                        </a:lnTo>
                        <a:lnTo>
                          <a:pt x="690" y="933"/>
                        </a:lnTo>
                        <a:lnTo>
                          <a:pt x="648" y="991"/>
                        </a:lnTo>
                        <a:lnTo>
                          <a:pt x="611" y="999"/>
                        </a:lnTo>
                        <a:lnTo>
                          <a:pt x="555" y="951"/>
                        </a:lnTo>
                        <a:lnTo>
                          <a:pt x="527" y="969"/>
                        </a:lnTo>
                        <a:lnTo>
                          <a:pt x="517" y="993"/>
                        </a:lnTo>
                        <a:lnTo>
                          <a:pt x="480" y="1007"/>
                        </a:lnTo>
                        <a:lnTo>
                          <a:pt x="475" y="1025"/>
                        </a:lnTo>
                        <a:lnTo>
                          <a:pt x="404" y="1025"/>
                        </a:lnTo>
                        <a:lnTo>
                          <a:pt x="396" y="1007"/>
                        </a:lnTo>
                        <a:lnTo>
                          <a:pt x="345" y="1005"/>
                        </a:lnTo>
                        <a:lnTo>
                          <a:pt x="317" y="1019"/>
                        </a:lnTo>
                        <a:lnTo>
                          <a:pt x="298" y="1011"/>
                        </a:lnTo>
                        <a:lnTo>
                          <a:pt x="266" y="965"/>
                        </a:lnTo>
                        <a:lnTo>
                          <a:pt x="256" y="943"/>
                        </a:lnTo>
                        <a:lnTo>
                          <a:pt x="203" y="954"/>
                        </a:lnTo>
                        <a:lnTo>
                          <a:pt x="180" y="991"/>
                        </a:lnTo>
                        <a:lnTo>
                          <a:pt x="155" y="1064"/>
                        </a:lnTo>
                        <a:lnTo>
                          <a:pt x="130" y="1079"/>
                        </a:lnTo>
                        <a:lnTo>
                          <a:pt x="107" y="1087"/>
                        </a:lnTo>
                        <a:lnTo>
                          <a:pt x="101" y="1084"/>
                        </a:lnTo>
                        <a:lnTo>
                          <a:pt x="78" y="1060"/>
                        </a:lnTo>
                        <a:lnTo>
                          <a:pt x="76" y="1035"/>
                        </a:lnTo>
                        <a:lnTo>
                          <a:pt x="91" y="1001"/>
                        </a:lnTo>
                        <a:lnTo>
                          <a:pt x="93" y="969"/>
                        </a:lnTo>
                        <a:lnTo>
                          <a:pt x="57" y="917"/>
                        </a:lnTo>
                        <a:lnTo>
                          <a:pt x="52" y="882"/>
                        </a:lnTo>
                        <a:lnTo>
                          <a:pt x="56" y="862"/>
                        </a:lnTo>
                        <a:lnTo>
                          <a:pt x="32" y="839"/>
                        </a:lnTo>
                        <a:lnTo>
                          <a:pt x="36" y="791"/>
                        </a:lnTo>
                        <a:lnTo>
                          <a:pt x="26" y="760"/>
                        </a:lnTo>
                        <a:lnTo>
                          <a:pt x="0" y="765"/>
                        </a:lnTo>
                        <a:lnTo>
                          <a:pt x="11" y="735"/>
                        </a:lnTo>
                        <a:lnTo>
                          <a:pt x="33" y="701"/>
                        </a:lnTo>
                        <a:lnTo>
                          <a:pt x="30" y="667"/>
                        </a:lnTo>
                        <a:lnTo>
                          <a:pt x="57" y="642"/>
                        </a:lnTo>
                        <a:lnTo>
                          <a:pt x="45" y="624"/>
                        </a:lnTo>
                        <a:lnTo>
                          <a:pt x="71" y="574"/>
                        </a:lnTo>
                        <a:lnTo>
                          <a:pt x="112" y="514"/>
                        </a:lnTo>
                        <a:lnTo>
                          <a:pt x="173" y="520"/>
                        </a:lnTo>
                        <a:lnTo>
                          <a:pt x="226" y="196"/>
                        </a:lnTo>
                        <a:lnTo>
                          <a:pt x="233" y="162"/>
                        </a:lnTo>
                        <a:lnTo>
                          <a:pt x="315" y="162"/>
                        </a:lnTo>
                        <a:lnTo>
                          <a:pt x="345" y="0"/>
                        </a:lnTo>
                        <a:lnTo>
                          <a:pt x="627" y="0"/>
                        </a:lnTo>
                        <a:lnTo>
                          <a:pt x="900" y="0"/>
                        </a:lnTo>
                        <a:lnTo>
                          <a:pt x="1179" y="0"/>
                        </a:lnTo>
                        <a:lnTo>
                          <a:pt x="1189" y="80"/>
                        </a:lnTo>
                        <a:lnTo>
                          <a:pt x="1170" y="95"/>
                        </a:lnTo>
                        <a:lnTo>
                          <a:pt x="1166" y="179"/>
                        </a:lnTo>
                        <a:lnTo>
                          <a:pt x="1176" y="275"/>
                        </a:lnTo>
                        <a:lnTo>
                          <a:pt x="1200" y="295"/>
                        </a:lnTo>
                        <a:lnTo>
                          <a:pt x="1234" y="325"/>
                        </a:lnTo>
                        <a:lnTo>
                          <a:pt x="1191" y="371"/>
                        </a:lnTo>
                        <a:lnTo>
                          <a:pt x="1136" y="385"/>
                        </a:lnTo>
                        <a:lnTo>
                          <a:pt x="1110" y="410"/>
                        </a:lnTo>
                        <a:lnTo>
                          <a:pt x="1095" y="464"/>
                        </a:lnTo>
                        <a:lnTo>
                          <a:pt x="1047" y="584"/>
                        </a:lnTo>
                        <a:lnTo>
                          <a:pt x="1051" y="61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2" name="South Sudan" descr="{&quot;Key&quot;:&quot;south sudan&quot;,&quot;Name&quot;:&quot;South Sudan&quot;,&quot;Value&quot;:1.0,&quot;Formula&quot;:&quot;&quot;,&quot;Text&quot;:&quot;&quot;,&quot;OfficeApplication&quot;:1,&quot;HasValue&quot;:true}">
                    <a:extLst>
                      <a:ext uri="{FF2B5EF4-FFF2-40B4-BE49-F238E27FC236}">
                        <a16:creationId xmlns:a16="http://schemas.microsoft.com/office/drawing/2014/main" id="{70140FA6-A281-DBD0-2E74-5C5D32CC01A1}"/>
                      </a:ext>
                    </a:extLst>
                  </p:cNvPr>
                  <p:cNvSpPr>
                    <a:spLocks/>
                  </p:cNvSpPr>
                  <p:nvPr/>
                </p:nvSpPr>
                <p:spPr bwMode="auto">
                  <a:xfrm>
                    <a:off x="1302" y="2507"/>
                    <a:ext cx="223" cy="198"/>
                  </a:xfrm>
                  <a:custGeom>
                    <a:avLst/>
                    <a:gdLst>
                      <a:gd name="T0" fmla="*/ 727 w 800"/>
                      <a:gd name="T1" fmla="*/ 226 h 710"/>
                      <a:gd name="T2" fmla="*/ 722 w 800"/>
                      <a:gd name="T3" fmla="*/ 290 h 710"/>
                      <a:gd name="T4" fmla="*/ 709 w 800"/>
                      <a:gd name="T5" fmla="*/ 315 h 710"/>
                      <a:gd name="T6" fmla="*/ 672 w 800"/>
                      <a:gd name="T7" fmla="*/ 316 h 710"/>
                      <a:gd name="T8" fmla="*/ 644 w 800"/>
                      <a:gd name="T9" fmla="*/ 362 h 710"/>
                      <a:gd name="T10" fmla="*/ 688 w 800"/>
                      <a:gd name="T11" fmla="*/ 368 h 710"/>
                      <a:gd name="T12" fmla="*/ 722 w 800"/>
                      <a:gd name="T13" fmla="*/ 408 h 710"/>
                      <a:gd name="T14" fmla="*/ 732 w 800"/>
                      <a:gd name="T15" fmla="*/ 441 h 710"/>
                      <a:gd name="T16" fmla="*/ 763 w 800"/>
                      <a:gd name="T17" fmla="*/ 460 h 710"/>
                      <a:gd name="T18" fmla="*/ 800 w 800"/>
                      <a:gd name="T19" fmla="*/ 548 h 710"/>
                      <a:gd name="T20" fmla="*/ 749 w 800"/>
                      <a:gd name="T21" fmla="*/ 601 h 710"/>
                      <a:gd name="T22" fmla="*/ 703 w 800"/>
                      <a:gd name="T23" fmla="*/ 650 h 710"/>
                      <a:gd name="T24" fmla="*/ 658 w 800"/>
                      <a:gd name="T25" fmla="*/ 687 h 710"/>
                      <a:gd name="T26" fmla="*/ 606 w 800"/>
                      <a:gd name="T27" fmla="*/ 687 h 710"/>
                      <a:gd name="T28" fmla="*/ 548 w 800"/>
                      <a:gd name="T29" fmla="*/ 706 h 710"/>
                      <a:gd name="T30" fmla="*/ 504 w 800"/>
                      <a:gd name="T31" fmla="*/ 688 h 710"/>
                      <a:gd name="T32" fmla="*/ 473 w 800"/>
                      <a:gd name="T33" fmla="*/ 710 h 710"/>
                      <a:gd name="T34" fmla="*/ 413 w 800"/>
                      <a:gd name="T35" fmla="*/ 656 h 710"/>
                      <a:gd name="T36" fmla="*/ 396 w 800"/>
                      <a:gd name="T37" fmla="*/ 621 h 710"/>
                      <a:gd name="T38" fmla="*/ 356 w 800"/>
                      <a:gd name="T39" fmla="*/ 638 h 710"/>
                      <a:gd name="T40" fmla="*/ 323 w 800"/>
                      <a:gd name="T41" fmla="*/ 633 h 710"/>
                      <a:gd name="T42" fmla="*/ 303 w 800"/>
                      <a:gd name="T43" fmla="*/ 647 h 710"/>
                      <a:gd name="T44" fmla="*/ 271 w 800"/>
                      <a:gd name="T45" fmla="*/ 637 h 710"/>
                      <a:gd name="T46" fmla="*/ 231 w 800"/>
                      <a:gd name="T47" fmla="*/ 570 h 710"/>
                      <a:gd name="T48" fmla="*/ 221 w 800"/>
                      <a:gd name="T49" fmla="*/ 545 h 710"/>
                      <a:gd name="T50" fmla="*/ 170 w 800"/>
                      <a:gd name="T51" fmla="*/ 512 h 710"/>
                      <a:gd name="T52" fmla="*/ 154 w 800"/>
                      <a:gd name="T53" fmla="*/ 463 h 710"/>
                      <a:gd name="T54" fmla="*/ 126 w 800"/>
                      <a:gd name="T55" fmla="*/ 428 h 710"/>
                      <a:gd name="T56" fmla="*/ 81 w 800"/>
                      <a:gd name="T57" fmla="*/ 386 h 710"/>
                      <a:gd name="T58" fmla="*/ 83 w 800"/>
                      <a:gd name="T59" fmla="*/ 360 h 710"/>
                      <a:gd name="T60" fmla="*/ 46 w 800"/>
                      <a:gd name="T61" fmla="*/ 327 h 710"/>
                      <a:gd name="T62" fmla="*/ 0 w 800"/>
                      <a:gd name="T63" fmla="*/ 295 h 710"/>
                      <a:gd name="T64" fmla="*/ 23 w 800"/>
                      <a:gd name="T65" fmla="*/ 286 h 710"/>
                      <a:gd name="T66" fmla="*/ 48 w 800"/>
                      <a:gd name="T67" fmla="*/ 271 h 710"/>
                      <a:gd name="T68" fmla="*/ 73 w 800"/>
                      <a:gd name="T69" fmla="*/ 198 h 710"/>
                      <a:gd name="T70" fmla="*/ 96 w 800"/>
                      <a:gd name="T71" fmla="*/ 161 h 710"/>
                      <a:gd name="T72" fmla="*/ 149 w 800"/>
                      <a:gd name="T73" fmla="*/ 150 h 710"/>
                      <a:gd name="T74" fmla="*/ 159 w 800"/>
                      <a:gd name="T75" fmla="*/ 172 h 710"/>
                      <a:gd name="T76" fmla="*/ 191 w 800"/>
                      <a:gd name="T77" fmla="*/ 218 h 710"/>
                      <a:gd name="T78" fmla="*/ 210 w 800"/>
                      <a:gd name="T79" fmla="*/ 226 h 710"/>
                      <a:gd name="T80" fmla="*/ 238 w 800"/>
                      <a:gd name="T81" fmla="*/ 212 h 710"/>
                      <a:gd name="T82" fmla="*/ 289 w 800"/>
                      <a:gd name="T83" fmla="*/ 215 h 710"/>
                      <a:gd name="T84" fmla="*/ 297 w 800"/>
                      <a:gd name="T85" fmla="*/ 232 h 710"/>
                      <a:gd name="T86" fmla="*/ 368 w 800"/>
                      <a:gd name="T87" fmla="*/ 232 h 710"/>
                      <a:gd name="T88" fmla="*/ 373 w 800"/>
                      <a:gd name="T89" fmla="*/ 215 h 710"/>
                      <a:gd name="T90" fmla="*/ 410 w 800"/>
                      <a:gd name="T91" fmla="*/ 200 h 710"/>
                      <a:gd name="T92" fmla="*/ 420 w 800"/>
                      <a:gd name="T93" fmla="*/ 176 h 710"/>
                      <a:gd name="T94" fmla="*/ 448 w 800"/>
                      <a:gd name="T95" fmla="*/ 158 h 710"/>
                      <a:gd name="T96" fmla="*/ 504 w 800"/>
                      <a:gd name="T97" fmla="*/ 206 h 710"/>
                      <a:gd name="T98" fmla="*/ 541 w 800"/>
                      <a:gd name="T99" fmla="*/ 198 h 710"/>
                      <a:gd name="T100" fmla="*/ 583 w 800"/>
                      <a:gd name="T101" fmla="*/ 140 h 710"/>
                      <a:gd name="T102" fmla="*/ 626 w 800"/>
                      <a:gd name="T103" fmla="*/ 95 h 710"/>
                      <a:gd name="T104" fmla="*/ 625 w 800"/>
                      <a:gd name="T105" fmla="*/ 46 h 710"/>
                      <a:gd name="T106" fmla="*/ 610 w 800"/>
                      <a:gd name="T107" fmla="*/ 22 h 710"/>
                      <a:gd name="T108" fmla="*/ 653 w 800"/>
                      <a:gd name="T109" fmla="*/ 18 h 710"/>
                      <a:gd name="T110" fmla="*/ 660 w 800"/>
                      <a:gd name="T111" fmla="*/ 0 h 710"/>
                      <a:gd name="T112" fmla="*/ 693 w 800"/>
                      <a:gd name="T113" fmla="*/ 6 h 710"/>
                      <a:gd name="T114" fmla="*/ 678 w 800"/>
                      <a:gd name="T115" fmla="*/ 66 h 710"/>
                      <a:gd name="T116" fmla="*/ 680 w 800"/>
                      <a:gd name="T117" fmla="*/ 125 h 710"/>
                      <a:gd name="T118" fmla="*/ 715 w 800"/>
                      <a:gd name="T119" fmla="*/ 156 h 710"/>
                      <a:gd name="T120" fmla="*/ 720 w 800"/>
                      <a:gd name="T121" fmla="*/ 185 h 710"/>
                      <a:gd name="T122" fmla="*/ 717 w 800"/>
                      <a:gd name="T123" fmla="*/ 225 h 710"/>
                      <a:gd name="T124" fmla="*/ 727 w 800"/>
                      <a:gd name="T125" fmla="*/ 226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0" h="710">
                        <a:moveTo>
                          <a:pt x="727" y="226"/>
                        </a:moveTo>
                        <a:lnTo>
                          <a:pt x="722" y="290"/>
                        </a:lnTo>
                        <a:lnTo>
                          <a:pt x="709" y="315"/>
                        </a:lnTo>
                        <a:lnTo>
                          <a:pt x="672" y="316"/>
                        </a:lnTo>
                        <a:lnTo>
                          <a:pt x="644" y="362"/>
                        </a:lnTo>
                        <a:lnTo>
                          <a:pt x="688" y="368"/>
                        </a:lnTo>
                        <a:lnTo>
                          <a:pt x="722" y="408"/>
                        </a:lnTo>
                        <a:lnTo>
                          <a:pt x="732" y="441"/>
                        </a:lnTo>
                        <a:lnTo>
                          <a:pt x="763" y="460"/>
                        </a:lnTo>
                        <a:lnTo>
                          <a:pt x="800" y="548"/>
                        </a:lnTo>
                        <a:lnTo>
                          <a:pt x="749" y="601"/>
                        </a:lnTo>
                        <a:lnTo>
                          <a:pt x="703" y="650"/>
                        </a:lnTo>
                        <a:lnTo>
                          <a:pt x="658" y="687"/>
                        </a:lnTo>
                        <a:lnTo>
                          <a:pt x="606" y="687"/>
                        </a:lnTo>
                        <a:lnTo>
                          <a:pt x="548" y="706"/>
                        </a:lnTo>
                        <a:lnTo>
                          <a:pt x="504" y="688"/>
                        </a:lnTo>
                        <a:lnTo>
                          <a:pt x="473" y="710"/>
                        </a:lnTo>
                        <a:lnTo>
                          <a:pt x="413" y="656"/>
                        </a:lnTo>
                        <a:lnTo>
                          <a:pt x="396" y="621"/>
                        </a:lnTo>
                        <a:lnTo>
                          <a:pt x="356" y="638"/>
                        </a:lnTo>
                        <a:lnTo>
                          <a:pt x="323" y="633"/>
                        </a:lnTo>
                        <a:lnTo>
                          <a:pt x="303" y="647"/>
                        </a:lnTo>
                        <a:lnTo>
                          <a:pt x="271" y="637"/>
                        </a:lnTo>
                        <a:lnTo>
                          <a:pt x="231" y="570"/>
                        </a:lnTo>
                        <a:lnTo>
                          <a:pt x="221" y="545"/>
                        </a:lnTo>
                        <a:lnTo>
                          <a:pt x="170" y="512"/>
                        </a:lnTo>
                        <a:lnTo>
                          <a:pt x="154" y="463"/>
                        </a:lnTo>
                        <a:lnTo>
                          <a:pt x="126" y="428"/>
                        </a:lnTo>
                        <a:lnTo>
                          <a:pt x="81" y="386"/>
                        </a:lnTo>
                        <a:lnTo>
                          <a:pt x="83" y="360"/>
                        </a:lnTo>
                        <a:lnTo>
                          <a:pt x="46" y="327"/>
                        </a:lnTo>
                        <a:lnTo>
                          <a:pt x="0" y="295"/>
                        </a:lnTo>
                        <a:lnTo>
                          <a:pt x="23" y="286"/>
                        </a:lnTo>
                        <a:lnTo>
                          <a:pt x="48" y="271"/>
                        </a:lnTo>
                        <a:lnTo>
                          <a:pt x="73" y="198"/>
                        </a:lnTo>
                        <a:lnTo>
                          <a:pt x="96" y="161"/>
                        </a:lnTo>
                        <a:lnTo>
                          <a:pt x="149" y="150"/>
                        </a:lnTo>
                        <a:lnTo>
                          <a:pt x="159" y="172"/>
                        </a:lnTo>
                        <a:lnTo>
                          <a:pt x="191" y="218"/>
                        </a:lnTo>
                        <a:lnTo>
                          <a:pt x="210" y="226"/>
                        </a:lnTo>
                        <a:lnTo>
                          <a:pt x="238" y="212"/>
                        </a:lnTo>
                        <a:lnTo>
                          <a:pt x="289" y="215"/>
                        </a:lnTo>
                        <a:lnTo>
                          <a:pt x="297" y="232"/>
                        </a:lnTo>
                        <a:lnTo>
                          <a:pt x="368" y="232"/>
                        </a:lnTo>
                        <a:lnTo>
                          <a:pt x="373" y="215"/>
                        </a:lnTo>
                        <a:lnTo>
                          <a:pt x="410" y="200"/>
                        </a:lnTo>
                        <a:lnTo>
                          <a:pt x="420" y="176"/>
                        </a:lnTo>
                        <a:lnTo>
                          <a:pt x="448" y="158"/>
                        </a:lnTo>
                        <a:lnTo>
                          <a:pt x="504" y="206"/>
                        </a:lnTo>
                        <a:lnTo>
                          <a:pt x="541" y="198"/>
                        </a:lnTo>
                        <a:lnTo>
                          <a:pt x="583" y="140"/>
                        </a:lnTo>
                        <a:lnTo>
                          <a:pt x="626" y="95"/>
                        </a:lnTo>
                        <a:lnTo>
                          <a:pt x="625" y="46"/>
                        </a:lnTo>
                        <a:lnTo>
                          <a:pt x="610" y="22"/>
                        </a:lnTo>
                        <a:lnTo>
                          <a:pt x="653" y="18"/>
                        </a:lnTo>
                        <a:lnTo>
                          <a:pt x="660" y="0"/>
                        </a:lnTo>
                        <a:lnTo>
                          <a:pt x="693" y="6"/>
                        </a:lnTo>
                        <a:lnTo>
                          <a:pt x="678" y="66"/>
                        </a:lnTo>
                        <a:lnTo>
                          <a:pt x="680" y="125"/>
                        </a:lnTo>
                        <a:lnTo>
                          <a:pt x="715" y="156"/>
                        </a:lnTo>
                        <a:lnTo>
                          <a:pt x="720" y="185"/>
                        </a:lnTo>
                        <a:lnTo>
                          <a:pt x="717" y="225"/>
                        </a:lnTo>
                        <a:lnTo>
                          <a:pt x="727" y="22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3" name="Senegal" descr="{&quot;Key&quot;:&quot;senegal&quot;,&quot;Name&quot;:&quot;Senegal&quot;,&quot;Value&quot;:1.0,&quot;Formula&quot;:&quot;&quot;,&quot;Text&quot;:&quot;&quot;,&quot;OfficeApplication&quot;:1,&quot;HasValue&quot;:true}">
                    <a:extLst>
                      <a:ext uri="{FF2B5EF4-FFF2-40B4-BE49-F238E27FC236}">
                        <a16:creationId xmlns:a16="http://schemas.microsoft.com/office/drawing/2014/main" id="{9333BB54-B083-D632-6FBA-3648C6486B37}"/>
                      </a:ext>
                    </a:extLst>
                  </p:cNvPr>
                  <p:cNvSpPr>
                    <a:spLocks/>
                  </p:cNvSpPr>
                  <p:nvPr/>
                </p:nvSpPr>
                <p:spPr bwMode="auto">
                  <a:xfrm>
                    <a:off x="494" y="2408"/>
                    <a:ext cx="114" cy="97"/>
                  </a:xfrm>
                  <a:custGeom>
                    <a:avLst/>
                    <a:gdLst>
                      <a:gd name="T0" fmla="*/ 385 w 410"/>
                      <a:gd name="T1" fmla="*/ 161 h 347"/>
                      <a:gd name="T2" fmla="*/ 380 w 410"/>
                      <a:gd name="T3" fmla="*/ 212 h 347"/>
                      <a:gd name="T4" fmla="*/ 386 w 410"/>
                      <a:gd name="T5" fmla="*/ 259 h 347"/>
                      <a:gd name="T6" fmla="*/ 409 w 410"/>
                      <a:gd name="T7" fmla="*/ 281 h 347"/>
                      <a:gd name="T8" fmla="*/ 410 w 410"/>
                      <a:gd name="T9" fmla="*/ 312 h 347"/>
                      <a:gd name="T10" fmla="*/ 403 w 410"/>
                      <a:gd name="T11" fmla="*/ 339 h 347"/>
                      <a:gd name="T12" fmla="*/ 391 w 410"/>
                      <a:gd name="T13" fmla="*/ 342 h 347"/>
                      <a:gd name="T14" fmla="*/ 354 w 410"/>
                      <a:gd name="T15" fmla="*/ 336 h 347"/>
                      <a:gd name="T16" fmla="*/ 346 w 410"/>
                      <a:gd name="T17" fmla="*/ 345 h 347"/>
                      <a:gd name="T18" fmla="*/ 331 w 410"/>
                      <a:gd name="T19" fmla="*/ 347 h 347"/>
                      <a:gd name="T20" fmla="*/ 282 w 410"/>
                      <a:gd name="T21" fmla="*/ 327 h 347"/>
                      <a:gd name="T22" fmla="*/ 249 w 410"/>
                      <a:gd name="T23" fmla="*/ 326 h 347"/>
                      <a:gd name="T24" fmla="*/ 117 w 410"/>
                      <a:gd name="T25" fmla="*/ 322 h 347"/>
                      <a:gd name="T26" fmla="*/ 96 w 410"/>
                      <a:gd name="T27" fmla="*/ 332 h 347"/>
                      <a:gd name="T28" fmla="*/ 74 w 410"/>
                      <a:gd name="T29" fmla="*/ 330 h 347"/>
                      <a:gd name="T30" fmla="*/ 34 w 410"/>
                      <a:gd name="T31" fmla="*/ 342 h 347"/>
                      <a:gd name="T32" fmla="*/ 32 w 410"/>
                      <a:gd name="T33" fmla="*/ 280 h 347"/>
                      <a:gd name="T34" fmla="*/ 96 w 410"/>
                      <a:gd name="T35" fmla="*/ 282 h 347"/>
                      <a:gd name="T36" fmla="*/ 115 w 410"/>
                      <a:gd name="T37" fmla="*/ 271 h 347"/>
                      <a:gd name="T38" fmla="*/ 129 w 410"/>
                      <a:gd name="T39" fmla="*/ 270 h 347"/>
                      <a:gd name="T40" fmla="*/ 157 w 410"/>
                      <a:gd name="T41" fmla="*/ 251 h 347"/>
                      <a:gd name="T42" fmla="*/ 186 w 410"/>
                      <a:gd name="T43" fmla="*/ 268 h 347"/>
                      <a:gd name="T44" fmla="*/ 216 w 410"/>
                      <a:gd name="T45" fmla="*/ 270 h 347"/>
                      <a:gd name="T46" fmla="*/ 250 w 410"/>
                      <a:gd name="T47" fmla="*/ 251 h 347"/>
                      <a:gd name="T48" fmla="*/ 240 w 410"/>
                      <a:gd name="T49" fmla="*/ 229 h 347"/>
                      <a:gd name="T50" fmla="*/ 214 w 410"/>
                      <a:gd name="T51" fmla="*/ 242 h 347"/>
                      <a:gd name="T52" fmla="*/ 192 w 410"/>
                      <a:gd name="T53" fmla="*/ 241 h 347"/>
                      <a:gd name="T54" fmla="*/ 167 w 410"/>
                      <a:gd name="T55" fmla="*/ 221 h 347"/>
                      <a:gd name="T56" fmla="*/ 145 w 410"/>
                      <a:gd name="T57" fmla="*/ 222 h 347"/>
                      <a:gd name="T58" fmla="*/ 125 w 410"/>
                      <a:gd name="T59" fmla="*/ 242 h 347"/>
                      <a:gd name="T60" fmla="*/ 47 w 410"/>
                      <a:gd name="T61" fmla="*/ 245 h 347"/>
                      <a:gd name="T62" fmla="*/ 30 w 410"/>
                      <a:gd name="T63" fmla="*/ 181 h 347"/>
                      <a:gd name="T64" fmla="*/ 0 w 410"/>
                      <a:gd name="T65" fmla="*/ 152 h 347"/>
                      <a:gd name="T66" fmla="*/ 34 w 410"/>
                      <a:gd name="T67" fmla="*/ 136 h 347"/>
                      <a:gd name="T68" fmla="*/ 80 w 410"/>
                      <a:gd name="T69" fmla="*/ 80 h 347"/>
                      <a:gd name="T70" fmla="*/ 106 w 410"/>
                      <a:gd name="T71" fmla="*/ 37 h 347"/>
                      <a:gd name="T72" fmla="*/ 136 w 410"/>
                      <a:gd name="T73" fmla="*/ 12 h 347"/>
                      <a:gd name="T74" fmla="*/ 170 w 410"/>
                      <a:gd name="T75" fmla="*/ 18 h 347"/>
                      <a:gd name="T76" fmla="*/ 207 w 410"/>
                      <a:gd name="T77" fmla="*/ 1 h 347"/>
                      <a:gd name="T78" fmla="*/ 247 w 410"/>
                      <a:gd name="T79" fmla="*/ 0 h 347"/>
                      <a:gd name="T80" fmla="*/ 276 w 410"/>
                      <a:gd name="T81" fmla="*/ 23 h 347"/>
                      <a:gd name="T82" fmla="*/ 319 w 410"/>
                      <a:gd name="T83" fmla="*/ 46 h 347"/>
                      <a:gd name="T84" fmla="*/ 350 w 410"/>
                      <a:gd name="T85" fmla="*/ 105 h 347"/>
                      <a:gd name="T86" fmla="*/ 385 w 410"/>
                      <a:gd name="T87" fmla="*/ 16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0" h="347">
                        <a:moveTo>
                          <a:pt x="385" y="161"/>
                        </a:moveTo>
                        <a:lnTo>
                          <a:pt x="380" y="212"/>
                        </a:lnTo>
                        <a:lnTo>
                          <a:pt x="386" y="259"/>
                        </a:lnTo>
                        <a:lnTo>
                          <a:pt x="409" y="281"/>
                        </a:lnTo>
                        <a:lnTo>
                          <a:pt x="410" y="312"/>
                        </a:lnTo>
                        <a:lnTo>
                          <a:pt x="403" y="339"/>
                        </a:lnTo>
                        <a:lnTo>
                          <a:pt x="391" y="342"/>
                        </a:lnTo>
                        <a:lnTo>
                          <a:pt x="354" y="336"/>
                        </a:lnTo>
                        <a:lnTo>
                          <a:pt x="346" y="345"/>
                        </a:lnTo>
                        <a:lnTo>
                          <a:pt x="331" y="347"/>
                        </a:lnTo>
                        <a:lnTo>
                          <a:pt x="282" y="327"/>
                        </a:lnTo>
                        <a:lnTo>
                          <a:pt x="249" y="326"/>
                        </a:lnTo>
                        <a:lnTo>
                          <a:pt x="117" y="322"/>
                        </a:lnTo>
                        <a:lnTo>
                          <a:pt x="96" y="332"/>
                        </a:lnTo>
                        <a:lnTo>
                          <a:pt x="74" y="330"/>
                        </a:lnTo>
                        <a:lnTo>
                          <a:pt x="34" y="342"/>
                        </a:lnTo>
                        <a:lnTo>
                          <a:pt x="32" y="280"/>
                        </a:lnTo>
                        <a:lnTo>
                          <a:pt x="96" y="282"/>
                        </a:lnTo>
                        <a:lnTo>
                          <a:pt x="115" y="271"/>
                        </a:lnTo>
                        <a:lnTo>
                          <a:pt x="129" y="270"/>
                        </a:lnTo>
                        <a:lnTo>
                          <a:pt x="157" y="251"/>
                        </a:lnTo>
                        <a:lnTo>
                          <a:pt x="186" y="268"/>
                        </a:lnTo>
                        <a:lnTo>
                          <a:pt x="216" y="270"/>
                        </a:lnTo>
                        <a:lnTo>
                          <a:pt x="250" y="251"/>
                        </a:lnTo>
                        <a:lnTo>
                          <a:pt x="240" y="229"/>
                        </a:lnTo>
                        <a:lnTo>
                          <a:pt x="214" y="242"/>
                        </a:lnTo>
                        <a:lnTo>
                          <a:pt x="192" y="241"/>
                        </a:lnTo>
                        <a:lnTo>
                          <a:pt x="167" y="221"/>
                        </a:lnTo>
                        <a:lnTo>
                          <a:pt x="145" y="222"/>
                        </a:lnTo>
                        <a:lnTo>
                          <a:pt x="125" y="242"/>
                        </a:lnTo>
                        <a:lnTo>
                          <a:pt x="47" y="245"/>
                        </a:lnTo>
                        <a:lnTo>
                          <a:pt x="30" y="181"/>
                        </a:lnTo>
                        <a:lnTo>
                          <a:pt x="0" y="152"/>
                        </a:lnTo>
                        <a:lnTo>
                          <a:pt x="34" y="136"/>
                        </a:lnTo>
                        <a:lnTo>
                          <a:pt x="80" y="80"/>
                        </a:lnTo>
                        <a:lnTo>
                          <a:pt x="106" y="37"/>
                        </a:lnTo>
                        <a:lnTo>
                          <a:pt x="136" y="12"/>
                        </a:lnTo>
                        <a:lnTo>
                          <a:pt x="170" y="18"/>
                        </a:lnTo>
                        <a:lnTo>
                          <a:pt x="207" y="1"/>
                        </a:lnTo>
                        <a:lnTo>
                          <a:pt x="247" y="0"/>
                        </a:lnTo>
                        <a:lnTo>
                          <a:pt x="276" y="23"/>
                        </a:lnTo>
                        <a:lnTo>
                          <a:pt x="319" y="46"/>
                        </a:lnTo>
                        <a:lnTo>
                          <a:pt x="350" y="105"/>
                        </a:lnTo>
                        <a:lnTo>
                          <a:pt x="385" y="16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4" name="Sierra Leone" descr="{&quot;Key&quot;:&quot;sierra leone&quot;,&quot;Name&quot;:&quot;Sierra Leone&quot;,&quot;Value&quot;:1.0,&quot;Formula&quot;:&quot;&quot;,&quot;Text&quot;:&quot;&quot;,&quot;OfficeApplication&quot;:1,&quot;HasValue&quot;:true}">
                    <a:extLst>
                      <a:ext uri="{FF2B5EF4-FFF2-40B4-BE49-F238E27FC236}">
                        <a16:creationId xmlns:a16="http://schemas.microsoft.com/office/drawing/2014/main" id="{DB9A0778-592C-7299-45B1-702D3FC25506}"/>
                      </a:ext>
                    </a:extLst>
                  </p:cNvPr>
                  <p:cNvSpPr>
                    <a:spLocks/>
                  </p:cNvSpPr>
                  <p:nvPr/>
                </p:nvSpPr>
                <p:spPr bwMode="auto">
                  <a:xfrm>
                    <a:off x="561" y="2557"/>
                    <a:ext cx="60" cy="74"/>
                  </a:xfrm>
                  <a:custGeom>
                    <a:avLst/>
                    <a:gdLst>
                      <a:gd name="T0" fmla="*/ 213 w 213"/>
                      <a:gd name="T1" fmla="*/ 134 h 265"/>
                      <a:gd name="T2" fmla="*/ 175 w 213"/>
                      <a:gd name="T3" fmla="*/ 172 h 265"/>
                      <a:gd name="T4" fmla="*/ 139 w 213"/>
                      <a:gd name="T5" fmla="*/ 217 h 265"/>
                      <a:gd name="T6" fmla="*/ 133 w 213"/>
                      <a:gd name="T7" fmla="*/ 240 h 265"/>
                      <a:gd name="T8" fmla="*/ 114 w 213"/>
                      <a:gd name="T9" fmla="*/ 265 h 265"/>
                      <a:gd name="T10" fmla="*/ 95 w 213"/>
                      <a:gd name="T11" fmla="*/ 260 h 265"/>
                      <a:gd name="T12" fmla="*/ 46 w 213"/>
                      <a:gd name="T13" fmla="*/ 227 h 265"/>
                      <a:gd name="T14" fmla="*/ 13 w 213"/>
                      <a:gd name="T15" fmla="*/ 184 h 265"/>
                      <a:gd name="T16" fmla="*/ 3 w 213"/>
                      <a:gd name="T17" fmla="*/ 154 h 265"/>
                      <a:gd name="T18" fmla="*/ 0 w 213"/>
                      <a:gd name="T19" fmla="*/ 94 h 265"/>
                      <a:gd name="T20" fmla="*/ 43 w 213"/>
                      <a:gd name="T21" fmla="*/ 58 h 265"/>
                      <a:gd name="T22" fmla="*/ 54 w 213"/>
                      <a:gd name="T23" fmla="*/ 35 h 265"/>
                      <a:gd name="T24" fmla="*/ 68 w 213"/>
                      <a:gd name="T25" fmla="*/ 18 h 265"/>
                      <a:gd name="T26" fmla="*/ 88 w 213"/>
                      <a:gd name="T27" fmla="*/ 17 h 265"/>
                      <a:gd name="T28" fmla="*/ 106 w 213"/>
                      <a:gd name="T29" fmla="*/ 0 h 265"/>
                      <a:gd name="T30" fmla="*/ 164 w 213"/>
                      <a:gd name="T31" fmla="*/ 0 h 265"/>
                      <a:gd name="T32" fmla="*/ 180 w 213"/>
                      <a:gd name="T33" fmla="*/ 30 h 265"/>
                      <a:gd name="T34" fmla="*/ 191 w 213"/>
                      <a:gd name="T35" fmla="*/ 64 h 265"/>
                      <a:gd name="T36" fmla="*/ 186 w 213"/>
                      <a:gd name="T37" fmla="*/ 88 h 265"/>
                      <a:gd name="T38" fmla="*/ 196 w 213"/>
                      <a:gd name="T39" fmla="*/ 109 h 265"/>
                      <a:gd name="T40" fmla="*/ 193 w 213"/>
                      <a:gd name="T41" fmla="*/ 139 h 265"/>
                      <a:gd name="T42" fmla="*/ 213 w 213"/>
                      <a:gd name="T43" fmla="*/ 13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3" h="265">
                        <a:moveTo>
                          <a:pt x="213" y="134"/>
                        </a:moveTo>
                        <a:lnTo>
                          <a:pt x="175" y="172"/>
                        </a:lnTo>
                        <a:lnTo>
                          <a:pt x="139" y="217"/>
                        </a:lnTo>
                        <a:lnTo>
                          <a:pt x="133" y="240"/>
                        </a:lnTo>
                        <a:lnTo>
                          <a:pt x="114" y="265"/>
                        </a:lnTo>
                        <a:lnTo>
                          <a:pt x="95" y="260"/>
                        </a:lnTo>
                        <a:lnTo>
                          <a:pt x="46" y="227"/>
                        </a:lnTo>
                        <a:lnTo>
                          <a:pt x="13" y="184"/>
                        </a:lnTo>
                        <a:lnTo>
                          <a:pt x="3" y="154"/>
                        </a:lnTo>
                        <a:lnTo>
                          <a:pt x="0" y="94"/>
                        </a:lnTo>
                        <a:lnTo>
                          <a:pt x="43" y="58"/>
                        </a:lnTo>
                        <a:lnTo>
                          <a:pt x="54" y="35"/>
                        </a:lnTo>
                        <a:lnTo>
                          <a:pt x="68" y="18"/>
                        </a:lnTo>
                        <a:lnTo>
                          <a:pt x="88" y="17"/>
                        </a:lnTo>
                        <a:lnTo>
                          <a:pt x="106" y="0"/>
                        </a:lnTo>
                        <a:lnTo>
                          <a:pt x="164" y="0"/>
                        </a:lnTo>
                        <a:lnTo>
                          <a:pt x="180" y="30"/>
                        </a:lnTo>
                        <a:lnTo>
                          <a:pt x="191" y="64"/>
                        </a:lnTo>
                        <a:lnTo>
                          <a:pt x="186" y="88"/>
                        </a:lnTo>
                        <a:lnTo>
                          <a:pt x="196" y="109"/>
                        </a:lnTo>
                        <a:lnTo>
                          <a:pt x="193" y="139"/>
                        </a:lnTo>
                        <a:lnTo>
                          <a:pt x="213" y="13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5" name="El Salvador" descr="{&quot;Key&quot;:&quot;el salvador&quot;,&quot;Name&quot;:&quot;El Salvador&quot;,&quot;Value&quot;:1.0,&quot;Formula&quot;:&quot;&quot;,&quot;Text&quot;:&quot;&quot;,&quot;OfficeApplication&quot;:1,&quot;HasValue&quot;:true}">
                    <a:extLst>
                      <a:ext uri="{FF2B5EF4-FFF2-40B4-BE49-F238E27FC236}">
                        <a16:creationId xmlns:a16="http://schemas.microsoft.com/office/drawing/2014/main" id="{501AD778-8ED3-810D-D136-B37E1A25C657}"/>
                      </a:ext>
                    </a:extLst>
                  </p:cNvPr>
                  <p:cNvSpPr>
                    <a:spLocks/>
                  </p:cNvSpPr>
                  <p:nvPr/>
                </p:nvSpPr>
                <p:spPr bwMode="auto">
                  <a:xfrm>
                    <a:off x="6197" y="2458"/>
                    <a:ext cx="47" cy="29"/>
                  </a:xfrm>
                  <a:custGeom>
                    <a:avLst/>
                    <a:gdLst>
                      <a:gd name="T0" fmla="*/ 167 w 169"/>
                      <a:gd name="T1" fmla="*/ 84 h 104"/>
                      <a:gd name="T2" fmla="*/ 162 w 169"/>
                      <a:gd name="T3" fmla="*/ 104 h 104"/>
                      <a:gd name="T4" fmla="*/ 121 w 169"/>
                      <a:gd name="T5" fmla="*/ 103 h 104"/>
                      <a:gd name="T6" fmla="*/ 95 w 169"/>
                      <a:gd name="T7" fmla="*/ 94 h 104"/>
                      <a:gd name="T8" fmla="*/ 62 w 169"/>
                      <a:gd name="T9" fmla="*/ 78 h 104"/>
                      <a:gd name="T10" fmla="*/ 22 w 169"/>
                      <a:gd name="T11" fmla="*/ 73 h 104"/>
                      <a:gd name="T12" fmla="*/ 0 w 169"/>
                      <a:gd name="T13" fmla="*/ 55 h 104"/>
                      <a:gd name="T14" fmla="*/ 1 w 169"/>
                      <a:gd name="T15" fmla="*/ 44 h 104"/>
                      <a:gd name="T16" fmla="*/ 22 w 169"/>
                      <a:gd name="T17" fmla="*/ 24 h 104"/>
                      <a:gd name="T18" fmla="*/ 35 w 169"/>
                      <a:gd name="T19" fmla="*/ 14 h 104"/>
                      <a:gd name="T20" fmla="*/ 30 w 169"/>
                      <a:gd name="T21" fmla="*/ 5 h 104"/>
                      <a:gd name="T22" fmla="*/ 46 w 169"/>
                      <a:gd name="T23" fmla="*/ 0 h 104"/>
                      <a:gd name="T24" fmla="*/ 67 w 169"/>
                      <a:gd name="T25" fmla="*/ 7 h 104"/>
                      <a:gd name="T26" fmla="*/ 85 w 169"/>
                      <a:gd name="T27" fmla="*/ 23 h 104"/>
                      <a:gd name="T28" fmla="*/ 109 w 169"/>
                      <a:gd name="T29" fmla="*/ 37 h 104"/>
                      <a:gd name="T30" fmla="*/ 112 w 169"/>
                      <a:gd name="T31" fmla="*/ 47 h 104"/>
                      <a:gd name="T32" fmla="*/ 142 w 169"/>
                      <a:gd name="T33" fmla="*/ 38 h 104"/>
                      <a:gd name="T34" fmla="*/ 157 w 169"/>
                      <a:gd name="T35" fmla="*/ 43 h 104"/>
                      <a:gd name="T36" fmla="*/ 169 w 169"/>
                      <a:gd name="T37" fmla="*/ 52 h 104"/>
                      <a:gd name="T38" fmla="*/ 167 w 169"/>
                      <a:gd name="T39"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04">
                        <a:moveTo>
                          <a:pt x="167" y="84"/>
                        </a:moveTo>
                        <a:lnTo>
                          <a:pt x="162" y="104"/>
                        </a:lnTo>
                        <a:lnTo>
                          <a:pt x="121" y="103"/>
                        </a:lnTo>
                        <a:lnTo>
                          <a:pt x="95" y="94"/>
                        </a:lnTo>
                        <a:lnTo>
                          <a:pt x="62" y="78"/>
                        </a:lnTo>
                        <a:lnTo>
                          <a:pt x="22" y="73"/>
                        </a:lnTo>
                        <a:lnTo>
                          <a:pt x="0" y="55"/>
                        </a:lnTo>
                        <a:lnTo>
                          <a:pt x="1" y="44"/>
                        </a:lnTo>
                        <a:lnTo>
                          <a:pt x="22" y="24"/>
                        </a:lnTo>
                        <a:lnTo>
                          <a:pt x="35" y="14"/>
                        </a:lnTo>
                        <a:lnTo>
                          <a:pt x="30" y="5"/>
                        </a:lnTo>
                        <a:lnTo>
                          <a:pt x="46" y="0"/>
                        </a:lnTo>
                        <a:lnTo>
                          <a:pt x="67" y="7"/>
                        </a:lnTo>
                        <a:lnTo>
                          <a:pt x="85" y="23"/>
                        </a:lnTo>
                        <a:lnTo>
                          <a:pt x="109" y="37"/>
                        </a:lnTo>
                        <a:lnTo>
                          <a:pt x="112" y="47"/>
                        </a:lnTo>
                        <a:lnTo>
                          <a:pt x="142" y="38"/>
                        </a:lnTo>
                        <a:lnTo>
                          <a:pt x="157" y="43"/>
                        </a:lnTo>
                        <a:lnTo>
                          <a:pt x="169" y="52"/>
                        </a:lnTo>
                        <a:lnTo>
                          <a:pt x="167" y="8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6" name="Somalia" descr="{&quot;Key&quot;:&quot;somalia&quot;,&quot;Name&quot;:&quot;Somalia&quot;,&quot;Value&quot;:1.0,&quot;Formula&quot;:&quot;&quot;,&quot;Text&quot;:&quot;&quot;,&quot;OfficeApplication&quot;:1,&quot;HasValue&quot;:true}">
                    <a:extLst>
                      <a:ext uri="{FF2B5EF4-FFF2-40B4-BE49-F238E27FC236}">
                        <a16:creationId xmlns:a16="http://schemas.microsoft.com/office/drawing/2014/main" id="{618DA48F-2DE5-4984-12C2-D3ED4F250D3F}"/>
                      </a:ext>
                    </a:extLst>
                  </p:cNvPr>
                  <p:cNvSpPr>
                    <a:spLocks/>
                  </p:cNvSpPr>
                  <p:nvPr/>
                </p:nvSpPr>
                <p:spPr bwMode="auto">
                  <a:xfrm>
                    <a:off x="1635" y="2512"/>
                    <a:ext cx="215" cy="311"/>
                  </a:xfrm>
                  <a:custGeom>
                    <a:avLst/>
                    <a:gdLst>
                      <a:gd name="T0" fmla="*/ 43 w 771"/>
                      <a:gd name="T1" fmla="*/ 1114 h 1114"/>
                      <a:gd name="T2" fmla="*/ 0 w 771"/>
                      <a:gd name="T3" fmla="*/ 1047 h 1114"/>
                      <a:gd name="T4" fmla="*/ 2 w 771"/>
                      <a:gd name="T5" fmla="*/ 752 h 1114"/>
                      <a:gd name="T6" fmla="*/ 68 w 771"/>
                      <a:gd name="T7" fmla="*/ 659 h 1114"/>
                      <a:gd name="T8" fmla="*/ 88 w 771"/>
                      <a:gd name="T9" fmla="*/ 633 h 1114"/>
                      <a:gd name="T10" fmla="*/ 135 w 771"/>
                      <a:gd name="T11" fmla="*/ 632 h 1114"/>
                      <a:gd name="T12" fmla="*/ 201 w 771"/>
                      <a:gd name="T13" fmla="*/ 574 h 1114"/>
                      <a:gd name="T14" fmla="*/ 295 w 771"/>
                      <a:gd name="T15" fmla="*/ 570 h 1114"/>
                      <a:gd name="T16" fmla="*/ 510 w 771"/>
                      <a:gd name="T17" fmla="*/ 327 h 1114"/>
                      <a:gd name="T18" fmla="*/ 563 w 771"/>
                      <a:gd name="T19" fmla="*/ 259 h 1114"/>
                      <a:gd name="T20" fmla="*/ 600 w 771"/>
                      <a:gd name="T21" fmla="*/ 209 h 1114"/>
                      <a:gd name="T22" fmla="*/ 602 w 771"/>
                      <a:gd name="T23" fmla="*/ 167 h 1114"/>
                      <a:gd name="T24" fmla="*/ 610 w 771"/>
                      <a:gd name="T25" fmla="*/ 85 h 1114"/>
                      <a:gd name="T26" fmla="*/ 612 w 771"/>
                      <a:gd name="T27" fmla="*/ 52 h 1114"/>
                      <a:gd name="T28" fmla="*/ 613 w 771"/>
                      <a:gd name="T29" fmla="*/ 50 h 1114"/>
                      <a:gd name="T30" fmla="*/ 636 w 771"/>
                      <a:gd name="T31" fmla="*/ 48 h 1114"/>
                      <a:gd name="T32" fmla="*/ 670 w 771"/>
                      <a:gd name="T33" fmla="*/ 37 h 1114"/>
                      <a:gd name="T34" fmla="*/ 708 w 771"/>
                      <a:gd name="T35" fmla="*/ 28 h 1114"/>
                      <a:gd name="T36" fmla="*/ 745 w 771"/>
                      <a:gd name="T37" fmla="*/ 0 h 1114"/>
                      <a:gd name="T38" fmla="*/ 771 w 771"/>
                      <a:gd name="T39" fmla="*/ 0 h 1114"/>
                      <a:gd name="T40" fmla="*/ 771 w 771"/>
                      <a:gd name="T41" fmla="*/ 23 h 1114"/>
                      <a:gd name="T42" fmla="*/ 761 w 771"/>
                      <a:gd name="T43" fmla="*/ 70 h 1114"/>
                      <a:gd name="T44" fmla="*/ 757 w 771"/>
                      <a:gd name="T45" fmla="*/ 113 h 1114"/>
                      <a:gd name="T46" fmla="*/ 740 w 771"/>
                      <a:gd name="T47" fmla="*/ 142 h 1114"/>
                      <a:gd name="T48" fmla="*/ 713 w 771"/>
                      <a:gd name="T49" fmla="*/ 229 h 1114"/>
                      <a:gd name="T50" fmla="*/ 673 w 771"/>
                      <a:gd name="T51" fmla="*/ 320 h 1114"/>
                      <a:gd name="T52" fmla="*/ 623 w 771"/>
                      <a:gd name="T53" fmla="*/ 424 h 1114"/>
                      <a:gd name="T54" fmla="*/ 556 w 771"/>
                      <a:gd name="T55" fmla="*/ 543 h 1114"/>
                      <a:gd name="T56" fmla="*/ 491 w 771"/>
                      <a:gd name="T57" fmla="*/ 634 h 1114"/>
                      <a:gd name="T58" fmla="*/ 403 w 771"/>
                      <a:gd name="T59" fmla="*/ 745 h 1114"/>
                      <a:gd name="T60" fmla="*/ 330 w 771"/>
                      <a:gd name="T61" fmla="*/ 812 h 1114"/>
                      <a:gd name="T62" fmla="*/ 221 w 771"/>
                      <a:gd name="T63" fmla="*/ 892 h 1114"/>
                      <a:gd name="T64" fmla="*/ 153 w 771"/>
                      <a:gd name="T65" fmla="*/ 954 h 1114"/>
                      <a:gd name="T66" fmla="*/ 75 w 771"/>
                      <a:gd name="T67" fmla="*/ 1052 h 1114"/>
                      <a:gd name="T68" fmla="*/ 58 w 771"/>
                      <a:gd name="T69" fmla="*/ 1095 h 1114"/>
                      <a:gd name="T70" fmla="*/ 43 w 771"/>
                      <a:gd name="T71" fmla="*/ 1114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1" h="1114">
                        <a:moveTo>
                          <a:pt x="43" y="1114"/>
                        </a:moveTo>
                        <a:lnTo>
                          <a:pt x="0" y="1047"/>
                        </a:lnTo>
                        <a:lnTo>
                          <a:pt x="2" y="752"/>
                        </a:lnTo>
                        <a:lnTo>
                          <a:pt x="68" y="659"/>
                        </a:lnTo>
                        <a:lnTo>
                          <a:pt x="88" y="633"/>
                        </a:lnTo>
                        <a:lnTo>
                          <a:pt x="135" y="632"/>
                        </a:lnTo>
                        <a:lnTo>
                          <a:pt x="201" y="574"/>
                        </a:lnTo>
                        <a:lnTo>
                          <a:pt x="295" y="570"/>
                        </a:lnTo>
                        <a:lnTo>
                          <a:pt x="510" y="327"/>
                        </a:lnTo>
                        <a:lnTo>
                          <a:pt x="563" y="259"/>
                        </a:lnTo>
                        <a:lnTo>
                          <a:pt x="600" y="209"/>
                        </a:lnTo>
                        <a:lnTo>
                          <a:pt x="602" y="167"/>
                        </a:lnTo>
                        <a:lnTo>
                          <a:pt x="610" y="85"/>
                        </a:lnTo>
                        <a:lnTo>
                          <a:pt x="612" y="52"/>
                        </a:lnTo>
                        <a:lnTo>
                          <a:pt x="613" y="50"/>
                        </a:lnTo>
                        <a:lnTo>
                          <a:pt x="636" y="48"/>
                        </a:lnTo>
                        <a:lnTo>
                          <a:pt x="670" y="37"/>
                        </a:lnTo>
                        <a:lnTo>
                          <a:pt x="708" y="28"/>
                        </a:lnTo>
                        <a:lnTo>
                          <a:pt x="745" y="0"/>
                        </a:lnTo>
                        <a:lnTo>
                          <a:pt x="771" y="0"/>
                        </a:lnTo>
                        <a:lnTo>
                          <a:pt x="771" y="23"/>
                        </a:lnTo>
                        <a:lnTo>
                          <a:pt x="761" y="70"/>
                        </a:lnTo>
                        <a:lnTo>
                          <a:pt x="757" y="113"/>
                        </a:lnTo>
                        <a:lnTo>
                          <a:pt x="740" y="142"/>
                        </a:lnTo>
                        <a:lnTo>
                          <a:pt x="713" y="229"/>
                        </a:lnTo>
                        <a:lnTo>
                          <a:pt x="673" y="320"/>
                        </a:lnTo>
                        <a:lnTo>
                          <a:pt x="623" y="424"/>
                        </a:lnTo>
                        <a:lnTo>
                          <a:pt x="556" y="543"/>
                        </a:lnTo>
                        <a:lnTo>
                          <a:pt x="491" y="634"/>
                        </a:lnTo>
                        <a:lnTo>
                          <a:pt x="403" y="745"/>
                        </a:lnTo>
                        <a:lnTo>
                          <a:pt x="330" y="812"/>
                        </a:lnTo>
                        <a:lnTo>
                          <a:pt x="221" y="892"/>
                        </a:lnTo>
                        <a:lnTo>
                          <a:pt x="153" y="954"/>
                        </a:lnTo>
                        <a:lnTo>
                          <a:pt x="75" y="1052"/>
                        </a:lnTo>
                        <a:lnTo>
                          <a:pt x="58" y="1095"/>
                        </a:lnTo>
                        <a:lnTo>
                          <a:pt x="43" y="111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7" name="Serbia" descr="{&quot;Key&quot;:&quot;serbia&quot;,&quot;Name&quot;:&quot;Serbia&quot;,&quot;Value&quot;:1.0,&quot;Formula&quot;:&quot;&quot;,&quot;Text&quot;:&quot;&quot;,&quot;OfficeApplication&quot;:1,&quot;HasValue&quot;:true}">
                    <a:extLst>
                      <a:ext uri="{FF2B5EF4-FFF2-40B4-BE49-F238E27FC236}">
                        <a16:creationId xmlns:a16="http://schemas.microsoft.com/office/drawing/2014/main" id="{01472715-5DD1-917B-389E-0559723C2C60}"/>
                      </a:ext>
                    </a:extLst>
                  </p:cNvPr>
                  <p:cNvSpPr>
                    <a:spLocks/>
                  </p:cNvSpPr>
                  <p:nvPr/>
                </p:nvSpPr>
                <p:spPr bwMode="auto">
                  <a:xfrm>
                    <a:off x="1450" y="1740"/>
                    <a:ext cx="78" cy="88"/>
                  </a:xfrm>
                  <a:custGeom>
                    <a:avLst/>
                    <a:gdLst>
                      <a:gd name="T0" fmla="*/ 258 w 278"/>
                      <a:gd name="T1" fmla="*/ 155 h 315"/>
                      <a:gd name="T2" fmla="*/ 230 w 278"/>
                      <a:gd name="T3" fmla="*/ 173 h 315"/>
                      <a:gd name="T4" fmla="*/ 219 w 278"/>
                      <a:gd name="T5" fmla="*/ 202 h 315"/>
                      <a:gd name="T6" fmla="*/ 230 w 278"/>
                      <a:gd name="T7" fmla="*/ 237 h 315"/>
                      <a:gd name="T8" fmla="*/ 190 w 278"/>
                      <a:gd name="T9" fmla="*/ 262 h 315"/>
                      <a:gd name="T10" fmla="*/ 164 w 278"/>
                      <a:gd name="T11" fmla="*/ 287 h 315"/>
                      <a:gd name="T12" fmla="*/ 165 w 278"/>
                      <a:gd name="T13" fmla="*/ 297 h 315"/>
                      <a:gd name="T14" fmla="*/ 148 w 278"/>
                      <a:gd name="T15" fmla="*/ 308 h 315"/>
                      <a:gd name="T16" fmla="*/ 118 w 278"/>
                      <a:gd name="T17" fmla="*/ 310 h 315"/>
                      <a:gd name="T18" fmla="*/ 93 w 278"/>
                      <a:gd name="T19" fmla="*/ 315 h 315"/>
                      <a:gd name="T20" fmla="*/ 94 w 278"/>
                      <a:gd name="T21" fmla="*/ 308 h 315"/>
                      <a:gd name="T22" fmla="*/ 106 w 278"/>
                      <a:gd name="T23" fmla="*/ 298 h 315"/>
                      <a:gd name="T24" fmla="*/ 125 w 278"/>
                      <a:gd name="T25" fmla="*/ 280 h 315"/>
                      <a:gd name="T26" fmla="*/ 116 w 278"/>
                      <a:gd name="T27" fmla="*/ 280 h 315"/>
                      <a:gd name="T28" fmla="*/ 113 w 278"/>
                      <a:gd name="T29" fmla="*/ 265 h 315"/>
                      <a:gd name="T30" fmla="*/ 104 w 278"/>
                      <a:gd name="T31" fmla="*/ 261 h 315"/>
                      <a:gd name="T32" fmla="*/ 103 w 278"/>
                      <a:gd name="T33" fmla="*/ 248 h 315"/>
                      <a:gd name="T34" fmla="*/ 94 w 278"/>
                      <a:gd name="T35" fmla="*/ 243 h 315"/>
                      <a:gd name="T36" fmla="*/ 91 w 278"/>
                      <a:gd name="T37" fmla="*/ 232 h 315"/>
                      <a:gd name="T38" fmla="*/ 76 w 278"/>
                      <a:gd name="T39" fmla="*/ 236 h 315"/>
                      <a:gd name="T40" fmla="*/ 51 w 278"/>
                      <a:gd name="T41" fmla="*/ 263 h 315"/>
                      <a:gd name="T42" fmla="*/ 33 w 278"/>
                      <a:gd name="T43" fmla="*/ 268 h 315"/>
                      <a:gd name="T44" fmla="*/ 43 w 278"/>
                      <a:gd name="T45" fmla="*/ 262 h 315"/>
                      <a:gd name="T46" fmla="*/ 28 w 278"/>
                      <a:gd name="T47" fmla="*/ 245 h 315"/>
                      <a:gd name="T48" fmla="*/ 11 w 278"/>
                      <a:gd name="T49" fmla="*/ 237 h 315"/>
                      <a:gd name="T50" fmla="*/ 9 w 278"/>
                      <a:gd name="T51" fmla="*/ 226 h 315"/>
                      <a:gd name="T52" fmla="*/ 0 w 278"/>
                      <a:gd name="T53" fmla="*/ 212 h 315"/>
                      <a:gd name="T54" fmla="*/ 18 w 278"/>
                      <a:gd name="T55" fmla="*/ 208 h 315"/>
                      <a:gd name="T56" fmla="*/ 50 w 278"/>
                      <a:gd name="T57" fmla="*/ 171 h 315"/>
                      <a:gd name="T58" fmla="*/ 38 w 278"/>
                      <a:gd name="T59" fmla="*/ 140 h 315"/>
                      <a:gd name="T60" fmla="*/ 76 w 278"/>
                      <a:gd name="T61" fmla="*/ 105 h 315"/>
                      <a:gd name="T62" fmla="*/ 53 w 278"/>
                      <a:gd name="T63" fmla="*/ 105 h 315"/>
                      <a:gd name="T64" fmla="*/ 96 w 278"/>
                      <a:gd name="T65" fmla="*/ 75 h 315"/>
                      <a:gd name="T66" fmla="*/ 90 w 278"/>
                      <a:gd name="T67" fmla="*/ 52 h 315"/>
                      <a:gd name="T68" fmla="*/ 95 w 278"/>
                      <a:gd name="T69" fmla="*/ 21 h 315"/>
                      <a:gd name="T70" fmla="*/ 158 w 278"/>
                      <a:gd name="T71" fmla="*/ 0 h 315"/>
                      <a:gd name="T72" fmla="*/ 195 w 278"/>
                      <a:gd name="T73" fmla="*/ 3 h 315"/>
                      <a:gd name="T74" fmla="*/ 209 w 278"/>
                      <a:gd name="T75" fmla="*/ 35 h 315"/>
                      <a:gd name="T76" fmla="*/ 200 w 278"/>
                      <a:gd name="T77" fmla="*/ 61 h 315"/>
                      <a:gd name="T78" fmla="*/ 228 w 278"/>
                      <a:gd name="T79" fmla="*/ 80 h 315"/>
                      <a:gd name="T80" fmla="*/ 213 w 278"/>
                      <a:gd name="T81" fmla="*/ 112 h 315"/>
                      <a:gd name="T82" fmla="*/ 236 w 278"/>
                      <a:gd name="T83" fmla="*/ 135 h 315"/>
                      <a:gd name="T84" fmla="*/ 268 w 278"/>
                      <a:gd name="T85" fmla="*/ 117 h 315"/>
                      <a:gd name="T86" fmla="*/ 278 w 278"/>
                      <a:gd name="T87" fmla="*/ 127 h 315"/>
                      <a:gd name="T88" fmla="*/ 254 w 278"/>
                      <a:gd name="T89" fmla="*/ 141 h 315"/>
                      <a:gd name="T90" fmla="*/ 258 w 278"/>
                      <a:gd name="T91" fmla="*/ 155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 h="315">
                        <a:moveTo>
                          <a:pt x="258" y="155"/>
                        </a:moveTo>
                        <a:lnTo>
                          <a:pt x="230" y="173"/>
                        </a:lnTo>
                        <a:lnTo>
                          <a:pt x="219" y="202"/>
                        </a:lnTo>
                        <a:lnTo>
                          <a:pt x="230" y="237"/>
                        </a:lnTo>
                        <a:lnTo>
                          <a:pt x="190" y="262"/>
                        </a:lnTo>
                        <a:lnTo>
                          <a:pt x="164" y="287"/>
                        </a:lnTo>
                        <a:lnTo>
                          <a:pt x="165" y="297"/>
                        </a:lnTo>
                        <a:lnTo>
                          <a:pt x="148" y="308"/>
                        </a:lnTo>
                        <a:lnTo>
                          <a:pt x="118" y="310"/>
                        </a:lnTo>
                        <a:lnTo>
                          <a:pt x="93" y="315"/>
                        </a:lnTo>
                        <a:lnTo>
                          <a:pt x="94" y="308"/>
                        </a:lnTo>
                        <a:lnTo>
                          <a:pt x="106" y="298"/>
                        </a:lnTo>
                        <a:lnTo>
                          <a:pt x="125" y="280"/>
                        </a:lnTo>
                        <a:lnTo>
                          <a:pt x="116" y="280"/>
                        </a:lnTo>
                        <a:lnTo>
                          <a:pt x="113" y="265"/>
                        </a:lnTo>
                        <a:lnTo>
                          <a:pt x="104" y="261"/>
                        </a:lnTo>
                        <a:lnTo>
                          <a:pt x="103" y="248"/>
                        </a:lnTo>
                        <a:lnTo>
                          <a:pt x="94" y="243"/>
                        </a:lnTo>
                        <a:lnTo>
                          <a:pt x="91" y="232"/>
                        </a:lnTo>
                        <a:lnTo>
                          <a:pt x="76" y="236"/>
                        </a:lnTo>
                        <a:lnTo>
                          <a:pt x="51" y="263"/>
                        </a:lnTo>
                        <a:lnTo>
                          <a:pt x="33" y="268"/>
                        </a:lnTo>
                        <a:lnTo>
                          <a:pt x="43" y="262"/>
                        </a:lnTo>
                        <a:lnTo>
                          <a:pt x="28" y="245"/>
                        </a:lnTo>
                        <a:lnTo>
                          <a:pt x="11" y="237"/>
                        </a:lnTo>
                        <a:lnTo>
                          <a:pt x="9" y="226"/>
                        </a:lnTo>
                        <a:lnTo>
                          <a:pt x="0" y="212"/>
                        </a:lnTo>
                        <a:lnTo>
                          <a:pt x="18" y="208"/>
                        </a:lnTo>
                        <a:lnTo>
                          <a:pt x="50" y="171"/>
                        </a:lnTo>
                        <a:lnTo>
                          <a:pt x="38" y="140"/>
                        </a:lnTo>
                        <a:lnTo>
                          <a:pt x="76" y="105"/>
                        </a:lnTo>
                        <a:lnTo>
                          <a:pt x="53" y="105"/>
                        </a:lnTo>
                        <a:lnTo>
                          <a:pt x="96" y="75"/>
                        </a:lnTo>
                        <a:lnTo>
                          <a:pt x="90" y="52"/>
                        </a:lnTo>
                        <a:lnTo>
                          <a:pt x="95" y="21"/>
                        </a:lnTo>
                        <a:lnTo>
                          <a:pt x="158" y="0"/>
                        </a:lnTo>
                        <a:lnTo>
                          <a:pt x="195" y="3"/>
                        </a:lnTo>
                        <a:lnTo>
                          <a:pt x="209" y="35"/>
                        </a:lnTo>
                        <a:lnTo>
                          <a:pt x="200" y="61"/>
                        </a:lnTo>
                        <a:lnTo>
                          <a:pt x="228" y="80"/>
                        </a:lnTo>
                        <a:lnTo>
                          <a:pt x="213" y="112"/>
                        </a:lnTo>
                        <a:lnTo>
                          <a:pt x="236" y="135"/>
                        </a:lnTo>
                        <a:lnTo>
                          <a:pt x="268" y="117"/>
                        </a:lnTo>
                        <a:lnTo>
                          <a:pt x="278" y="127"/>
                        </a:lnTo>
                        <a:lnTo>
                          <a:pt x="254" y="141"/>
                        </a:lnTo>
                        <a:lnTo>
                          <a:pt x="258" y="15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8" name="Suriname" descr="{&quot;Key&quot;:&quot;suriname&quot;,&quot;Name&quot;:&quot;Suriname&quot;,&quot;Value&quot;:1.0,&quot;Formula&quot;:&quot;&quot;,&quot;Text&quot;:&quot;&quot;,&quot;OfficeApplication&quot;:1,&quot;HasValue&quot;:true}">
                    <a:extLst>
                      <a:ext uri="{FF2B5EF4-FFF2-40B4-BE49-F238E27FC236}">
                        <a16:creationId xmlns:a16="http://schemas.microsoft.com/office/drawing/2014/main" id="{E5B4DD3D-A9C4-D133-0C92-4F5016B1DEC0}"/>
                      </a:ext>
                    </a:extLst>
                  </p:cNvPr>
                  <p:cNvSpPr>
                    <a:spLocks/>
                  </p:cNvSpPr>
                  <p:nvPr/>
                </p:nvSpPr>
                <p:spPr bwMode="auto">
                  <a:xfrm>
                    <a:off x="6856" y="2648"/>
                    <a:ext cx="82" cy="95"/>
                  </a:xfrm>
                  <a:custGeom>
                    <a:avLst/>
                    <a:gdLst>
                      <a:gd name="T0" fmla="*/ 260 w 293"/>
                      <a:gd name="T1" fmla="*/ 301 h 341"/>
                      <a:gd name="T2" fmla="*/ 219 w 293"/>
                      <a:gd name="T3" fmla="*/ 285 h 341"/>
                      <a:gd name="T4" fmla="*/ 185 w 293"/>
                      <a:gd name="T5" fmla="*/ 292 h 341"/>
                      <a:gd name="T6" fmla="*/ 155 w 293"/>
                      <a:gd name="T7" fmla="*/ 285 h 341"/>
                      <a:gd name="T8" fmla="*/ 149 w 293"/>
                      <a:gd name="T9" fmla="*/ 308 h 341"/>
                      <a:gd name="T10" fmla="*/ 162 w 293"/>
                      <a:gd name="T11" fmla="*/ 325 h 341"/>
                      <a:gd name="T12" fmla="*/ 157 w 293"/>
                      <a:gd name="T13" fmla="*/ 341 h 341"/>
                      <a:gd name="T14" fmla="*/ 116 w 293"/>
                      <a:gd name="T15" fmla="*/ 335 h 341"/>
                      <a:gd name="T16" fmla="*/ 70 w 293"/>
                      <a:gd name="T17" fmla="*/ 265 h 341"/>
                      <a:gd name="T18" fmla="*/ 59 w 293"/>
                      <a:gd name="T19" fmla="*/ 219 h 341"/>
                      <a:gd name="T20" fmla="*/ 35 w 293"/>
                      <a:gd name="T21" fmla="*/ 219 h 341"/>
                      <a:gd name="T22" fmla="*/ 0 w 293"/>
                      <a:gd name="T23" fmla="*/ 160 h 341"/>
                      <a:gd name="T24" fmla="*/ 11 w 293"/>
                      <a:gd name="T25" fmla="*/ 117 h 341"/>
                      <a:gd name="T26" fmla="*/ 6 w 293"/>
                      <a:gd name="T27" fmla="*/ 99 h 341"/>
                      <a:gd name="T28" fmla="*/ 49 w 293"/>
                      <a:gd name="T29" fmla="*/ 77 h 341"/>
                      <a:gd name="T30" fmla="*/ 55 w 293"/>
                      <a:gd name="T31" fmla="*/ 4 h 341"/>
                      <a:gd name="T32" fmla="*/ 141 w 293"/>
                      <a:gd name="T33" fmla="*/ 20 h 341"/>
                      <a:gd name="T34" fmla="*/ 149 w 293"/>
                      <a:gd name="T35" fmla="*/ 6 h 341"/>
                      <a:gd name="T36" fmla="*/ 206 w 293"/>
                      <a:gd name="T37" fmla="*/ 0 h 341"/>
                      <a:gd name="T38" fmla="*/ 285 w 293"/>
                      <a:gd name="T39" fmla="*/ 21 h 341"/>
                      <a:gd name="T40" fmla="*/ 253 w 293"/>
                      <a:gd name="T41" fmla="*/ 91 h 341"/>
                      <a:gd name="T42" fmla="*/ 261 w 293"/>
                      <a:gd name="T43" fmla="*/ 147 h 341"/>
                      <a:gd name="T44" fmla="*/ 293 w 293"/>
                      <a:gd name="T45" fmla="*/ 195 h 341"/>
                      <a:gd name="T46" fmla="*/ 281 w 293"/>
                      <a:gd name="T47" fmla="*/ 230 h 341"/>
                      <a:gd name="T48" fmla="*/ 278 w 293"/>
                      <a:gd name="T49" fmla="*/ 267 h 341"/>
                      <a:gd name="T50" fmla="*/ 260 w 293"/>
                      <a:gd name="T51" fmla="*/ 30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3" h="341">
                        <a:moveTo>
                          <a:pt x="260" y="301"/>
                        </a:moveTo>
                        <a:lnTo>
                          <a:pt x="219" y="285"/>
                        </a:lnTo>
                        <a:lnTo>
                          <a:pt x="185" y="292"/>
                        </a:lnTo>
                        <a:lnTo>
                          <a:pt x="155" y="285"/>
                        </a:lnTo>
                        <a:lnTo>
                          <a:pt x="149" y="308"/>
                        </a:lnTo>
                        <a:lnTo>
                          <a:pt x="162" y="325"/>
                        </a:lnTo>
                        <a:lnTo>
                          <a:pt x="157" y="341"/>
                        </a:lnTo>
                        <a:lnTo>
                          <a:pt x="116" y="335"/>
                        </a:lnTo>
                        <a:lnTo>
                          <a:pt x="70" y="265"/>
                        </a:lnTo>
                        <a:lnTo>
                          <a:pt x="59" y="219"/>
                        </a:lnTo>
                        <a:lnTo>
                          <a:pt x="35" y="219"/>
                        </a:lnTo>
                        <a:lnTo>
                          <a:pt x="0" y="160"/>
                        </a:lnTo>
                        <a:lnTo>
                          <a:pt x="11" y="117"/>
                        </a:lnTo>
                        <a:lnTo>
                          <a:pt x="6" y="99"/>
                        </a:lnTo>
                        <a:lnTo>
                          <a:pt x="49" y="77"/>
                        </a:lnTo>
                        <a:lnTo>
                          <a:pt x="55" y="4"/>
                        </a:lnTo>
                        <a:lnTo>
                          <a:pt x="141" y="20"/>
                        </a:lnTo>
                        <a:lnTo>
                          <a:pt x="149" y="6"/>
                        </a:lnTo>
                        <a:lnTo>
                          <a:pt x="206" y="0"/>
                        </a:lnTo>
                        <a:lnTo>
                          <a:pt x="285" y="21"/>
                        </a:lnTo>
                        <a:lnTo>
                          <a:pt x="253" y="91"/>
                        </a:lnTo>
                        <a:lnTo>
                          <a:pt x="261" y="147"/>
                        </a:lnTo>
                        <a:lnTo>
                          <a:pt x="293" y="195"/>
                        </a:lnTo>
                        <a:lnTo>
                          <a:pt x="281" y="230"/>
                        </a:lnTo>
                        <a:lnTo>
                          <a:pt x="278" y="267"/>
                        </a:lnTo>
                        <a:lnTo>
                          <a:pt x="260" y="30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19" name="Slovakia" descr="{&quot;Key&quot;:&quot;slovakia&quot;,&quot;Name&quot;:&quot;Slovakia&quot;,&quot;Value&quot;:1.0,&quot;Formula&quot;:&quot;&quot;,&quot;Text&quot;:&quot;&quot;,&quot;OfficeApplication&quot;:1,&quot;HasValue&quot;:true}">
                    <a:extLst>
                      <a:ext uri="{FF2B5EF4-FFF2-40B4-BE49-F238E27FC236}">
                        <a16:creationId xmlns:a16="http://schemas.microsoft.com/office/drawing/2014/main" id="{4B9890A4-0AFA-AC43-F09F-15E7F0FA8D9A}"/>
                      </a:ext>
                    </a:extLst>
                  </p:cNvPr>
                  <p:cNvSpPr>
                    <a:spLocks/>
                  </p:cNvSpPr>
                  <p:nvPr/>
                </p:nvSpPr>
                <p:spPr bwMode="auto">
                  <a:xfrm>
                    <a:off x="1477" y="1665"/>
                    <a:ext cx="112" cy="40"/>
                  </a:xfrm>
                  <a:custGeom>
                    <a:avLst/>
                    <a:gdLst>
                      <a:gd name="T0" fmla="*/ 404 w 404"/>
                      <a:gd name="T1" fmla="*/ 37 h 142"/>
                      <a:gd name="T2" fmla="*/ 371 w 404"/>
                      <a:gd name="T3" fmla="*/ 59 h 142"/>
                      <a:gd name="T4" fmla="*/ 337 w 404"/>
                      <a:gd name="T5" fmla="*/ 90 h 142"/>
                      <a:gd name="T6" fmla="*/ 319 w 404"/>
                      <a:gd name="T7" fmla="*/ 98 h 142"/>
                      <a:gd name="T8" fmla="*/ 267 w 404"/>
                      <a:gd name="T9" fmla="*/ 75 h 142"/>
                      <a:gd name="T10" fmla="*/ 244 w 404"/>
                      <a:gd name="T11" fmla="*/ 78 h 142"/>
                      <a:gd name="T12" fmla="*/ 216 w 404"/>
                      <a:gd name="T13" fmla="*/ 97 h 142"/>
                      <a:gd name="T14" fmla="*/ 180 w 404"/>
                      <a:gd name="T15" fmla="*/ 107 h 142"/>
                      <a:gd name="T16" fmla="*/ 177 w 404"/>
                      <a:gd name="T17" fmla="*/ 102 h 142"/>
                      <a:gd name="T18" fmla="*/ 137 w 404"/>
                      <a:gd name="T19" fmla="*/ 115 h 142"/>
                      <a:gd name="T20" fmla="*/ 111 w 404"/>
                      <a:gd name="T21" fmla="*/ 117 h 142"/>
                      <a:gd name="T22" fmla="*/ 95 w 404"/>
                      <a:gd name="T23" fmla="*/ 134 h 142"/>
                      <a:gd name="T24" fmla="*/ 36 w 404"/>
                      <a:gd name="T25" fmla="*/ 142 h 142"/>
                      <a:gd name="T26" fmla="*/ 19 w 404"/>
                      <a:gd name="T27" fmla="*/ 135 h 142"/>
                      <a:gd name="T28" fmla="*/ 0 w 404"/>
                      <a:gd name="T29" fmla="*/ 114 h 142"/>
                      <a:gd name="T30" fmla="*/ 12 w 404"/>
                      <a:gd name="T31" fmla="*/ 86 h 142"/>
                      <a:gd name="T32" fmla="*/ 25 w 404"/>
                      <a:gd name="T33" fmla="*/ 76 h 142"/>
                      <a:gd name="T34" fmla="*/ 46 w 404"/>
                      <a:gd name="T35" fmla="*/ 59 h 142"/>
                      <a:gd name="T36" fmla="*/ 72 w 404"/>
                      <a:gd name="T37" fmla="*/ 60 h 142"/>
                      <a:gd name="T38" fmla="*/ 100 w 404"/>
                      <a:gd name="T39" fmla="*/ 52 h 142"/>
                      <a:gd name="T40" fmla="*/ 107 w 404"/>
                      <a:gd name="T41" fmla="*/ 45 h 142"/>
                      <a:gd name="T42" fmla="*/ 121 w 404"/>
                      <a:gd name="T43" fmla="*/ 41 h 142"/>
                      <a:gd name="T44" fmla="*/ 139 w 404"/>
                      <a:gd name="T45" fmla="*/ 23 h 142"/>
                      <a:gd name="T46" fmla="*/ 155 w 404"/>
                      <a:gd name="T47" fmla="*/ 20 h 142"/>
                      <a:gd name="T48" fmla="*/ 175 w 404"/>
                      <a:gd name="T49" fmla="*/ 6 h 142"/>
                      <a:gd name="T50" fmla="*/ 194 w 404"/>
                      <a:gd name="T51" fmla="*/ 6 h 142"/>
                      <a:gd name="T52" fmla="*/ 194 w 404"/>
                      <a:gd name="T53" fmla="*/ 10 h 142"/>
                      <a:gd name="T54" fmla="*/ 227 w 404"/>
                      <a:gd name="T55" fmla="*/ 0 h 142"/>
                      <a:gd name="T56" fmla="*/ 239 w 404"/>
                      <a:gd name="T57" fmla="*/ 27 h 142"/>
                      <a:gd name="T58" fmla="*/ 287 w 404"/>
                      <a:gd name="T59" fmla="*/ 11 h 142"/>
                      <a:gd name="T60" fmla="*/ 311 w 404"/>
                      <a:gd name="T61" fmla="*/ 18 h 142"/>
                      <a:gd name="T62" fmla="*/ 365 w 404"/>
                      <a:gd name="T63" fmla="*/ 7 h 142"/>
                      <a:gd name="T64" fmla="*/ 404 w 404"/>
                      <a:gd name="T65"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4" h="142">
                        <a:moveTo>
                          <a:pt x="404" y="37"/>
                        </a:moveTo>
                        <a:lnTo>
                          <a:pt x="371" y="59"/>
                        </a:lnTo>
                        <a:lnTo>
                          <a:pt x="337" y="90"/>
                        </a:lnTo>
                        <a:lnTo>
                          <a:pt x="319" y="98"/>
                        </a:lnTo>
                        <a:lnTo>
                          <a:pt x="267" y="75"/>
                        </a:lnTo>
                        <a:lnTo>
                          <a:pt x="244" y="78"/>
                        </a:lnTo>
                        <a:lnTo>
                          <a:pt x="216" y="97"/>
                        </a:lnTo>
                        <a:lnTo>
                          <a:pt x="180" y="107"/>
                        </a:lnTo>
                        <a:lnTo>
                          <a:pt x="177" y="102"/>
                        </a:lnTo>
                        <a:lnTo>
                          <a:pt x="137" y="115"/>
                        </a:lnTo>
                        <a:lnTo>
                          <a:pt x="111" y="117"/>
                        </a:lnTo>
                        <a:lnTo>
                          <a:pt x="95" y="134"/>
                        </a:lnTo>
                        <a:lnTo>
                          <a:pt x="36" y="142"/>
                        </a:lnTo>
                        <a:lnTo>
                          <a:pt x="19" y="135"/>
                        </a:lnTo>
                        <a:lnTo>
                          <a:pt x="0" y="114"/>
                        </a:lnTo>
                        <a:lnTo>
                          <a:pt x="12" y="86"/>
                        </a:lnTo>
                        <a:lnTo>
                          <a:pt x="25" y="76"/>
                        </a:lnTo>
                        <a:lnTo>
                          <a:pt x="46" y="59"/>
                        </a:lnTo>
                        <a:lnTo>
                          <a:pt x="72" y="60"/>
                        </a:lnTo>
                        <a:lnTo>
                          <a:pt x="100" y="52"/>
                        </a:lnTo>
                        <a:lnTo>
                          <a:pt x="107" y="45"/>
                        </a:lnTo>
                        <a:lnTo>
                          <a:pt x="121" y="41"/>
                        </a:lnTo>
                        <a:lnTo>
                          <a:pt x="139" y="23"/>
                        </a:lnTo>
                        <a:lnTo>
                          <a:pt x="155" y="20"/>
                        </a:lnTo>
                        <a:lnTo>
                          <a:pt x="175" y="6"/>
                        </a:lnTo>
                        <a:lnTo>
                          <a:pt x="194" y="6"/>
                        </a:lnTo>
                        <a:lnTo>
                          <a:pt x="194" y="10"/>
                        </a:lnTo>
                        <a:lnTo>
                          <a:pt x="227" y="0"/>
                        </a:lnTo>
                        <a:lnTo>
                          <a:pt x="239" y="27"/>
                        </a:lnTo>
                        <a:lnTo>
                          <a:pt x="287" y="11"/>
                        </a:lnTo>
                        <a:lnTo>
                          <a:pt x="311" y="18"/>
                        </a:lnTo>
                        <a:lnTo>
                          <a:pt x="365" y="7"/>
                        </a:lnTo>
                        <a:lnTo>
                          <a:pt x="404" y="3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0" name="Slovenia" descr="{&quot;Key&quot;:&quot;slovenia&quot;,&quot;Name&quot;:&quot;Slovenia&quot;,&quot;Value&quot;:1.0,&quot;Formula&quot;:&quot;&quot;,&quot;Text&quot;:&quot;&quot;,&quot;OfficeApplication&quot;:1,&quot;HasValue&quot;:true}">
                    <a:extLst>
                      <a:ext uri="{FF2B5EF4-FFF2-40B4-BE49-F238E27FC236}">
                        <a16:creationId xmlns:a16="http://schemas.microsoft.com/office/drawing/2014/main" id="{6C09AE2F-C958-08D3-2DF7-BB2134F7F7B1}"/>
                      </a:ext>
                    </a:extLst>
                  </p:cNvPr>
                  <p:cNvSpPr>
                    <a:spLocks/>
                  </p:cNvSpPr>
                  <p:nvPr/>
                </p:nvSpPr>
                <p:spPr bwMode="auto">
                  <a:xfrm>
                    <a:off x="1379" y="1725"/>
                    <a:ext cx="68" cy="31"/>
                  </a:xfrm>
                  <a:custGeom>
                    <a:avLst/>
                    <a:gdLst>
                      <a:gd name="T0" fmla="*/ 236 w 241"/>
                      <a:gd name="T1" fmla="*/ 27 h 111"/>
                      <a:gd name="T2" fmla="*/ 171 w 241"/>
                      <a:gd name="T3" fmla="*/ 49 h 111"/>
                      <a:gd name="T4" fmla="*/ 144 w 241"/>
                      <a:gd name="T5" fmla="*/ 81 h 111"/>
                      <a:gd name="T6" fmla="*/ 116 w 241"/>
                      <a:gd name="T7" fmla="*/ 88 h 111"/>
                      <a:gd name="T8" fmla="*/ 101 w 241"/>
                      <a:gd name="T9" fmla="*/ 111 h 111"/>
                      <a:gd name="T10" fmla="*/ 78 w 241"/>
                      <a:gd name="T11" fmla="*/ 110 h 111"/>
                      <a:gd name="T12" fmla="*/ 64 w 241"/>
                      <a:gd name="T13" fmla="*/ 97 h 111"/>
                      <a:gd name="T14" fmla="*/ 44 w 241"/>
                      <a:gd name="T15" fmla="*/ 110 h 111"/>
                      <a:gd name="T16" fmla="*/ 0 w 241"/>
                      <a:gd name="T17" fmla="*/ 107 h 111"/>
                      <a:gd name="T18" fmla="*/ 20 w 241"/>
                      <a:gd name="T19" fmla="*/ 100 h 111"/>
                      <a:gd name="T20" fmla="*/ 26 w 241"/>
                      <a:gd name="T21" fmla="*/ 66 h 111"/>
                      <a:gd name="T22" fmla="*/ 60 w 241"/>
                      <a:gd name="T23" fmla="*/ 27 h 111"/>
                      <a:gd name="T24" fmla="*/ 109 w 241"/>
                      <a:gd name="T25" fmla="*/ 34 h 111"/>
                      <a:gd name="T26" fmla="*/ 153 w 241"/>
                      <a:gd name="T27" fmla="*/ 15 h 111"/>
                      <a:gd name="T28" fmla="*/ 210 w 241"/>
                      <a:gd name="T29" fmla="*/ 14 h 111"/>
                      <a:gd name="T30" fmla="*/ 231 w 241"/>
                      <a:gd name="T31" fmla="*/ 0 h 111"/>
                      <a:gd name="T32" fmla="*/ 241 w 241"/>
                      <a:gd name="T33" fmla="*/ 1 h 111"/>
                      <a:gd name="T34" fmla="*/ 236 w 241"/>
                      <a:gd name="T35" fmla="*/ 2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111">
                        <a:moveTo>
                          <a:pt x="236" y="27"/>
                        </a:moveTo>
                        <a:lnTo>
                          <a:pt x="171" y="49"/>
                        </a:lnTo>
                        <a:lnTo>
                          <a:pt x="144" y="81"/>
                        </a:lnTo>
                        <a:lnTo>
                          <a:pt x="116" y="88"/>
                        </a:lnTo>
                        <a:lnTo>
                          <a:pt x="101" y="111"/>
                        </a:lnTo>
                        <a:lnTo>
                          <a:pt x="78" y="110"/>
                        </a:lnTo>
                        <a:lnTo>
                          <a:pt x="64" y="97"/>
                        </a:lnTo>
                        <a:lnTo>
                          <a:pt x="44" y="110"/>
                        </a:lnTo>
                        <a:lnTo>
                          <a:pt x="0" y="107"/>
                        </a:lnTo>
                        <a:lnTo>
                          <a:pt x="20" y="100"/>
                        </a:lnTo>
                        <a:lnTo>
                          <a:pt x="26" y="66"/>
                        </a:lnTo>
                        <a:lnTo>
                          <a:pt x="60" y="27"/>
                        </a:lnTo>
                        <a:lnTo>
                          <a:pt x="109" y="34"/>
                        </a:lnTo>
                        <a:lnTo>
                          <a:pt x="153" y="15"/>
                        </a:lnTo>
                        <a:lnTo>
                          <a:pt x="210" y="14"/>
                        </a:lnTo>
                        <a:lnTo>
                          <a:pt x="231" y="0"/>
                        </a:lnTo>
                        <a:lnTo>
                          <a:pt x="241" y="1"/>
                        </a:lnTo>
                        <a:lnTo>
                          <a:pt x="236" y="2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1" name="Sweden" descr="{&quot;Key&quot;:&quot;sweden&quot;,&quot;Name&quot;:&quot;Sweden&quot;,&quot;Value&quot;:1.0,&quot;Formula&quot;:&quot;&quot;,&quot;Text&quot;:&quot;&quot;,&quot;OfficeApplication&quot;:1,&quot;HasValue&quot;:true}">
                    <a:extLst>
                      <a:ext uri="{FF2B5EF4-FFF2-40B4-BE49-F238E27FC236}">
                        <a16:creationId xmlns:a16="http://schemas.microsoft.com/office/drawing/2014/main" id="{C882E1F5-CE62-2E08-C06A-20B2C1D0B7A4}"/>
                      </a:ext>
                    </a:extLst>
                  </p:cNvPr>
                  <p:cNvSpPr>
                    <a:spLocks/>
                  </p:cNvSpPr>
                  <p:nvPr/>
                </p:nvSpPr>
                <p:spPr bwMode="auto">
                  <a:xfrm>
                    <a:off x="1533" y="1260"/>
                    <a:ext cx="421" cy="280"/>
                  </a:xfrm>
                  <a:custGeom>
                    <a:avLst/>
                    <a:gdLst>
                      <a:gd name="T0" fmla="*/ 1388 w 1510"/>
                      <a:gd name="T1" fmla="*/ 216 h 1004"/>
                      <a:gd name="T2" fmla="*/ 1274 w 1510"/>
                      <a:gd name="T3" fmla="*/ 236 h 1004"/>
                      <a:gd name="T4" fmla="*/ 1170 w 1510"/>
                      <a:gd name="T5" fmla="*/ 286 h 1004"/>
                      <a:gd name="T6" fmla="*/ 1133 w 1510"/>
                      <a:gd name="T7" fmla="*/ 330 h 1004"/>
                      <a:gd name="T8" fmla="*/ 987 w 1510"/>
                      <a:gd name="T9" fmla="*/ 387 h 1004"/>
                      <a:gd name="T10" fmla="*/ 815 w 1510"/>
                      <a:gd name="T11" fmla="*/ 450 h 1004"/>
                      <a:gd name="T12" fmla="*/ 670 w 1510"/>
                      <a:gd name="T13" fmla="*/ 554 h 1004"/>
                      <a:gd name="T14" fmla="*/ 660 w 1510"/>
                      <a:gd name="T15" fmla="*/ 605 h 1004"/>
                      <a:gd name="T16" fmla="*/ 675 w 1510"/>
                      <a:gd name="T17" fmla="*/ 646 h 1004"/>
                      <a:gd name="T18" fmla="*/ 541 w 1510"/>
                      <a:gd name="T19" fmla="*/ 731 h 1004"/>
                      <a:gd name="T20" fmla="*/ 465 w 1510"/>
                      <a:gd name="T21" fmla="*/ 749 h 1004"/>
                      <a:gd name="T22" fmla="*/ 325 w 1510"/>
                      <a:gd name="T23" fmla="*/ 875 h 1004"/>
                      <a:gd name="T24" fmla="*/ 226 w 1510"/>
                      <a:gd name="T25" fmla="*/ 946 h 1004"/>
                      <a:gd name="T26" fmla="*/ 162 w 1510"/>
                      <a:gd name="T27" fmla="*/ 939 h 1004"/>
                      <a:gd name="T28" fmla="*/ 73 w 1510"/>
                      <a:gd name="T29" fmla="*/ 1000 h 1004"/>
                      <a:gd name="T30" fmla="*/ 0 w 1510"/>
                      <a:gd name="T31" fmla="*/ 1004 h 1004"/>
                      <a:gd name="T32" fmla="*/ 48 w 1510"/>
                      <a:gd name="T33" fmla="*/ 931 h 1004"/>
                      <a:gd name="T34" fmla="*/ 79 w 1510"/>
                      <a:gd name="T35" fmla="*/ 845 h 1004"/>
                      <a:gd name="T36" fmla="*/ 139 w 1510"/>
                      <a:gd name="T37" fmla="*/ 739 h 1004"/>
                      <a:gd name="T38" fmla="*/ 206 w 1510"/>
                      <a:gd name="T39" fmla="*/ 695 h 1004"/>
                      <a:gd name="T40" fmla="*/ 305 w 1510"/>
                      <a:gd name="T41" fmla="*/ 644 h 1004"/>
                      <a:gd name="T42" fmla="*/ 413 w 1510"/>
                      <a:gd name="T43" fmla="*/ 557 h 1004"/>
                      <a:gd name="T44" fmla="*/ 415 w 1510"/>
                      <a:gd name="T45" fmla="*/ 520 h 1004"/>
                      <a:gd name="T46" fmla="*/ 514 w 1510"/>
                      <a:gd name="T47" fmla="*/ 422 h 1004"/>
                      <a:gd name="T48" fmla="*/ 624 w 1510"/>
                      <a:gd name="T49" fmla="*/ 355 h 1004"/>
                      <a:gd name="T50" fmla="*/ 676 w 1510"/>
                      <a:gd name="T51" fmla="*/ 356 h 1004"/>
                      <a:gd name="T52" fmla="*/ 726 w 1510"/>
                      <a:gd name="T53" fmla="*/ 327 h 1004"/>
                      <a:gd name="T54" fmla="*/ 734 w 1510"/>
                      <a:gd name="T55" fmla="*/ 302 h 1004"/>
                      <a:gd name="T56" fmla="*/ 928 w 1510"/>
                      <a:gd name="T57" fmla="*/ 202 h 1004"/>
                      <a:gd name="T58" fmla="*/ 1068 w 1510"/>
                      <a:gd name="T59" fmla="*/ 125 h 1004"/>
                      <a:gd name="T60" fmla="*/ 1159 w 1510"/>
                      <a:gd name="T61" fmla="*/ 75 h 1004"/>
                      <a:gd name="T62" fmla="*/ 1209 w 1510"/>
                      <a:gd name="T63" fmla="*/ 75 h 1004"/>
                      <a:gd name="T64" fmla="*/ 1268 w 1510"/>
                      <a:gd name="T65" fmla="*/ 37 h 1004"/>
                      <a:gd name="T66" fmla="*/ 1354 w 1510"/>
                      <a:gd name="T67" fmla="*/ 47 h 1004"/>
                      <a:gd name="T68" fmla="*/ 1413 w 1510"/>
                      <a:gd name="T69" fmla="*/ 2 h 1004"/>
                      <a:gd name="T70" fmla="*/ 1448 w 1510"/>
                      <a:gd name="T71" fmla="*/ 0 h 1004"/>
                      <a:gd name="T72" fmla="*/ 1480 w 1510"/>
                      <a:gd name="T73" fmla="*/ 34 h 1004"/>
                      <a:gd name="T74" fmla="*/ 1510 w 1510"/>
                      <a:gd name="T75" fmla="*/ 81 h 1004"/>
                      <a:gd name="T76" fmla="*/ 1398 w 1510"/>
                      <a:gd name="T77" fmla="*/ 189 h 1004"/>
                      <a:gd name="T78" fmla="*/ 1388 w 1510"/>
                      <a:gd name="T79" fmla="*/ 216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0" h="1004">
                        <a:moveTo>
                          <a:pt x="1388" y="216"/>
                        </a:moveTo>
                        <a:lnTo>
                          <a:pt x="1274" y="236"/>
                        </a:lnTo>
                        <a:lnTo>
                          <a:pt x="1170" y="286"/>
                        </a:lnTo>
                        <a:lnTo>
                          <a:pt x="1133" y="330"/>
                        </a:lnTo>
                        <a:lnTo>
                          <a:pt x="987" y="387"/>
                        </a:lnTo>
                        <a:lnTo>
                          <a:pt x="815" y="450"/>
                        </a:lnTo>
                        <a:lnTo>
                          <a:pt x="670" y="554"/>
                        </a:lnTo>
                        <a:lnTo>
                          <a:pt x="660" y="605"/>
                        </a:lnTo>
                        <a:lnTo>
                          <a:pt x="675" y="646"/>
                        </a:lnTo>
                        <a:lnTo>
                          <a:pt x="541" y="731"/>
                        </a:lnTo>
                        <a:lnTo>
                          <a:pt x="465" y="749"/>
                        </a:lnTo>
                        <a:lnTo>
                          <a:pt x="325" y="875"/>
                        </a:lnTo>
                        <a:lnTo>
                          <a:pt x="226" y="946"/>
                        </a:lnTo>
                        <a:lnTo>
                          <a:pt x="162" y="939"/>
                        </a:lnTo>
                        <a:lnTo>
                          <a:pt x="73" y="1000"/>
                        </a:lnTo>
                        <a:lnTo>
                          <a:pt x="0" y="1004"/>
                        </a:lnTo>
                        <a:lnTo>
                          <a:pt x="48" y="931"/>
                        </a:lnTo>
                        <a:lnTo>
                          <a:pt x="79" y="845"/>
                        </a:lnTo>
                        <a:lnTo>
                          <a:pt x="139" y="739"/>
                        </a:lnTo>
                        <a:lnTo>
                          <a:pt x="206" y="695"/>
                        </a:lnTo>
                        <a:lnTo>
                          <a:pt x="305" y="644"/>
                        </a:lnTo>
                        <a:lnTo>
                          <a:pt x="413" y="557"/>
                        </a:lnTo>
                        <a:lnTo>
                          <a:pt x="415" y="520"/>
                        </a:lnTo>
                        <a:lnTo>
                          <a:pt x="514" y="422"/>
                        </a:lnTo>
                        <a:lnTo>
                          <a:pt x="624" y="355"/>
                        </a:lnTo>
                        <a:lnTo>
                          <a:pt x="676" y="356"/>
                        </a:lnTo>
                        <a:lnTo>
                          <a:pt x="726" y="327"/>
                        </a:lnTo>
                        <a:lnTo>
                          <a:pt x="734" y="302"/>
                        </a:lnTo>
                        <a:lnTo>
                          <a:pt x="928" y="202"/>
                        </a:lnTo>
                        <a:lnTo>
                          <a:pt x="1068" y="125"/>
                        </a:lnTo>
                        <a:lnTo>
                          <a:pt x="1159" y="75"/>
                        </a:lnTo>
                        <a:lnTo>
                          <a:pt x="1209" y="75"/>
                        </a:lnTo>
                        <a:lnTo>
                          <a:pt x="1268" y="37"/>
                        </a:lnTo>
                        <a:lnTo>
                          <a:pt x="1354" y="47"/>
                        </a:lnTo>
                        <a:lnTo>
                          <a:pt x="1413" y="2"/>
                        </a:lnTo>
                        <a:lnTo>
                          <a:pt x="1448" y="0"/>
                        </a:lnTo>
                        <a:lnTo>
                          <a:pt x="1480" y="34"/>
                        </a:lnTo>
                        <a:lnTo>
                          <a:pt x="1510" y="81"/>
                        </a:lnTo>
                        <a:lnTo>
                          <a:pt x="1398" y="189"/>
                        </a:lnTo>
                        <a:lnTo>
                          <a:pt x="1388" y="21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2" name="Swaziland" descr="{&quot;Key&quot;:&quot;swaziland&quot;,&quot;Name&quot;:&quot;Swaziland&quot;,&quot;Value&quot;:1.0,&quot;Formula&quot;:&quot;&quot;,&quot;Text&quot;:&quot;&quot;,&quot;OfficeApplication&quot;:1,&quot;HasValue&quot;:true}">
                    <a:extLst>
                      <a:ext uri="{FF2B5EF4-FFF2-40B4-BE49-F238E27FC236}">
                        <a16:creationId xmlns:a16="http://schemas.microsoft.com/office/drawing/2014/main" id="{340184C4-6A94-0039-C3C6-6DA70DA8DA2C}"/>
                      </a:ext>
                    </a:extLst>
                  </p:cNvPr>
                  <p:cNvSpPr>
                    <a:spLocks/>
                  </p:cNvSpPr>
                  <p:nvPr/>
                </p:nvSpPr>
                <p:spPr bwMode="auto">
                  <a:xfrm>
                    <a:off x="1501" y="3366"/>
                    <a:ext cx="29" cy="37"/>
                  </a:xfrm>
                  <a:custGeom>
                    <a:avLst/>
                    <a:gdLst>
                      <a:gd name="T0" fmla="*/ 70 w 104"/>
                      <a:gd name="T1" fmla="*/ 15 h 132"/>
                      <a:gd name="T2" fmla="*/ 89 w 104"/>
                      <a:gd name="T3" fmla="*/ 51 h 132"/>
                      <a:gd name="T4" fmla="*/ 104 w 104"/>
                      <a:gd name="T5" fmla="*/ 87 h 132"/>
                      <a:gd name="T6" fmla="*/ 99 w 104"/>
                      <a:gd name="T7" fmla="*/ 123 h 132"/>
                      <a:gd name="T8" fmla="*/ 61 w 104"/>
                      <a:gd name="T9" fmla="*/ 132 h 132"/>
                      <a:gd name="T10" fmla="*/ 8 w 104"/>
                      <a:gd name="T11" fmla="*/ 89 h 132"/>
                      <a:gd name="T12" fmla="*/ 0 w 104"/>
                      <a:gd name="T13" fmla="*/ 60 h 132"/>
                      <a:gd name="T14" fmla="*/ 11 w 104"/>
                      <a:gd name="T15" fmla="*/ 30 h 132"/>
                      <a:gd name="T16" fmla="*/ 13 w 104"/>
                      <a:gd name="T17" fmla="*/ 6 h 132"/>
                      <a:gd name="T18" fmla="*/ 31 w 104"/>
                      <a:gd name="T19" fmla="*/ 0 h 132"/>
                      <a:gd name="T20" fmla="*/ 70 w 104"/>
                      <a:gd name="T21" fmla="*/ 1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32">
                        <a:moveTo>
                          <a:pt x="70" y="15"/>
                        </a:moveTo>
                        <a:lnTo>
                          <a:pt x="89" y="51"/>
                        </a:lnTo>
                        <a:lnTo>
                          <a:pt x="104" y="87"/>
                        </a:lnTo>
                        <a:lnTo>
                          <a:pt x="99" y="123"/>
                        </a:lnTo>
                        <a:lnTo>
                          <a:pt x="61" y="132"/>
                        </a:lnTo>
                        <a:lnTo>
                          <a:pt x="8" y="89"/>
                        </a:lnTo>
                        <a:lnTo>
                          <a:pt x="0" y="60"/>
                        </a:lnTo>
                        <a:lnTo>
                          <a:pt x="11" y="30"/>
                        </a:lnTo>
                        <a:lnTo>
                          <a:pt x="13" y="6"/>
                        </a:lnTo>
                        <a:lnTo>
                          <a:pt x="31" y="0"/>
                        </a:lnTo>
                        <a:lnTo>
                          <a:pt x="70" y="1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3" name="Syria" descr="{&quot;Key&quot;:&quot;syria&quot;,&quot;Name&quot;:&quot;Syria&quot;,&quot;Value&quot;:1.0,&quot;Formula&quot;:&quot;&quot;,&quot;Text&quot;:&quot;&quot;,&quot;OfficeApplication&quot;:1,&quot;HasValue&quot;:true}">
                    <a:extLst>
                      <a:ext uri="{FF2B5EF4-FFF2-40B4-BE49-F238E27FC236}">
                        <a16:creationId xmlns:a16="http://schemas.microsoft.com/office/drawing/2014/main" id="{D325A860-041C-FC78-3289-B1C01E65BBE3}"/>
                      </a:ext>
                    </a:extLst>
                  </p:cNvPr>
                  <p:cNvSpPr>
                    <a:spLocks/>
                  </p:cNvSpPr>
                  <p:nvPr/>
                </p:nvSpPr>
                <p:spPr bwMode="auto">
                  <a:xfrm>
                    <a:off x="1641" y="1941"/>
                    <a:ext cx="164" cy="111"/>
                  </a:xfrm>
                  <a:custGeom>
                    <a:avLst/>
                    <a:gdLst>
                      <a:gd name="T0" fmla="*/ 230 w 587"/>
                      <a:gd name="T1" fmla="*/ 313 h 399"/>
                      <a:gd name="T2" fmla="*/ 66 w 587"/>
                      <a:gd name="T3" fmla="*/ 399 h 399"/>
                      <a:gd name="T4" fmla="*/ 1 w 587"/>
                      <a:gd name="T5" fmla="*/ 368 h 399"/>
                      <a:gd name="T6" fmla="*/ 0 w 587"/>
                      <a:gd name="T7" fmla="*/ 367 h 399"/>
                      <a:gd name="T8" fmla="*/ 14 w 587"/>
                      <a:gd name="T9" fmla="*/ 354 h 399"/>
                      <a:gd name="T10" fmla="*/ 24 w 587"/>
                      <a:gd name="T11" fmla="*/ 322 h 399"/>
                      <a:gd name="T12" fmla="*/ 57 w 587"/>
                      <a:gd name="T13" fmla="*/ 277 h 399"/>
                      <a:gd name="T14" fmla="*/ 105 w 587"/>
                      <a:gd name="T15" fmla="*/ 247 h 399"/>
                      <a:gd name="T16" fmla="*/ 106 w 587"/>
                      <a:gd name="T17" fmla="*/ 214 h 399"/>
                      <a:gd name="T18" fmla="*/ 77 w 587"/>
                      <a:gd name="T19" fmla="*/ 210 h 399"/>
                      <a:gd name="T20" fmla="*/ 95 w 587"/>
                      <a:gd name="T21" fmla="*/ 148 h 399"/>
                      <a:gd name="T22" fmla="*/ 125 w 587"/>
                      <a:gd name="T23" fmla="*/ 114 h 399"/>
                      <a:gd name="T24" fmla="*/ 150 w 587"/>
                      <a:gd name="T25" fmla="*/ 97 h 399"/>
                      <a:gd name="T26" fmla="*/ 175 w 587"/>
                      <a:gd name="T27" fmla="*/ 79 h 399"/>
                      <a:gd name="T28" fmla="*/ 197 w 587"/>
                      <a:gd name="T29" fmla="*/ 34 h 399"/>
                      <a:gd name="T30" fmla="*/ 212 w 587"/>
                      <a:gd name="T31" fmla="*/ 49 h 399"/>
                      <a:gd name="T32" fmla="*/ 296 w 587"/>
                      <a:gd name="T33" fmla="*/ 27 h 399"/>
                      <a:gd name="T34" fmla="*/ 325 w 587"/>
                      <a:gd name="T35" fmla="*/ 42 h 399"/>
                      <a:gd name="T36" fmla="*/ 381 w 587"/>
                      <a:gd name="T37" fmla="*/ 42 h 399"/>
                      <a:gd name="T38" fmla="*/ 470 w 587"/>
                      <a:gd name="T39" fmla="*/ 12 h 399"/>
                      <a:gd name="T40" fmla="*/ 506 w 587"/>
                      <a:gd name="T41" fmla="*/ 13 h 399"/>
                      <a:gd name="T42" fmla="*/ 587 w 587"/>
                      <a:gd name="T43" fmla="*/ 0 h 399"/>
                      <a:gd name="T44" fmla="*/ 532 w 587"/>
                      <a:gd name="T45" fmla="*/ 50 h 399"/>
                      <a:gd name="T46" fmla="*/ 489 w 587"/>
                      <a:gd name="T47" fmla="*/ 70 h 399"/>
                      <a:gd name="T48" fmla="*/ 472 w 587"/>
                      <a:gd name="T49" fmla="*/ 130 h 399"/>
                      <a:gd name="T50" fmla="*/ 410 w 587"/>
                      <a:gd name="T51" fmla="*/ 228 h 399"/>
                      <a:gd name="T52" fmla="*/ 230 w 587"/>
                      <a:gd name="T53" fmla="*/ 31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7" h="399">
                        <a:moveTo>
                          <a:pt x="230" y="313"/>
                        </a:moveTo>
                        <a:lnTo>
                          <a:pt x="66" y="399"/>
                        </a:lnTo>
                        <a:lnTo>
                          <a:pt x="1" y="368"/>
                        </a:lnTo>
                        <a:lnTo>
                          <a:pt x="0" y="367"/>
                        </a:lnTo>
                        <a:lnTo>
                          <a:pt x="14" y="354"/>
                        </a:lnTo>
                        <a:lnTo>
                          <a:pt x="24" y="322"/>
                        </a:lnTo>
                        <a:lnTo>
                          <a:pt x="57" y="277"/>
                        </a:lnTo>
                        <a:lnTo>
                          <a:pt x="105" y="247"/>
                        </a:lnTo>
                        <a:lnTo>
                          <a:pt x="106" y="214"/>
                        </a:lnTo>
                        <a:lnTo>
                          <a:pt x="77" y="210"/>
                        </a:lnTo>
                        <a:lnTo>
                          <a:pt x="95" y="148"/>
                        </a:lnTo>
                        <a:lnTo>
                          <a:pt x="125" y="114"/>
                        </a:lnTo>
                        <a:lnTo>
                          <a:pt x="150" y="97"/>
                        </a:lnTo>
                        <a:lnTo>
                          <a:pt x="175" y="79"/>
                        </a:lnTo>
                        <a:lnTo>
                          <a:pt x="197" y="34"/>
                        </a:lnTo>
                        <a:lnTo>
                          <a:pt x="212" y="49"/>
                        </a:lnTo>
                        <a:lnTo>
                          <a:pt x="296" y="27"/>
                        </a:lnTo>
                        <a:lnTo>
                          <a:pt x="325" y="42"/>
                        </a:lnTo>
                        <a:lnTo>
                          <a:pt x="381" y="42"/>
                        </a:lnTo>
                        <a:lnTo>
                          <a:pt x="470" y="12"/>
                        </a:lnTo>
                        <a:lnTo>
                          <a:pt x="506" y="13"/>
                        </a:lnTo>
                        <a:lnTo>
                          <a:pt x="587" y="0"/>
                        </a:lnTo>
                        <a:lnTo>
                          <a:pt x="532" y="50"/>
                        </a:lnTo>
                        <a:lnTo>
                          <a:pt x="489" y="70"/>
                        </a:lnTo>
                        <a:lnTo>
                          <a:pt x="472" y="130"/>
                        </a:lnTo>
                        <a:lnTo>
                          <a:pt x="410" y="228"/>
                        </a:lnTo>
                        <a:lnTo>
                          <a:pt x="230" y="31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4" name="Chad" descr="{&quot;Key&quot;:&quot;chad&quot;,&quot;Name&quot;:&quot;Chad&quot;,&quot;Value&quot;:1.0,&quot;Formula&quot;:&quot;&quot;,&quot;Text&quot;:&quot;&quot;,&quot;OfficeApplication&quot;:1,&quot;HasValue&quot;:true}">
                    <a:extLst>
                      <a:ext uri="{FF2B5EF4-FFF2-40B4-BE49-F238E27FC236}">
                        <a16:creationId xmlns:a16="http://schemas.microsoft.com/office/drawing/2014/main" id="{D3786B9D-60C5-DC1E-38DD-7593D5FFFC55}"/>
                      </a:ext>
                    </a:extLst>
                  </p:cNvPr>
                  <p:cNvSpPr>
                    <a:spLocks/>
                  </p:cNvSpPr>
                  <p:nvPr/>
                </p:nvSpPr>
                <p:spPr bwMode="auto">
                  <a:xfrm>
                    <a:off x="1105" y="2254"/>
                    <a:ext cx="230" cy="362"/>
                  </a:xfrm>
                  <a:custGeom>
                    <a:avLst/>
                    <a:gdLst>
                      <a:gd name="T0" fmla="*/ 822 w 822"/>
                      <a:gd name="T1" fmla="*/ 311 h 1300"/>
                      <a:gd name="T2" fmla="*/ 770 w 822"/>
                      <a:gd name="T3" fmla="*/ 635 h 1300"/>
                      <a:gd name="T4" fmla="*/ 708 w 822"/>
                      <a:gd name="T5" fmla="*/ 629 h 1300"/>
                      <a:gd name="T6" fmla="*/ 667 w 822"/>
                      <a:gd name="T7" fmla="*/ 689 h 1300"/>
                      <a:gd name="T8" fmla="*/ 641 w 822"/>
                      <a:gd name="T9" fmla="*/ 739 h 1300"/>
                      <a:gd name="T10" fmla="*/ 653 w 822"/>
                      <a:gd name="T11" fmla="*/ 758 h 1300"/>
                      <a:gd name="T12" fmla="*/ 626 w 822"/>
                      <a:gd name="T13" fmla="*/ 783 h 1300"/>
                      <a:gd name="T14" fmla="*/ 630 w 822"/>
                      <a:gd name="T15" fmla="*/ 816 h 1300"/>
                      <a:gd name="T16" fmla="*/ 607 w 822"/>
                      <a:gd name="T17" fmla="*/ 850 h 1300"/>
                      <a:gd name="T18" fmla="*/ 596 w 822"/>
                      <a:gd name="T19" fmla="*/ 880 h 1300"/>
                      <a:gd name="T20" fmla="*/ 622 w 822"/>
                      <a:gd name="T21" fmla="*/ 875 h 1300"/>
                      <a:gd name="T22" fmla="*/ 632 w 822"/>
                      <a:gd name="T23" fmla="*/ 906 h 1300"/>
                      <a:gd name="T24" fmla="*/ 628 w 822"/>
                      <a:gd name="T25" fmla="*/ 954 h 1300"/>
                      <a:gd name="T26" fmla="*/ 652 w 822"/>
                      <a:gd name="T27" fmla="*/ 977 h 1300"/>
                      <a:gd name="T28" fmla="*/ 648 w 822"/>
                      <a:gd name="T29" fmla="*/ 997 h 1300"/>
                      <a:gd name="T30" fmla="*/ 602 w 822"/>
                      <a:gd name="T31" fmla="*/ 1011 h 1300"/>
                      <a:gd name="T32" fmla="*/ 562 w 822"/>
                      <a:gd name="T33" fmla="*/ 1045 h 1300"/>
                      <a:gd name="T34" fmla="*/ 502 w 822"/>
                      <a:gd name="T35" fmla="*/ 1133 h 1300"/>
                      <a:gd name="T36" fmla="*/ 432 w 822"/>
                      <a:gd name="T37" fmla="*/ 1171 h 1300"/>
                      <a:gd name="T38" fmla="*/ 363 w 822"/>
                      <a:gd name="T39" fmla="*/ 1166 h 1300"/>
                      <a:gd name="T40" fmla="*/ 342 w 822"/>
                      <a:gd name="T41" fmla="*/ 1174 h 1300"/>
                      <a:gd name="T42" fmla="*/ 347 w 822"/>
                      <a:gd name="T43" fmla="*/ 1201 h 1300"/>
                      <a:gd name="T44" fmla="*/ 307 w 822"/>
                      <a:gd name="T45" fmla="*/ 1230 h 1300"/>
                      <a:gd name="T46" fmla="*/ 275 w 822"/>
                      <a:gd name="T47" fmla="*/ 1263 h 1300"/>
                      <a:gd name="T48" fmla="*/ 182 w 822"/>
                      <a:gd name="T49" fmla="*/ 1293 h 1300"/>
                      <a:gd name="T50" fmla="*/ 166 w 822"/>
                      <a:gd name="T51" fmla="*/ 1275 h 1300"/>
                      <a:gd name="T52" fmla="*/ 153 w 822"/>
                      <a:gd name="T53" fmla="*/ 1273 h 1300"/>
                      <a:gd name="T54" fmla="*/ 140 w 822"/>
                      <a:gd name="T55" fmla="*/ 1294 h 1300"/>
                      <a:gd name="T56" fmla="*/ 80 w 822"/>
                      <a:gd name="T57" fmla="*/ 1300 h 1300"/>
                      <a:gd name="T58" fmla="*/ 92 w 822"/>
                      <a:gd name="T59" fmla="*/ 1278 h 1300"/>
                      <a:gd name="T60" fmla="*/ 75 w 822"/>
                      <a:gd name="T61" fmla="*/ 1223 h 1300"/>
                      <a:gd name="T62" fmla="*/ 67 w 822"/>
                      <a:gd name="T63" fmla="*/ 1189 h 1300"/>
                      <a:gd name="T64" fmla="*/ 37 w 822"/>
                      <a:gd name="T65" fmla="*/ 1175 h 1300"/>
                      <a:gd name="T66" fmla="*/ 0 w 822"/>
                      <a:gd name="T67" fmla="*/ 1128 h 1300"/>
                      <a:gd name="T68" fmla="*/ 18 w 822"/>
                      <a:gd name="T69" fmla="*/ 1089 h 1300"/>
                      <a:gd name="T70" fmla="*/ 50 w 822"/>
                      <a:gd name="T71" fmla="*/ 1098 h 1300"/>
                      <a:gd name="T72" fmla="*/ 71 w 822"/>
                      <a:gd name="T73" fmla="*/ 1091 h 1300"/>
                      <a:gd name="T74" fmla="*/ 111 w 822"/>
                      <a:gd name="T75" fmla="*/ 1093 h 1300"/>
                      <a:gd name="T76" fmla="*/ 80 w 822"/>
                      <a:gd name="T77" fmla="*/ 1018 h 1300"/>
                      <a:gd name="T78" fmla="*/ 88 w 822"/>
                      <a:gd name="T79" fmla="*/ 964 h 1300"/>
                      <a:gd name="T80" fmla="*/ 90 w 822"/>
                      <a:gd name="T81" fmla="*/ 910 h 1300"/>
                      <a:gd name="T82" fmla="*/ 68 w 822"/>
                      <a:gd name="T83" fmla="*/ 858 h 1300"/>
                      <a:gd name="T84" fmla="*/ 81 w 822"/>
                      <a:gd name="T85" fmla="*/ 820 h 1300"/>
                      <a:gd name="T86" fmla="*/ 36 w 822"/>
                      <a:gd name="T87" fmla="*/ 818 h 1300"/>
                      <a:gd name="T88" fmla="*/ 43 w 822"/>
                      <a:gd name="T89" fmla="*/ 765 h 1300"/>
                      <a:gd name="T90" fmla="*/ 18 w 822"/>
                      <a:gd name="T91" fmla="*/ 735 h 1300"/>
                      <a:gd name="T92" fmla="*/ 66 w 822"/>
                      <a:gd name="T93" fmla="*/ 629 h 1300"/>
                      <a:gd name="T94" fmla="*/ 170 w 822"/>
                      <a:gd name="T95" fmla="*/ 551 h 1300"/>
                      <a:gd name="T96" fmla="*/ 193 w 822"/>
                      <a:gd name="T97" fmla="*/ 446 h 1300"/>
                      <a:gd name="T98" fmla="*/ 253 w 822"/>
                      <a:gd name="T99" fmla="*/ 281 h 1300"/>
                      <a:gd name="T100" fmla="*/ 276 w 822"/>
                      <a:gd name="T101" fmla="*/ 246 h 1300"/>
                      <a:gd name="T102" fmla="*/ 252 w 822"/>
                      <a:gd name="T103" fmla="*/ 219 h 1300"/>
                      <a:gd name="T104" fmla="*/ 256 w 822"/>
                      <a:gd name="T105" fmla="*/ 193 h 1300"/>
                      <a:gd name="T106" fmla="*/ 233 w 822"/>
                      <a:gd name="T107" fmla="*/ 171 h 1300"/>
                      <a:gd name="T108" fmla="*/ 243 w 822"/>
                      <a:gd name="T109" fmla="*/ 45 h 1300"/>
                      <a:gd name="T110" fmla="*/ 323 w 822"/>
                      <a:gd name="T111" fmla="*/ 0 h 1300"/>
                      <a:gd name="T112" fmla="*/ 571 w 822"/>
                      <a:gd name="T113" fmla="*/ 156 h 1300"/>
                      <a:gd name="T114" fmla="*/ 822 w 822"/>
                      <a:gd name="T115" fmla="*/ 311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2" h="1300">
                        <a:moveTo>
                          <a:pt x="822" y="311"/>
                        </a:moveTo>
                        <a:lnTo>
                          <a:pt x="770" y="635"/>
                        </a:lnTo>
                        <a:lnTo>
                          <a:pt x="708" y="629"/>
                        </a:lnTo>
                        <a:lnTo>
                          <a:pt x="667" y="689"/>
                        </a:lnTo>
                        <a:lnTo>
                          <a:pt x="641" y="739"/>
                        </a:lnTo>
                        <a:lnTo>
                          <a:pt x="653" y="758"/>
                        </a:lnTo>
                        <a:lnTo>
                          <a:pt x="626" y="783"/>
                        </a:lnTo>
                        <a:lnTo>
                          <a:pt x="630" y="816"/>
                        </a:lnTo>
                        <a:lnTo>
                          <a:pt x="607" y="850"/>
                        </a:lnTo>
                        <a:lnTo>
                          <a:pt x="596" y="880"/>
                        </a:lnTo>
                        <a:lnTo>
                          <a:pt x="622" y="875"/>
                        </a:lnTo>
                        <a:lnTo>
                          <a:pt x="632" y="906"/>
                        </a:lnTo>
                        <a:lnTo>
                          <a:pt x="628" y="954"/>
                        </a:lnTo>
                        <a:lnTo>
                          <a:pt x="652" y="977"/>
                        </a:lnTo>
                        <a:lnTo>
                          <a:pt x="648" y="997"/>
                        </a:lnTo>
                        <a:lnTo>
                          <a:pt x="602" y="1011"/>
                        </a:lnTo>
                        <a:lnTo>
                          <a:pt x="562" y="1045"/>
                        </a:lnTo>
                        <a:lnTo>
                          <a:pt x="502" y="1133"/>
                        </a:lnTo>
                        <a:lnTo>
                          <a:pt x="432" y="1171"/>
                        </a:lnTo>
                        <a:lnTo>
                          <a:pt x="363" y="1166"/>
                        </a:lnTo>
                        <a:lnTo>
                          <a:pt x="342" y="1174"/>
                        </a:lnTo>
                        <a:lnTo>
                          <a:pt x="347" y="1201"/>
                        </a:lnTo>
                        <a:lnTo>
                          <a:pt x="307" y="1230"/>
                        </a:lnTo>
                        <a:lnTo>
                          <a:pt x="275" y="1263"/>
                        </a:lnTo>
                        <a:lnTo>
                          <a:pt x="182" y="1293"/>
                        </a:lnTo>
                        <a:lnTo>
                          <a:pt x="166" y="1275"/>
                        </a:lnTo>
                        <a:lnTo>
                          <a:pt x="153" y="1273"/>
                        </a:lnTo>
                        <a:lnTo>
                          <a:pt x="140" y="1294"/>
                        </a:lnTo>
                        <a:lnTo>
                          <a:pt x="80" y="1300"/>
                        </a:lnTo>
                        <a:lnTo>
                          <a:pt x="92" y="1278"/>
                        </a:lnTo>
                        <a:lnTo>
                          <a:pt x="75" y="1223"/>
                        </a:lnTo>
                        <a:lnTo>
                          <a:pt x="67" y="1189"/>
                        </a:lnTo>
                        <a:lnTo>
                          <a:pt x="37" y="1175"/>
                        </a:lnTo>
                        <a:lnTo>
                          <a:pt x="0" y="1128"/>
                        </a:lnTo>
                        <a:lnTo>
                          <a:pt x="18" y="1089"/>
                        </a:lnTo>
                        <a:lnTo>
                          <a:pt x="50" y="1098"/>
                        </a:lnTo>
                        <a:lnTo>
                          <a:pt x="71" y="1091"/>
                        </a:lnTo>
                        <a:lnTo>
                          <a:pt x="111" y="1093"/>
                        </a:lnTo>
                        <a:lnTo>
                          <a:pt x="80" y="1018"/>
                        </a:lnTo>
                        <a:lnTo>
                          <a:pt x="88" y="964"/>
                        </a:lnTo>
                        <a:lnTo>
                          <a:pt x="90" y="910"/>
                        </a:lnTo>
                        <a:lnTo>
                          <a:pt x="68" y="858"/>
                        </a:lnTo>
                        <a:lnTo>
                          <a:pt x="81" y="820"/>
                        </a:lnTo>
                        <a:lnTo>
                          <a:pt x="36" y="818"/>
                        </a:lnTo>
                        <a:lnTo>
                          <a:pt x="43" y="765"/>
                        </a:lnTo>
                        <a:lnTo>
                          <a:pt x="18" y="735"/>
                        </a:lnTo>
                        <a:lnTo>
                          <a:pt x="66" y="629"/>
                        </a:lnTo>
                        <a:lnTo>
                          <a:pt x="170" y="551"/>
                        </a:lnTo>
                        <a:lnTo>
                          <a:pt x="193" y="446"/>
                        </a:lnTo>
                        <a:lnTo>
                          <a:pt x="253" y="281"/>
                        </a:lnTo>
                        <a:lnTo>
                          <a:pt x="276" y="246"/>
                        </a:lnTo>
                        <a:lnTo>
                          <a:pt x="252" y="219"/>
                        </a:lnTo>
                        <a:lnTo>
                          <a:pt x="256" y="193"/>
                        </a:lnTo>
                        <a:lnTo>
                          <a:pt x="233" y="171"/>
                        </a:lnTo>
                        <a:lnTo>
                          <a:pt x="243" y="45"/>
                        </a:lnTo>
                        <a:lnTo>
                          <a:pt x="323" y="0"/>
                        </a:lnTo>
                        <a:lnTo>
                          <a:pt x="571" y="156"/>
                        </a:lnTo>
                        <a:lnTo>
                          <a:pt x="822" y="31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5" name="Togo" descr="{&quot;Key&quot;:&quot;togo&quot;,&quot;Name&quot;:&quot;Togo&quot;,&quot;Value&quot;:1.0,&quot;Formula&quot;:&quot;&quot;,&quot;Text&quot;:&quot;&quot;,&quot;OfficeApplication&quot;:1,&quot;HasValue&quot;:true}">
                    <a:extLst>
                      <a:ext uri="{FF2B5EF4-FFF2-40B4-BE49-F238E27FC236}">
                        <a16:creationId xmlns:a16="http://schemas.microsoft.com/office/drawing/2014/main" id="{DF42616D-4374-FF70-8B6B-6EB84BCB0F57}"/>
                      </a:ext>
                    </a:extLst>
                  </p:cNvPr>
                  <p:cNvSpPr>
                    <a:spLocks/>
                  </p:cNvSpPr>
                  <p:nvPr/>
                </p:nvSpPr>
                <p:spPr bwMode="auto">
                  <a:xfrm>
                    <a:off x="829" y="2535"/>
                    <a:ext cx="30" cy="115"/>
                  </a:xfrm>
                  <a:custGeom>
                    <a:avLst/>
                    <a:gdLst>
                      <a:gd name="T0" fmla="*/ 72 w 109"/>
                      <a:gd name="T1" fmla="*/ 2 h 413"/>
                      <a:gd name="T2" fmla="*/ 57 w 109"/>
                      <a:gd name="T3" fmla="*/ 45 h 413"/>
                      <a:gd name="T4" fmla="*/ 77 w 109"/>
                      <a:gd name="T5" fmla="*/ 68 h 413"/>
                      <a:gd name="T6" fmla="*/ 98 w 109"/>
                      <a:gd name="T7" fmla="*/ 97 h 413"/>
                      <a:gd name="T8" fmla="*/ 97 w 109"/>
                      <a:gd name="T9" fmla="*/ 137 h 413"/>
                      <a:gd name="T10" fmla="*/ 109 w 109"/>
                      <a:gd name="T11" fmla="*/ 153 h 413"/>
                      <a:gd name="T12" fmla="*/ 89 w 109"/>
                      <a:gd name="T13" fmla="*/ 339 h 413"/>
                      <a:gd name="T14" fmla="*/ 103 w 109"/>
                      <a:gd name="T15" fmla="*/ 396 h 413"/>
                      <a:gd name="T16" fmla="*/ 44 w 109"/>
                      <a:gd name="T17" fmla="*/ 413 h 413"/>
                      <a:gd name="T18" fmla="*/ 30 w 109"/>
                      <a:gd name="T19" fmla="*/ 384 h 413"/>
                      <a:gd name="T20" fmla="*/ 15 w 109"/>
                      <a:gd name="T21" fmla="*/ 333 h 413"/>
                      <a:gd name="T22" fmla="*/ 13 w 109"/>
                      <a:gd name="T23" fmla="*/ 293 h 413"/>
                      <a:gd name="T24" fmla="*/ 34 w 109"/>
                      <a:gd name="T25" fmla="*/ 219 h 413"/>
                      <a:gd name="T26" fmla="*/ 19 w 109"/>
                      <a:gd name="T27" fmla="*/ 189 h 413"/>
                      <a:gd name="T28" fmla="*/ 19 w 109"/>
                      <a:gd name="T29" fmla="*/ 126 h 413"/>
                      <a:gd name="T30" fmla="*/ 25 w 109"/>
                      <a:gd name="T31" fmla="*/ 67 h 413"/>
                      <a:gd name="T32" fmla="*/ 0 w 109"/>
                      <a:gd name="T33" fmla="*/ 25 h 413"/>
                      <a:gd name="T34" fmla="*/ 9 w 109"/>
                      <a:gd name="T35" fmla="*/ 0 h 413"/>
                      <a:gd name="T36" fmla="*/ 72 w 109"/>
                      <a:gd name="T37" fmla="*/ 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 h="413">
                        <a:moveTo>
                          <a:pt x="72" y="2"/>
                        </a:moveTo>
                        <a:lnTo>
                          <a:pt x="57" y="45"/>
                        </a:lnTo>
                        <a:lnTo>
                          <a:pt x="77" y="68"/>
                        </a:lnTo>
                        <a:lnTo>
                          <a:pt x="98" y="97"/>
                        </a:lnTo>
                        <a:lnTo>
                          <a:pt x="97" y="137"/>
                        </a:lnTo>
                        <a:lnTo>
                          <a:pt x="109" y="153"/>
                        </a:lnTo>
                        <a:lnTo>
                          <a:pt x="89" y="339"/>
                        </a:lnTo>
                        <a:lnTo>
                          <a:pt x="103" y="396"/>
                        </a:lnTo>
                        <a:lnTo>
                          <a:pt x="44" y="413"/>
                        </a:lnTo>
                        <a:lnTo>
                          <a:pt x="30" y="384"/>
                        </a:lnTo>
                        <a:lnTo>
                          <a:pt x="15" y="333"/>
                        </a:lnTo>
                        <a:lnTo>
                          <a:pt x="13" y="293"/>
                        </a:lnTo>
                        <a:lnTo>
                          <a:pt x="34" y="219"/>
                        </a:lnTo>
                        <a:lnTo>
                          <a:pt x="19" y="189"/>
                        </a:lnTo>
                        <a:lnTo>
                          <a:pt x="19" y="126"/>
                        </a:lnTo>
                        <a:lnTo>
                          <a:pt x="25" y="67"/>
                        </a:lnTo>
                        <a:lnTo>
                          <a:pt x="0" y="25"/>
                        </a:lnTo>
                        <a:lnTo>
                          <a:pt x="9" y="0"/>
                        </a:lnTo>
                        <a:lnTo>
                          <a:pt x="72"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6" name="Thailand" descr="{&quot;Key&quot;:&quot;thailand&quot;,&quot;Name&quot;:&quot;Thailand&quot;,&quot;Value&quot;:1.0,&quot;Formula&quot;:&quot;&quot;,&quot;Text&quot;:&quot;&quot;,&quot;OfficeApplication&quot;:1,&quot;HasValue&quot;:true}">
                    <a:extLst>
                      <a:ext uri="{FF2B5EF4-FFF2-40B4-BE49-F238E27FC236}">
                        <a16:creationId xmlns:a16="http://schemas.microsoft.com/office/drawing/2014/main" id="{FC7E791D-0A16-29D4-AF5F-CDEAC9DAFC4A}"/>
                      </a:ext>
                    </a:extLst>
                  </p:cNvPr>
                  <p:cNvSpPr>
                    <a:spLocks/>
                  </p:cNvSpPr>
                  <p:nvPr/>
                </p:nvSpPr>
                <p:spPr bwMode="auto">
                  <a:xfrm>
                    <a:off x="2780" y="2322"/>
                    <a:ext cx="158" cy="334"/>
                  </a:xfrm>
                  <a:custGeom>
                    <a:avLst/>
                    <a:gdLst>
                      <a:gd name="T0" fmla="*/ 468 w 566"/>
                      <a:gd name="T1" fmla="*/ 487 h 1197"/>
                      <a:gd name="T2" fmla="*/ 326 w 566"/>
                      <a:gd name="T3" fmla="*/ 571 h 1197"/>
                      <a:gd name="T4" fmla="*/ 276 w 566"/>
                      <a:gd name="T5" fmla="*/ 631 h 1197"/>
                      <a:gd name="T6" fmla="*/ 228 w 566"/>
                      <a:gd name="T7" fmla="*/ 569 h 1197"/>
                      <a:gd name="T8" fmla="*/ 156 w 566"/>
                      <a:gd name="T9" fmla="*/ 659 h 1197"/>
                      <a:gd name="T10" fmla="*/ 86 w 566"/>
                      <a:gd name="T11" fmla="*/ 850 h 1197"/>
                      <a:gd name="T12" fmla="*/ 136 w 566"/>
                      <a:gd name="T13" fmla="*/ 911 h 1197"/>
                      <a:gd name="T14" fmla="*/ 173 w 566"/>
                      <a:gd name="T15" fmla="*/ 1056 h 1197"/>
                      <a:gd name="T16" fmla="*/ 255 w 566"/>
                      <a:gd name="T17" fmla="*/ 1111 h 1197"/>
                      <a:gd name="T18" fmla="*/ 267 w 566"/>
                      <a:gd name="T19" fmla="*/ 1187 h 1197"/>
                      <a:gd name="T20" fmla="*/ 215 w 566"/>
                      <a:gd name="T21" fmla="*/ 1155 h 1197"/>
                      <a:gd name="T22" fmla="*/ 145 w 566"/>
                      <a:gd name="T23" fmla="*/ 1134 h 1197"/>
                      <a:gd name="T24" fmla="*/ 106 w 566"/>
                      <a:gd name="T25" fmla="*/ 1062 h 1197"/>
                      <a:gd name="T26" fmla="*/ 36 w 566"/>
                      <a:gd name="T27" fmla="*/ 979 h 1197"/>
                      <a:gd name="T28" fmla="*/ 10 w 566"/>
                      <a:gd name="T29" fmla="*/ 981 h 1197"/>
                      <a:gd name="T30" fmla="*/ 43 w 566"/>
                      <a:gd name="T31" fmla="*/ 852 h 1197"/>
                      <a:gd name="T32" fmla="*/ 123 w 566"/>
                      <a:gd name="T33" fmla="*/ 692 h 1197"/>
                      <a:gd name="T34" fmla="*/ 102 w 566"/>
                      <a:gd name="T35" fmla="*/ 581 h 1197"/>
                      <a:gd name="T36" fmla="*/ 53 w 566"/>
                      <a:gd name="T37" fmla="*/ 471 h 1197"/>
                      <a:gd name="T38" fmla="*/ 63 w 566"/>
                      <a:gd name="T39" fmla="*/ 415 h 1197"/>
                      <a:gd name="T40" fmla="*/ 70 w 566"/>
                      <a:gd name="T41" fmla="*/ 291 h 1197"/>
                      <a:gd name="T42" fmla="*/ 0 w 566"/>
                      <a:gd name="T43" fmla="*/ 160 h 1197"/>
                      <a:gd name="T44" fmla="*/ 70 w 566"/>
                      <a:gd name="T45" fmla="*/ 57 h 1197"/>
                      <a:gd name="T46" fmla="*/ 163 w 566"/>
                      <a:gd name="T47" fmla="*/ 18 h 1197"/>
                      <a:gd name="T48" fmla="*/ 233 w 566"/>
                      <a:gd name="T49" fmla="*/ 25 h 1197"/>
                      <a:gd name="T50" fmla="*/ 282 w 566"/>
                      <a:gd name="T51" fmla="*/ 77 h 1197"/>
                      <a:gd name="T52" fmla="*/ 255 w 566"/>
                      <a:gd name="T53" fmla="*/ 236 h 1197"/>
                      <a:gd name="T54" fmla="*/ 353 w 566"/>
                      <a:gd name="T55" fmla="*/ 202 h 1197"/>
                      <a:gd name="T56" fmla="*/ 411 w 566"/>
                      <a:gd name="T57" fmla="*/ 171 h 1197"/>
                      <a:gd name="T58" fmla="*/ 513 w 566"/>
                      <a:gd name="T59" fmla="*/ 242 h 1197"/>
                      <a:gd name="T60" fmla="*/ 566 w 566"/>
                      <a:gd name="T61" fmla="*/ 393 h 1197"/>
                      <a:gd name="T62" fmla="*/ 535 w 566"/>
                      <a:gd name="T63" fmla="*/ 500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66" h="1197">
                        <a:moveTo>
                          <a:pt x="535" y="500"/>
                        </a:moveTo>
                        <a:lnTo>
                          <a:pt x="468" y="487"/>
                        </a:lnTo>
                        <a:lnTo>
                          <a:pt x="376" y="504"/>
                        </a:lnTo>
                        <a:lnTo>
                          <a:pt x="326" y="571"/>
                        </a:lnTo>
                        <a:lnTo>
                          <a:pt x="338" y="669"/>
                        </a:lnTo>
                        <a:lnTo>
                          <a:pt x="276" y="631"/>
                        </a:lnTo>
                        <a:lnTo>
                          <a:pt x="215" y="634"/>
                        </a:lnTo>
                        <a:lnTo>
                          <a:pt x="228" y="569"/>
                        </a:lnTo>
                        <a:lnTo>
                          <a:pt x="166" y="570"/>
                        </a:lnTo>
                        <a:lnTo>
                          <a:pt x="156" y="659"/>
                        </a:lnTo>
                        <a:lnTo>
                          <a:pt x="112" y="777"/>
                        </a:lnTo>
                        <a:lnTo>
                          <a:pt x="86" y="850"/>
                        </a:lnTo>
                        <a:lnTo>
                          <a:pt x="90" y="909"/>
                        </a:lnTo>
                        <a:lnTo>
                          <a:pt x="136" y="911"/>
                        </a:lnTo>
                        <a:lnTo>
                          <a:pt x="162" y="985"/>
                        </a:lnTo>
                        <a:lnTo>
                          <a:pt x="173" y="1056"/>
                        </a:lnTo>
                        <a:lnTo>
                          <a:pt x="212" y="1102"/>
                        </a:lnTo>
                        <a:lnTo>
                          <a:pt x="255" y="1111"/>
                        </a:lnTo>
                        <a:lnTo>
                          <a:pt x="291" y="1153"/>
                        </a:lnTo>
                        <a:lnTo>
                          <a:pt x="267" y="1187"/>
                        </a:lnTo>
                        <a:lnTo>
                          <a:pt x="220" y="1197"/>
                        </a:lnTo>
                        <a:lnTo>
                          <a:pt x="215" y="1155"/>
                        </a:lnTo>
                        <a:lnTo>
                          <a:pt x="157" y="1120"/>
                        </a:lnTo>
                        <a:lnTo>
                          <a:pt x="145" y="1134"/>
                        </a:lnTo>
                        <a:lnTo>
                          <a:pt x="117" y="1102"/>
                        </a:lnTo>
                        <a:lnTo>
                          <a:pt x="106" y="1062"/>
                        </a:lnTo>
                        <a:lnTo>
                          <a:pt x="68" y="1016"/>
                        </a:lnTo>
                        <a:lnTo>
                          <a:pt x="36" y="979"/>
                        </a:lnTo>
                        <a:lnTo>
                          <a:pt x="22" y="1026"/>
                        </a:lnTo>
                        <a:lnTo>
                          <a:pt x="10" y="981"/>
                        </a:lnTo>
                        <a:lnTo>
                          <a:pt x="20" y="930"/>
                        </a:lnTo>
                        <a:lnTo>
                          <a:pt x="43" y="852"/>
                        </a:lnTo>
                        <a:lnTo>
                          <a:pt x="81" y="769"/>
                        </a:lnTo>
                        <a:lnTo>
                          <a:pt x="123" y="692"/>
                        </a:lnTo>
                        <a:lnTo>
                          <a:pt x="100" y="619"/>
                        </a:lnTo>
                        <a:lnTo>
                          <a:pt x="102" y="581"/>
                        </a:lnTo>
                        <a:lnTo>
                          <a:pt x="97" y="535"/>
                        </a:lnTo>
                        <a:lnTo>
                          <a:pt x="53" y="471"/>
                        </a:lnTo>
                        <a:lnTo>
                          <a:pt x="38" y="430"/>
                        </a:lnTo>
                        <a:lnTo>
                          <a:pt x="63" y="415"/>
                        </a:lnTo>
                        <a:lnTo>
                          <a:pt x="95" y="345"/>
                        </a:lnTo>
                        <a:lnTo>
                          <a:pt x="70" y="291"/>
                        </a:lnTo>
                        <a:lnTo>
                          <a:pt x="28" y="231"/>
                        </a:lnTo>
                        <a:lnTo>
                          <a:pt x="0" y="160"/>
                        </a:lnTo>
                        <a:lnTo>
                          <a:pt x="31" y="145"/>
                        </a:lnTo>
                        <a:lnTo>
                          <a:pt x="70" y="57"/>
                        </a:lnTo>
                        <a:lnTo>
                          <a:pt x="120" y="53"/>
                        </a:lnTo>
                        <a:lnTo>
                          <a:pt x="163" y="18"/>
                        </a:lnTo>
                        <a:lnTo>
                          <a:pt x="205" y="0"/>
                        </a:lnTo>
                        <a:lnTo>
                          <a:pt x="233" y="25"/>
                        </a:lnTo>
                        <a:lnTo>
                          <a:pt x="235" y="73"/>
                        </a:lnTo>
                        <a:lnTo>
                          <a:pt x="282" y="77"/>
                        </a:lnTo>
                        <a:lnTo>
                          <a:pt x="258" y="163"/>
                        </a:lnTo>
                        <a:lnTo>
                          <a:pt x="255" y="236"/>
                        </a:lnTo>
                        <a:lnTo>
                          <a:pt x="332" y="187"/>
                        </a:lnTo>
                        <a:lnTo>
                          <a:pt x="353" y="202"/>
                        </a:lnTo>
                        <a:lnTo>
                          <a:pt x="395" y="200"/>
                        </a:lnTo>
                        <a:lnTo>
                          <a:pt x="411" y="171"/>
                        </a:lnTo>
                        <a:lnTo>
                          <a:pt x="463" y="176"/>
                        </a:lnTo>
                        <a:lnTo>
                          <a:pt x="513" y="242"/>
                        </a:lnTo>
                        <a:lnTo>
                          <a:pt x="512" y="322"/>
                        </a:lnTo>
                        <a:lnTo>
                          <a:pt x="566" y="393"/>
                        </a:lnTo>
                        <a:lnTo>
                          <a:pt x="560" y="462"/>
                        </a:lnTo>
                        <a:lnTo>
                          <a:pt x="535" y="50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7" name="Tajikistan" descr="{&quot;Key&quot;:&quot;tajikistan&quot;,&quot;Name&quot;:&quot;Tajikistan&quot;,&quot;Value&quot;:1.0,&quot;Formula&quot;:&quot;&quot;,&quot;Text&quot;:&quot;&quot;,&quot;OfficeApplication&quot;:1,&quot;HasValue&quot;:true}">
                    <a:extLst>
                      <a:ext uri="{FF2B5EF4-FFF2-40B4-BE49-F238E27FC236}">
                        <a16:creationId xmlns:a16="http://schemas.microsoft.com/office/drawing/2014/main" id="{9C3BE387-9ED4-34B2-580C-29AB9DB033EF}"/>
                      </a:ext>
                    </a:extLst>
                  </p:cNvPr>
                  <p:cNvSpPr>
                    <a:spLocks/>
                  </p:cNvSpPr>
                  <p:nvPr/>
                </p:nvSpPr>
                <p:spPr bwMode="auto">
                  <a:xfrm>
                    <a:off x="2281" y="1857"/>
                    <a:ext cx="139" cy="95"/>
                  </a:xfrm>
                  <a:custGeom>
                    <a:avLst/>
                    <a:gdLst>
                      <a:gd name="T0" fmla="*/ 292 w 500"/>
                      <a:gd name="T1" fmla="*/ 58 h 341"/>
                      <a:gd name="T2" fmla="*/ 259 w 500"/>
                      <a:gd name="T3" fmla="*/ 83 h 341"/>
                      <a:gd name="T4" fmla="*/ 192 w 500"/>
                      <a:gd name="T5" fmla="*/ 69 h 341"/>
                      <a:gd name="T6" fmla="*/ 169 w 500"/>
                      <a:gd name="T7" fmla="*/ 115 h 341"/>
                      <a:gd name="T8" fmla="*/ 244 w 500"/>
                      <a:gd name="T9" fmla="*/ 109 h 341"/>
                      <a:gd name="T10" fmla="*/ 317 w 500"/>
                      <a:gd name="T11" fmla="*/ 135 h 341"/>
                      <a:gd name="T12" fmla="*/ 447 w 500"/>
                      <a:gd name="T13" fmla="*/ 123 h 341"/>
                      <a:gd name="T14" fmla="*/ 441 w 500"/>
                      <a:gd name="T15" fmla="*/ 198 h 341"/>
                      <a:gd name="T16" fmla="*/ 466 w 500"/>
                      <a:gd name="T17" fmla="*/ 190 h 341"/>
                      <a:gd name="T18" fmla="*/ 500 w 500"/>
                      <a:gd name="T19" fmla="*/ 208 h 341"/>
                      <a:gd name="T20" fmla="*/ 489 w 500"/>
                      <a:gd name="T21" fmla="*/ 240 h 341"/>
                      <a:gd name="T22" fmla="*/ 486 w 500"/>
                      <a:gd name="T23" fmla="*/ 286 h 341"/>
                      <a:gd name="T24" fmla="*/ 417 w 500"/>
                      <a:gd name="T25" fmla="*/ 285 h 341"/>
                      <a:gd name="T26" fmla="*/ 372 w 500"/>
                      <a:gd name="T27" fmla="*/ 280 h 341"/>
                      <a:gd name="T28" fmla="*/ 320 w 500"/>
                      <a:gd name="T29" fmla="*/ 316 h 341"/>
                      <a:gd name="T30" fmla="*/ 288 w 500"/>
                      <a:gd name="T31" fmla="*/ 324 h 341"/>
                      <a:gd name="T32" fmla="*/ 260 w 500"/>
                      <a:gd name="T33" fmla="*/ 341 h 341"/>
                      <a:gd name="T34" fmla="*/ 240 w 500"/>
                      <a:gd name="T35" fmla="*/ 315 h 341"/>
                      <a:gd name="T36" fmla="*/ 267 w 500"/>
                      <a:gd name="T37" fmla="*/ 246 h 341"/>
                      <a:gd name="T38" fmla="*/ 248 w 500"/>
                      <a:gd name="T39" fmla="*/ 243 h 341"/>
                      <a:gd name="T40" fmla="*/ 263 w 500"/>
                      <a:gd name="T41" fmla="*/ 218 h 341"/>
                      <a:gd name="T42" fmla="*/ 232 w 500"/>
                      <a:gd name="T43" fmla="*/ 199 h 341"/>
                      <a:gd name="T44" fmla="*/ 194 w 500"/>
                      <a:gd name="T45" fmla="*/ 228 h 341"/>
                      <a:gd name="T46" fmla="*/ 178 w 500"/>
                      <a:gd name="T47" fmla="*/ 260 h 341"/>
                      <a:gd name="T48" fmla="*/ 164 w 500"/>
                      <a:gd name="T49" fmla="*/ 273 h 341"/>
                      <a:gd name="T50" fmla="*/ 124 w 500"/>
                      <a:gd name="T51" fmla="*/ 270 h 341"/>
                      <a:gd name="T52" fmla="*/ 92 w 500"/>
                      <a:gd name="T53" fmla="*/ 308 h 341"/>
                      <a:gd name="T54" fmla="*/ 74 w 500"/>
                      <a:gd name="T55" fmla="*/ 291 h 341"/>
                      <a:gd name="T56" fmla="*/ 18 w 500"/>
                      <a:gd name="T57" fmla="*/ 318 h 341"/>
                      <a:gd name="T58" fmla="*/ 0 w 500"/>
                      <a:gd name="T59" fmla="*/ 308 h 341"/>
                      <a:gd name="T60" fmla="*/ 63 w 500"/>
                      <a:gd name="T61" fmla="*/ 226 h 341"/>
                      <a:gd name="T62" fmla="*/ 68 w 500"/>
                      <a:gd name="T63" fmla="*/ 166 h 341"/>
                      <a:gd name="T64" fmla="*/ 25 w 500"/>
                      <a:gd name="T65" fmla="*/ 146 h 341"/>
                      <a:gd name="T66" fmla="*/ 54 w 500"/>
                      <a:gd name="T67" fmla="*/ 111 h 341"/>
                      <a:gd name="T68" fmla="*/ 108 w 500"/>
                      <a:gd name="T69" fmla="*/ 115 h 341"/>
                      <a:gd name="T70" fmla="*/ 154 w 500"/>
                      <a:gd name="T71" fmla="*/ 70 h 341"/>
                      <a:gd name="T72" fmla="*/ 193 w 500"/>
                      <a:gd name="T73" fmla="*/ 19 h 341"/>
                      <a:gd name="T74" fmla="*/ 288 w 500"/>
                      <a:gd name="T75" fmla="*/ 0 h 341"/>
                      <a:gd name="T76" fmla="*/ 262 w 500"/>
                      <a:gd name="T77" fmla="*/ 38 h 341"/>
                      <a:gd name="T78" fmla="*/ 263 w 500"/>
                      <a:gd name="T79" fmla="*/ 59 h 341"/>
                      <a:gd name="T80" fmla="*/ 292 w 500"/>
                      <a:gd name="T81" fmla="*/ 5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0" h="341">
                        <a:moveTo>
                          <a:pt x="292" y="58"/>
                        </a:moveTo>
                        <a:lnTo>
                          <a:pt x="259" y="83"/>
                        </a:lnTo>
                        <a:lnTo>
                          <a:pt x="192" y="69"/>
                        </a:lnTo>
                        <a:lnTo>
                          <a:pt x="169" y="115"/>
                        </a:lnTo>
                        <a:lnTo>
                          <a:pt x="244" y="109"/>
                        </a:lnTo>
                        <a:lnTo>
                          <a:pt x="317" y="135"/>
                        </a:lnTo>
                        <a:lnTo>
                          <a:pt x="447" y="123"/>
                        </a:lnTo>
                        <a:lnTo>
                          <a:pt x="441" y="198"/>
                        </a:lnTo>
                        <a:lnTo>
                          <a:pt x="466" y="190"/>
                        </a:lnTo>
                        <a:lnTo>
                          <a:pt x="500" y="208"/>
                        </a:lnTo>
                        <a:lnTo>
                          <a:pt x="489" y="240"/>
                        </a:lnTo>
                        <a:lnTo>
                          <a:pt x="486" y="286"/>
                        </a:lnTo>
                        <a:lnTo>
                          <a:pt x="417" y="285"/>
                        </a:lnTo>
                        <a:lnTo>
                          <a:pt x="372" y="280"/>
                        </a:lnTo>
                        <a:lnTo>
                          <a:pt x="320" y="316"/>
                        </a:lnTo>
                        <a:lnTo>
                          <a:pt x="288" y="324"/>
                        </a:lnTo>
                        <a:lnTo>
                          <a:pt x="260" y="341"/>
                        </a:lnTo>
                        <a:lnTo>
                          <a:pt x="240" y="315"/>
                        </a:lnTo>
                        <a:lnTo>
                          <a:pt x="267" y="246"/>
                        </a:lnTo>
                        <a:lnTo>
                          <a:pt x="248" y="243"/>
                        </a:lnTo>
                        <a:lnTo>
                          <a:pt x="263" y="218"/>
                        </a:lnTo>
                        <a:lnTo>
                          <a:pt x="232" y="199"/>
                        </a:lnTo>
                        <a:lnTo>
                          <a:pt x="194" y="228"/>
                        </a:lnTo>
                        <a:lnTo>
                          <a:pt x="178" y="260"/>
                        </a:lnTo>
                        <a:lnTo>
                          <a:pt x="164" y="273"/>
                        </a:lnTo>
                        <a:lnTo>
                          <a:pt x="124" y="270"/>
                        </a:lnTo>
                        <a:lnTo>
                          <a:pt x="92" y="308"/>
                        </a:lnTo>
                        <a:lnTo>
                          <a:pt x="74" y="291"/>
                        </a:lnTo>
                        <a:lnTo>
                          <a:pt x="18" y="318"/>
                        </a:lnTo>
                        <a:lnTo>
                          <a:pt x="0" y="308"/>
                        </a:lnTo>
                        <a:lnTo>
                          <a:pt x="63" y="226"/>
                        </a:lnTo>
                        <a:lnTo>
                          <a:pt x="68" y="166"/>
                        </a:lnTo>
                        <a:lnTo>
                          <a:pt x="25" y="146"/>
                        </a:lnTo>
                        <a:lnTo>
                          <a:pt x="54" y="111"/>
                        </a:lnTo>
                        <a:lnTo>
                          <a:pt x="108" y="115"/>
                        </a:lnTo>
                        <a:lnTo>
                          <a:pt x="154" y="70"/>
                        </a:lnTo>
                        <a:lnTo>
                          <a:pt x="193" y="19"/>
                        </a:lnTo>
                        <a:lnTo>
                          <a:pt x="288" y="0"/>
                        </a:lnTo>
                        <a:lnTo>
                          <a:pt x="262" y="38"/>
                        </a:lnTo>
                        <a:lnTo>
                          <a:pt x="263" y="59"/>
                        </a:lnTo>
                        <a:lnTo>
                          <a:pt x="292" y="5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8" name="Turkmenistan" descr="{&quot;Key&quot;:&quot;turkmenistan&quot;,&quot;Name&quot;:&quot;Turkmenistan&quot;,&quot;Value&quot;:1.0,&quot;Formula&quot;:&quot;&quot;,&quot;Text&quot;:&quot;&quot;,&quot;OfficeApplication&quot;:1,&quot;HasValue&quot;:true}">
                    <a:extLst>
                      <a:ext uri="{FF2B5EF4-FFF2-40B4-BE49-F238E27FC236}">
                        <a16:creationId xmlns:a16="http://schemas.microsoft.com/office/drawing/2014/main" id="{CA380874-16B7-16D1-42A1-024CE3234B4E}"/>
                      </a:ext>
                    </a:extLst>
                  </p:cNvPr>
                  <p:cNvSpPr>
                    <a:spLocks/>
                  </p:cNvSpPr>
                  <p:nvPr/>
                </p:nvSpPr>
                <p:spPr bwMode="auto">
                  <a:xfrm>
                    <a:off x="2021" y="1816"/>
                    <a:ext cx="241" cy="169"/>
                  </a:xfrm>
                  <a:custGeom>
                    <a:avLst/>
                    <a:gdLst>
                      <a:gd name="T0" fmla="*/ 849 w 866"/>
                      <a:gd name="T1" fmla="*/ 435 h 605"/>
                      <a:gd name="T2" fmla="*/ 829 w 866"/>
                      <a:gd name="T3" fmla="*/ 433 h 605"/>
                      <a:gd name="T4" fmla="*/ 804 w 866"/>
                      <a:gd name="T5" fmla="*/ 412 h 605"/>
                      <a:gd name="T6" fmla="*/ 785 w 866"/>
                      <a:gd name="T7" fmla="*/ 440 h 605"/>
                      <a:gd name="T8" fmla="*/ 724 w 866"/>
                      <a:gd name="T9" fmla="*/ 457 h 605"/>
                      <a:gd name="T10" fmla="*/ 690 w 866"/>
                      <a:gd name="T11" fmla="*/ 520 h 605"/>
                      <a:gd name="T12" fmla="*/ 644 w 866"/>
                      <a:gd name="T13" fmla="*/ 545 h 605"/>
                      <a:gd name="T14" fmla="*/ 588 w 866"/>
                      <a:gd name="T15" fmla="*/ 558 h 605"/>
                      <a:gd name="T16" fmla="*/ 563 w 866"/>
                      <a:gd name="T17" fmla="*/ 594 h 605"/>
                      <a:gd name="T18" fmla="*/ 508 w 866"/>
                      <a:gd name="T19" fmla="*/ 605 h 605"/>
                      <a:gd name="T20" fmla="*/ 449 w 866"/>
                      <a:gd name="T21" fmla="*/ 574 h 605"/>
                      <a:gd name="T22" fmla="*/ 464 w 866"/>
                      <a:gd name="T23" fmla="*/ 507 h 605"/>
                      <a:gd name="T24" fmla="*/ 415 w 866"/>
                      <a:gd name="T25" fmla="*/ 503 h 605"/>
                      <a:gd name="T26" fmla="*/ 362 w 866"/>
                      <a:gd name="T27" fmla="*/ 432 h 605"/>
                      <a:gd name="T28" fmla="*/ 312 w 866"/>
                      <a:gd name="T29" fmla="*/ 423 h 605"/>
                      <a:gd name="T30" fmla="*/ 251 w 866"/>
                      <a:gd name="T31" fmla="*/ 382 h 605"/>
                      <a:gd name="T32" fmla="*/ 206 w 866"/>
                      <a:gd name="T33" fmla="*/ 374 h 605"/>
                      <a:gd name="T34" fmla="*/ 173 w 866"/>
                      <a:gd name="T35" fmla="*/ 389 h 605"/>
                      <a:gd name="T36" fmla="*/ 128 w 866"/>
                      <a:gd name="T37" fmla="*/ 387 h 605"/>
                      <a:gd name="T38" fmla="*/ 64 w 866"/>
                      <a:gd name="T39" fmla="*/ 433 h 605"/>
                      <a:gd name="T40" fmla="*/ 0 w 866"/>
                      <a:gd name="T41" fmla="*/ 449 h 605"/>
                      <a:gd name="T42" fmla="*/ 8 w 866"/>
                      <a:gd name="T43" fmla="*/ 392 h 605"/>
                      <a:gd name="T44" fmla="*/ 49 w 866"/>
                      <a:gd name="T45" fmla="*/ 307 h 605"/>
                      <a:gd name="T46" fmla="*/ 8 w 866"/>
                      <a:gd name="T47" fmla="*/ 279 h 605"/>
                      <a:gd name="T48" fmla="*/ 46 w 866"/>
                      <a:gd name="T49" fmla="*/ 224 h 605"/>
                      <a:gd name="T50" fmla="*/ 5 w 866"/>
                      <a:gd name="T51" fmla="*/ 219 h 605"/>
                      <a:gd name="T52" fmla="*/ 48 w 866"/>
                      <a:gd name="T53" fmla="*/ 152 h 605"/>
                      <a:gd name="T54" fmla="*/ 101 w 866"/>
                      <a:gd name="T55" fmla="*/ 172 h 605"/>
                      <a:gd name="T56" fmla="*/ 170 w 866"/>
                      <a:gd name="T57" fmla="*/ 145 h 605"/>
                      <a:gd name="T58" fmla="*/ 143 w 866"/>
                      <a:gd name="T59" fmla="*/ 98 h 605"/>
                      <a:gd name="T60" fmla="*/ 143 w 866"/>
                      <a:gd name="T61" fmla="*/ 52 h 605"/>
                      <a:gd name="T62" fmla="*/ 81 w 866"/>
                      <a:gd name="T63" fmla="*/ 72 h 605"/>
                      <a:gd name="T64" fmla="*/ 50 w 866"/>
                      <a:gd name="T65" fmla="*/ 130 h 605"/>
                      <a:gd name="T66" fmla="*/ 51 w 866"/>
                      <a:gd name="T67" fmla="*/ 79 h 605"/>
                      <a:gd name="T68" fmla="*/ 93 w 866"/>
                      <a:gd name="T69" fmla="*/ 52 h 605"/>
                      <a:gd name="T70" fmla="*/ 174 w 866"/>
                      <a:gd name="T71" fmla="*/ 35 h 605"/>
                      <a:gd name="T72" fmla="*/ 208 w 866"/>
                      <a:gd name="T73" fmla="*/ 58 h 605"/>
                      <a:gd name="T74" fmla="*/ 228 w 866"/>
                      <a:gd name="T75" fmla="*/ 120 h 605"/>
                      <a:gd name="T76" fmla="*/ 263 w 866"/>
                      <a:gd name="T77" fmla="*/ 117 h 605"/>
                      <a:gd name="T78" fmla="*/ 338 w 866"/>
                      <a:gd name="T79" fmla="*/ 115 h 605"/>
                      <a:gd name="T80" fmla="*/ 343 w 866"/>
                      <a:gd name="T81" fmla="*/ 75 h 605"/>
                      <a:gd name="T82" fmla="*/ 410 w 866"/>
                      <a:gd name="T83" fmla="*/ 48 h 605"/>
                      <a:gd name="T84" fmla="*/ 485 w 866"/>
                      <a:gd name="T85" fmla="*/ 0 h 605"/>
                      <a:gd name="T86" fmla="*/ 555 w 866"/>
                      <a:gd name="T87" fmla="*/ 43 h 605"/>
                      <a:gd name="T88" fmla="*/ 537 w 866"/>
                      <a:gd name="T89" fmla="*/ 108 h 605"/>
                      <a:gd name="T90" fmla="*/ 555 w 866"/>
                      <a:gd name="T91" fmla="*/ 124 h 605"/>
                      <a:gd name="T92" fmla="*/ 628 w 866"/>
                      <a:gd name="T93" fmla="*/ 120 h 605"/>
                      <a:gd name="T94" fmla="*/ 644 w 866"/>
                      <a:gd name="T95" fmla="*/ 135 h 605"/>
                      <a:gd name="T96" fmla="*/ 645 w 866"/>
                      <a:gd name="T97" fmla="*/ 218 h 605"/>
                      <a:gd name="T98" fmla="*/ 701 w 866"/>
                      <a:gd name="T99" fmla="*/ 274 h 605"/>
                      <a:gd name="T100" fmla="*/ 731 w 866"/>
                      <a:gd name="T101" fmla="*/ 311 h 605"/>
                      <a:gd name="T102" fmla="*/ 788 w 866"/>
                      <a:gd name="T103" fmla="*/ 351 h 605"/>
                      <a:gd name="T104" fmla="*/ 866 w 866"/>
                      <a:gd name="T105" fmla="*/ 386 h 605"/>
                      <a:gd name="T106" fmla="*/ 849 w 866"/>
                      <a:gd name="T107" fmla="*/ 435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6" h="605">
                        <a:moveTo>
                          <a:pt x="849" y="435"/>
                        </a:moveTo>
                        <a:lnTo>
                          <a:pt x="829" y="433"/>
                        </a:lnTo>
                        <a:lnTo>
                          <a:pt x="804" y="412"/>
                        </a:lnTo>
                        <a:lnTo>
                          <a:pt x="785" y="440"/>
                        </a:lnTo>
                        <a:lnTo>
                          <a:pt x="724" y="457"/>
                        </a:lnTo>
                        <a:lnTo>
                          <a:pt x="690" y="520"/>
                        </a:lnTo>
                        <a:lnTo>
                          <a:pt x="644" y="545"/>
                        </a:lnTo>
                        <a:lnTo>
                          <a:pt x="588" y="558"/>
                        </a:lnTo>
                        <a:lnTo>
                          <a:pt x="563" y="594"/>
                        </a:lnTo>
                        <a:lnTo>
                          <a:pt x="508" y="605"/>
                        </a:lnTo>
                        <a:lnTo>
                          <a:pt x="449" y="574"/>
                        </a:lnTo>
                        <a:lnTo>
                          <a:pt x="464" y="507"/>
                        </a:lnTo>
                        <a:lnTo>
                          <a:pt x="415" y="503"/>
                        </a:lnTo>
                        <a:lnTo>
                          <a:pt x="362" y="432"/>
                        </a:lnTo>
                        <a:lnTo>
                          <a:pt x="312" y="423"/>
                        </a:lnTo>
                        <a:lnTo>
                          <a:pt x="251" y="382"/>
                        </a:lnTo>
                        <a:lnTo>
                          <a:pt x="206" y="374"/>
                        </a:lnTo>
                        <a:lnTo>
                          <a:pt x="173" y="389"/>
                        </a:lnTo>
                        <a:lnTo>
                          <a:pt x="128" y="387"/>
                        </a:lnTo>
                        <a:lnTo>
                          <a:pt x="64" y="433"/>
                        </a:lnTo>
                        <a:lnTo>
                          <a:pt x="0" y="449"/>
                        </a:lnTo>
                        <a:lnTo>
                          <a:pt x="8" y="392"/>
                        </a:lnTo>
                        <a:lnTo>
                          <a:pt x="49" y="307"/>
                        </a:lnTo>
                        <a:lnTo>
                          <a:pt x="8" y="279"/>
                        </a:lnTo>
                        <a:lnTo>
                          <a:pt x="46" y="224"/>
                        </a:lnTo>
                        <a:lnTo>
                          <a:pt x="5" y="219"/>
                        </a:lnTo>
                        <a:lnTo>
                          <a:pt x="48" y="152"/>
                        </a:lnTo>
                        <a:lnTo>
                          <a:pt x="101" y="172"/>
                        </a:lnTo>
                        <a:lnTo>
                          <a:pt x="170" y="145"/>
                        </a:lnTo>
                        <a:lnTo>
                          <a:pt x="143" y="98"/>
                        </a:lnTo>
                        <a:lnTo>
                          <a:pt x="143" y="52"/>
                        </a:lnTo>
                        <a:lnTo>
                          <a:pt x="81" y="72"/>
                        </a:lnTo>
                        <a:lnTo>
                          <a:pt x="50" y="130"/>
                        </a:lnTo>
                        <a:lnTo>
                          <a:pt x="51" y="79"/>
                        </a:lnTo>
                        <a:lnTo>
                          <a:pt x="93" y="52"/>
                        </a:lnTo>
                        <a:lnTo>
                          <a:pt x="174" y="35"/>
                        </a:lnTo>
                        <a:lnTo>
                          <a:pt x="208" y="58"/>
                        </a:lnTo>
                        <a:lnTo>
                          <a:pt x="228" y="120"/>
                        </a:lnTo>
                        <a:lnTo>
                          <a:pt x="263" y="117"/>
                        </a:lnTo>
                        <a:lnTo>
                          <a:pt x="338" y="115"/>
                        </a:lnTo>
                        <a:lnTo>
                          <a:pt x="343" y="75"/>
                        </a:lnTo>
                        <a:lnTo>
                          <a:pt x="410" y="48"/>
                        </a:lnTo>
                        <a:lnTo>
                          <a:pt x="485" y="0"/>
                        </a:lnTo>
                        <a:lnTo>
                          <a:pt x="555" y="43"/>
                        </a:lnTo>
                        <a:lnTo>
                          <a:pt x="537" y="108"/>
                        </a:lnTo>
                        <a:lnTo>
                          <a:pt x="555" y="124"/>
                        </a:lnTo>
                        <a:lnTo>
                          <a:pt x="628" y="120"/>
                        </a:lnTo>
                        <a:lnTo>
                          <a:pt x="644" y="135"/>
                        </a:lnTo>
                        <a:lnTo>
                          <a:pt x="645" y="218"/>
                        </a:lnTo>
                        <a:lnTo>
                          <a:pt x="701" y="274"/>
                        </a:lnTo>
                        <a:lnTo>
                          <a:pt x="731" y="311"/>
                        </a:lnTo>
                        <a:lnTo>
                          <a:pt x="788" y="351"/>
                        </a:lnTo>
                        <a:lnTo>
                          <a:pt x="866" y="386"/>
                        </a:lnTo>
                        <a:lnTo>
                          <a:pt x="849" y="43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29" name="Timor-Leste" descr="{&quot;Key&quot;:&quot;timor-leste&quot;,&quot;Name&quot;:&quot;Timor-Leste&quot;,&quot;Value&quot;:1.0,&quot;Formula&quot;:&quot;&quot;,&quot;Text&quot;:&quot;&quot;,&quot;OfficeApplication&quot;:1,&quot;HasValue&quot;:true}">
                    <a:extLst>
                      <a:ext uri="{FF2B5EF4-FFF2-40B4-BE49-F238E27FC236}">
                        <a16:creationId xmlns:a16="http://schemas.microsoft.com/office/drawing/2014/main" id="{754431BE-EEF2-3646-50E8-62195DBBD540}"/>
                      </a:ext>
                    </a:extLst>
                  </p:cNvPr>
                  <p:cNvSpPr>
                    <a:spLocks/>
                  </p:cNvSpPr>
                  <p:nvPr/>
                </p:nvSpPr>
                <p:spPr bwMode="auto">
                  <a:xfrm>
                    <a:off x="3318" y="2972"/>
                    <a:ext cx="47" cy="25"/>
                  </a:xfrm>
                  <a:custGeom>
                    <a:avLst/>
                    <a:gdLst>
                      <a:gd name="T0" fmla="*/ 8 w 168"/>
                      <a:gd name="T1" fmla="*/ 90 h 90"/>
                      <a:gd name="T2" fmla="*/ 7 w 168"/>
                      <a:gd name="T3" fmla="*/ 67 h 90"/>
                      <a:gd name="T4" fmla="*/ 0 w 168"/>
                      <a:gd name="T5" fmla="*/ 50 h 90"/>
                      <a:gd name="T6" fmla="*/ 8 w 168"/>
                      <a:gd name="T7" fmla="*/ 32 h 90"/>
                      <a:gd name="T8" fmla="*/ 70 w 168"/>
                      <a:gd name="T9" fmla="*/ 13 h 90"/>
                      <a:gd name="T10" fmla="*/ 118 w 168"/>
                      <a:gd name="T11" fmla="*/ 10 h 90"/>
                      <a:gd name="T12" fmla="*/ 141 w 168"/>
                      <a:gd name="T13" fmla="*/ 0 h 90"/>
                      <a:gd name="T14" fmla="*/ 168 w 168"/>
                      <a:gd name="T15" fmla="*/ 10 h 90"/>
                      <a:gd name="T16" fmla="*/ 142 w 168"/>
                      <a:gd name="T17" fmla="*/ 32 h 90"/>
                      <a:gd name="T18" fmla="*/ 68 w 168"/>
                      <a:gd name="T19" fmla="*/ 68 h 90"/>
                      <a:gd name="T20" fmla="*/ 8 w 168"/>
                      <a:gd name="T2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90">
                        <a:moveTo>
                          <a:pt x="8" y="90"/>
                        </a:moveTo>
                        <a:lnTo>
                          <a:pt x="7" y="67"/>
                        </a:lnTo>
                        <a:lnTo>
                          <a:pt x="0" y="50"/>
                        </a:lnTo>
                        <a:lnTo>
                          <a:pt x="8" y="32"/>
                        </a:lnTo>
                        <a:lnTo>
                          <a:pt x="70" y="13"/>
                        </a:lnTo>
                        <a:lnTo>
                          <a:pt x="118" y="10"/>
                        </a:lnTo>
                        <a:lnTo>
                          <a:pt x="141" y="0"/>
                        </a:lnTo>
                        <a:lnTo>
                          <a:pt x="168" y="10"/>
                        </a:lnTo>
                        <a:lnTo>
                          <a:pt x="142" y="32"/>
                        </a:lnTo>
                        <a:lnTo>
                          <a:pt x="68" y="68"/>
                        </a:lnTo>
                        <a:lnTo>
                          <a:pt x="8" y="9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0" name="Tunisia" descr="{&quot;Key&quot;:&quot;tunisia&quot;,&quot;Name&quot;:&quot;Tunisia&quot;,&quot;Value&quot;:1.0,&quot;Formula&quot;:&quot;&quot;,&quot;Text&quot;:&quot;&quot;,&quot;OfficeApplication&quot;:1,&quot;HasValue&quot;:true}">
                    <a:extLst>
                      <a:ext uri="{FF2B5EF4-FFF2-40B4-BE49-F238E27FC236}">
                        <a16:creationId xmlns:a16="http://schemas.microsoft.com/office/drawing/2014/main" id="{DACF61B1-C65C-5198-0C03-79C8B1C7B987}"/>
                      </a:ext>
                    </a:extLst>
                  </p:cNvPr>
                  <p:cNvSpPr>
                    <a:spLocks/>
                  </p:cNvSpPr>
                  <p:nvPr/>
                </p:nvSpPr>
                <p:spPr bwMode="auto">
                  <a:xfrm>
                    <a:off x="1113" y="1938"/>
                    <a:ext cx="105" cy="160"/>
                  </a:xfrm>
                  <a:custGeom>
                    <a:avLst/>
                    <a:gdLst>
                      <a:gd name="T0" fmla="*/ 256 w 376"/>
                      <a:gd name="T1" fmla="*/ 342 h 572"/>
                      <a:gd name="T2" fmla="*/ 225 w 376"/>
                      <a:gd name="T3" fmla="*/ 405 h 572"/>
                      <a:gd name="T4" fmla="*/ 182 w 376"/>
                      <a:gd name="T5" fmla="*/ 427 h 572"/>
                      <a:gd name="T6" fmla="*/ 150 w 376"/>
                      <a:gd name="T7" fmla="*/ 453 h 572"/>
                      <a:gd name="T8" fmla="*/ 90 w 376"/>
                      <a:gd name="T9" fmla="*/ 485 h 572"/>
                      <a:gd name="T10" fmla="*/ 84 w 376"/>
                      <a:gd name="T11" fmla="*/ 518 h 572"/>
                      <a:gd name="T12" fmla="*/ 65 w 376"/>
                      <a:gd name="T13" fmla="*/ 553 h 572"/>
                      <a:gd name="T14" fmla="*/ 23 w 376"/>
                      <a:gd name="T15" fmla="*/ 572 h 572"/>
                      <a:gd name="T16" fmla="*/ 53 w 376"/>
                      <a:gd name="T17" fmla="*/ 426 h 572"/>
                      <a:gd name="T18" fmla="*/ 26 w 376"/>
                      <a:gd name="T19" fmla="*/ 393 h 572"/>
                      <a:gd name="T20" fmla="*/ 34 w 376"/>
                      <a:gd name="T21" fmla="*/ 373 h 572"/>
                      <a:gd name="T22" fmla="*/ 0 w 376"/>
                      <a:gd name="T23" fmla="*/ 325 h 572"/>
                      <a:gd name="T24" fmla="*/ 21 w 376"/>
                      <a:gd name="T25" fmla="*/ 263 h 572"/>
                      <a:gd name="T26" fmla="*/ 85 w 376"/>
                      <a:gd name="T27" fmla="*/ 218 h 572"/>
                      <a:gd name="T28" fmla="*/ 132 w 376"/>
                      <a:gd name="T29" fmla="*/ 152 h 572"/>
                      <a:gd name="T30" fmla="*/ 161 w 376"/>
                      <a:gd name="T31" fmla="*/ 75 h 572"/>
                      <a:gd name="T32" fmla="*/ 195 w 376"/>
                      <a:gd name="T33" fmla="*/ 32 h 572"/>
                      <a:gd name="T34" fmla="*/ 285 w 376"/>
                      <a:gd name="T35" fmla="*/ 0 h 572"/>
                      <a:gd name="T36" fmla="*/ 327 w 376"/>
                      <a:gd name="T37" fmla="*/ 10 h 572"/>
                      <a:gd name="T38" fmla="*/ 305 w 376"/>
                      <a:gd name="T39" fmla="*/ 51 h 572"/>
                      <a:gd name="T40" fmla="*/ 376 w 376"/>
                      <a:gd name="T41" fmla="*/ 21 h 572"/>
                      <a:gd name="T42" fmla="*/ 373 w 376"/>
                      <a:gd name="T43" fmla="*/ 36 h 572"/>
                      <a:gd name="T44" fmla="*/ 320 w 376"/>
                      <a:gd name="T45" fmla="*/ 76 h 572"/>
                      <a:gd name="T46" fmla="*/ 301 w 376"/>
                      <a:gd name="T47" fmla="*/ 113 h 572"/>
                      <a:gd name="T48" fmla="*/ 315 w 376"/>
                      <a:gd name="T49" fmla="*/ 133 h 572"/>
                      <a:gd name="T50" fmla="*/ 272 w 376"/>
                      <a:gd name="T51" fmla="*/ 203 h 572"/>
                      <a:gd name="T52" fmla="*/ 208 w 376"/>
                      <a:gd name="T53" fmla="*/ 245 h 572"/>
                      <a:gd name="T54" fmla="*/ 201 w 376"/>
                      <a:gd name="T55" fmla="*/ 290 h 572"/>
                      <a:gd name="T56" fmla="*/ 236 w 376"/>
                      <a:gd name="T57" fmla="*/ 291 h 572"/>
                      <a:gd name="T58" fmla="*/ 236 w 376"/>
                      <a:gd name="T59" fmla="*/ 330 h 572"/>
                      <a:gd name="T60" fmla="*/ 256 w 376"/>
                      <a:gd name="T61" fmla="*/ 34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572">
                        <a:moveTo>
                          <a:pt x="256" y="342"/>
                        </a:moveTo>
                        <a:lnTo>
                          <a:pt x="225" y="405"/>
                        </a:lnTo>
                        <a:lnTo>
                          <a:pt x="182" y="427"/>
                        </a:lnTo>
                        <a:lnTo>
                          <a:pt x="150" y="453"/>
                        </a:lnTo>
                        <a:lnTo>
                          <a:pt x="90" y="485"/>
                        </a:lnTo>
                        <a:lnTo>
                          <a:pt x="84" y="518"/>
                        </a:lnTo>
                        <a:lnTo>
                          <a:pt x="65" y="553"/>
                        </a:lnTo>
                        <a:lnTo>
                          <a:pt x="23" y="572"/>
                        </a:lnTo>
                        <a:lnTo>
                          <a:pt x="53" y="426"/>
                        </a:lnTo>
                        <a:lnTo>
                          <a:pt x="26" y="393"/>
                        </a:lnTo>
                        <a:lnTo>
                          <a:pt x="34" y="373"/>
                        </a:lnTo>
                        <a:lnTo>
                          <a:pt x="0" y="325"/>
                        </a:lnTo>
                        <a:lnTo>
                          <a:pt x="21" y="263"/>
                        </a:lnTo>
                        <a:lnTo>
                          <a:pt x="85" y="218"/>
                        </a:lnTo>
                        <a:lnTo>
                          <a:pt x="132" y="152"/>
                        </a:lnTo>
                        <a:lnTo>
                          <a:pt x="161" y="75"/>
                        </a:lnTo>
                        <a:lnTo>
                          <a:pt x="195" y="32"/>
                        </a:lnTo>
                        <a:lnTo>
                          <a:pt x="285" y="0"/>
                        </a:lnTo>
                        <a:lnTo>
                          <a:pt x="327" y="10"/>
                        </a:lnTo>
                        <a:lnTo>
                          <a:pt x="305" y="51"/>
                        </a:lnTo>
                        <a:lnTo>
                          <a:pt x="376" y="21"/>
                        </a:lnTo>
                        <a:lnTo>
                          <a:pt x="373" y="36"/>
                        </a:lnTo>
                        <a:lnTo>
                          <a:pt x="320" y="76"/>
                        </a:lnTo>
                        <a:lnTo>
                          <a:pt x="301" y="113"/>
                        </a:lnTo>
                        <a:lnTo>
                          <a:pt x="315" y="133"/>
                        </a:lnTo>
                        <a:lnTo>
                          <a:pt x="272" y="203"/>
                        </a:lnTo>
                        <a:lnTo>
                          <a:pt x="208" y="245"/>
                        </a:lnTo>
                        <a:lnTo>
                          <a:pt x="201" y="290"/>
                        </a:lnTo>
                        <a:lnTo>
                          <a:pt x="236" y="291"/>
                        </a:lnTo>
                        <a:lnTo>
                          <a:pt x="236" y="330"/>
                        </a:lnTo>
                        <a:lnTo>
                          <a:pt x="256" y="34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1" name="Turkey" descr="{&quot;Key&quot;:&quot;turkey&quot;,&quot;Name&quot;:&quot;Turkey&quot;,&quot;Value&quot;:1.0,&quot;Formula&quot;:&quot;&quot;,&quot;Text&quot;:&quot;&quot;,&quot;OfficeApplication&quot;:1,&quot;HasValue&quot;:true}">
                    <a:extLst>
                      <a:ext uri="{FF2B5EF4-FFF2-40B4-BE49-F238E27FC236}">
                        <a16:creationId xmlns:a16="http://schemas.microsoft.com/office/drawing/2014/main" id="{5D18ED13-BE34-5372-2822-8F33C5E7D8A2}"/>
                      </a:ext>
                    </a:extLst>
                  </p:cNvPr>
                  <p:cNvSpPr>
                    <a:spLocks noEditPoints="1"/>
                  </p:cNvSpPr>
                  <p:nvPr/>
                </p:nvSpPr>
                <p:spPr bwMode="auto">
                  <a:xfrm>
                    <a:off x="1515" y="1830"/>
                    <a:ext cx="359" cy="143"/>
                  </a:xfrm>
                  <a:custGeom>
                    <a:avLst/>
                    <a:gdLst>
                      <a:gd name="T0" fmla="*/ 1210 w 1285"/>
                      <a:gd name="T1" fmla="*/ 45 h 511"/>
                      <a:gd name="T2" fmla="*/ 1252 w 1285"/>
                      <a:gd name="T3" fmla="*/ 114 h 511"/>
                      <a:gd name="T4" fmla="*/ 1268 w 1285"/>
                      <a:gd name="T5" fmla="*/ 173 h 511"/>
                      <a:gd name="T6" fmla="*/ 1228 w 1285"/>
                      <a:gd name="T7" fmla="*/ 220 h 511"/>
                      <a:gd name="T8" fmla="*/ 1187 w 1285"/>
                      <a:gd name="T9" fmla="*/ 337 h 511"/>
                      <a:gd name="T10" fmla="*/ 1161 w 1285"/>
                      <a:gd name="T11" fmla="*/ 416 h 511"/>
                      <a:gd name="T12" fmla="*/ 1072 w 1285"/>
                      <a:gd name="T13" fmla="*/ 385 h 511"/>
                      <a:gd name="T14" fmla="*/ 957 w 1285"/>
                      <a:gd name="T15" fmla="*/ 410 h 511"/>
                      <a:gd name="T16" fmla="*/ 832 w 1285"/>
                      <a:gd name="T17" fmla="*/ 439 h 511"/>
                      <a:gd name="T18" fmla="*/ 747 w 1285"/>
                      <a:gd name="T19" fmla="*/ 424 h 511"/>
                      <a:gd name="T20" fmla="*/ 648 w 1285"/>
                      <a:gd name="T21" fmla="*/ 431 h 511"/>
                      <a:gd name="T22" fmla="*/ 601 w 1285"/>
                      <a:gd name="T23" fmla="*/ 494 h 511"/>
                      <a:gd name="T24" fmla="*/ 566 w 1285"/>
                      <a:gd name="T25" fmla="*/ 475 h 511"/>
                      <a:gd name="T26" fmla="*/ 560 w 1285"/>
                      <a:gd name="T27" fmla="*/ 451 h 511"/>
                      <a:gd name="T28" fmla="*/ 446 w 1285"/>
                      <a:gd name="T29" fmla="*/ 479 h 511"/>
                      <a:gd name="T30" fmla="*/ 303 w 1285"/>
                      <a:gd name="T31" fmla="*/ 445 h 511"/>
                      <a:gd name="T32" fmla="*/ 202 w 1285"/>
                      <a:gd name="T33" fmla="*/ 476 h 511"/>
                      <a:gd name="T34" fmla="*/ 106 w 1285"/>
                      <a:gd name="T35" fmla="*/ 443 h 511"/>
                      <a:gd name="T36" fmla="*/ 28 w 1285"/>
                      <a:gd name="T37" fmla="*/ 363 h 511"/>
                      <a:gd name="T38" fmla="*/ 63 w 1285"/>
                      <a:gd name="T39" fmla="*/ 255 h 511"/>
                      <a:gd name="T40" fmla="*/ 153 w 1285"/>
                      <a:gd name="T41" fmla="*/ 139 h 511"/>
                      <a:gd name="T42" fmla="*/ 316 w 1285"/>
                      <a:gd name="T43" fmla="*/ 75 h 511"/>
                      <a:gd name="T44" fmla="*/ 542 w 1285"/>
                      <a:gd name="T45" fmla="*/ 34 h 511"/>
                      <a:gd name="T46" fmla="*/ 740 w 1285"/>
                      <a:gd name="T47" fmla="*/ 9 h 511"/>
                      <a:gd name="T48" fmla="*/ 903 w 1285"/>
                      <a:gd name="T49" fmla="*/ 96 h 511"/>
                      <a:gd name="T50" fmla="*/ 1040 w 1285"/>
                      <a:gd name="T51" fmla="*/ 91 h 511"/>
                      <a:gd name="T52" fmla="*/ 90 w 1285"/>
                      <a:gd name="T53" fmla="*/ 106 h 511"/>
                      <a:gd name="T54" fmla="*/ 157 w 1285"/>
                      <a:gd name="T55" fmla="*/ 48 h 511"/>
                      <a:gd name="T56" fmla="*/ 218 w 1285"/>
                      <a:gd name="T57" fmla="*/ 0 h 511"/>
                      <a:gd name="T58" fmla="*/ 260 w 1285"/>
                      <a:gd name="T59" fmla="*/ 43 h 511"/>
                      <a:gd name="T60" fmla="*/ 280 w 1285"/>
                      <a:gd name="T61" fmla="*/ 88 h 511"/>
                      <a:gd name="T62" fmla="*/ 158 w 1285"/>
                      <a:gd name="T63" fmla="*/ 118 h 511"/>
                      <a:gd name="T64" fmla="*/ 80 w 1285"/>
                      <a:gd name="T65" fmla="*/ 12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5" h="511">
                        <a:moveTo>
                          <a:pt x="1137" y="50"/>
                        </a:moveTo>
                        <a:lnTo>
                          <a:pt x="1210" y="45"/>
                        </a:lnTo>
                        <a:lnTo>
                          <a:pt x="1253" y="85"/>
                        </a:lnTo>
                        <a:lnTo>
                          <a:pt x="1252" y="114"/>
                        </a:lnTo>
                        <a:lnTo>
                          <a:pt x="1228" y="153"/>
                        </a:lnTo>
                        <a:lnTo>
                          <a:pt x="1268" y="173"/>
                        </a:lnTo>
                        <a:lnTo>
                          <a:pt x="1285" y="196"/>
                        </a:lnTo>
                        <a:lnTo>
                          <a:pt x="1228" y="220"/>
                        </a:lnTo>
                        <a:lnTo>
                          <a:pt x="1211" y="312"/>
                        </a:lnTo>
                        <a:lnTo>
                          <a:pt x="1187" y="337"/>
                        </a:lnTo>
                        <a:lnTo>
                          <a:pt x="1198" y="402"/>
                        </a:lnTo>
                        <a:lnTo>
                          <a:pt x="1161" y="416"/>
                        </a:lnTo>
                        <a:lnTo>
                          <a:pt x="1146" y="395"/>
                        </a:lnTo>
                        <a:lnTo>
                          <a:pt x="1072" y="385"/>
                        </a:lnTo>
                        <a:lnTo>
                          <a:pt x="1038" y="398"/>
                        </a:lnTo>
                        <a:lnTo>
                          <a:pt x="957" y="410"/>
                        </a:lnTo>
                        <a:lnTo>
                          <a:pt x="921" y="409"/>
                        </a:lnTo>
                        <a:lnTo>
                          <a:pt x="832" y="439"/>
                        </a:lnTo>
                        <a:lnTo>
                          <a:pt x="776" y="439"/>
                        </a:lnTo>
                        <a:lnTo>
                          <a:pt x="747" y="424"/>
                        </a:lnTo>
                        <a:lnTo>
                          <a:pt x="663" y="446"/>
                        </a:lnTo>
                        <a:lnTo>
                          <a:pt x="648" y="431"/>
                        </a:lnTo>
                        <a:lnTo>
                          <a:pt x="626" y="476"/>
                        </a:lnTo>
                        <a:lnTo>
                          <a:pt x="601" y="494"/>
                        </a:lnTo>
                        <a:lnTo>
                          <a:pt x="576" y="511"/>
                        </a:lnTo>
                        <a:lnTo>
                          <a:pt x="566" y="475"/>
                        </a:lnTo>
                        <a:lnTo>
                          <a:pt x="603" y="444"/>
                        </a:lnTo>
                        <a:lnTo>
                          <a:pt x="560" y="451"/>
                        </a:lnTo>
                        <a:lnTo>
                          <a:pt x="511" y="433"/>
                        </a:lnTo>
                        <a:lnTo>
                          <a:pt x="446" y="479"/>
                        </a:lnTo>
                        <a:lnTo>
                          <a:pt x="340" y="489"/>
                        </a:lnTo>
                        <a:lnTo>
                          <a:pt x="303" y="445"/>
                        </a:lnTo>
                        <a:lnTo>
                          <a:pt x="232" y="443"/>
                        </a:lnTo>
                        <a:lnTo>
                          <a:pt x="202" y="476"/>
                        </a:lnTo>
                        <a:lnTo>
                          <a:pt x="152" y="485"/>
                        </a:lnTo>
                        <a:lnTo>
                          <a:pt x="106" y="443"/>
                        </a:lnTo>
                        <a:lnTo>
                          <a:pt x="31" y="444"/>
                        </a:lnTo>
                        <a:lnTo>
                          <a:pt x="28" y="363"/>
                        </a:lnTo>
                        <a:lnTo>
                          <a:pt x="0" y="319"/>
                        </a:lnTo>
                        <a:lnTo>
                          <a:pt x="63" y="255"/>
                        </a:lnTo>
                        <a:lnTo>
                          <a:pt x="40" y="216"/>
                        </a:lnTo>
                        <a:lnTo>
                          <a:pt x="153" y="139"/>
                        </a:lnTo>
                        <a:lnTo>
                          <a:pt x="256" y="136"/>
                        </a:lnTo>
                        <a:lnTo>
                          <a:pt x="316" y="75"/>
                        </a:lnTo>
                        <a:lnTo>
                          <a:pt x="436" y="85"/>
                        </a:lnTo>
                        <a:lnTo>
                          <a:pt x="542" y="34"/>
                        </a:lnTo>
                        <a:lnTo>
                          <a:pt x="630" y="10"/>
                        </a:lnTo>
                        <a:lnTo>
                          <a:pt x="740" y="9"/>
                        </a:lnTo>
                        <a:lnTo>
                          <a:pt x="825" y="65"/>
                        </a:lnTo>
                        <a:lnTo>
                          <a:pt x="903" y="96"/>
                        </a:lnTo>
                        <a:lnTo>
                          <a:pt x="987" y="84"/>
                        </a:lnTo>
                        <a:lnTo>
                          <a:pt x="1040" y="91"/>
                        </a:lnTo>
                        <a:lnTo>
                          <a:pt x="1137" y="50"/>
                        </a:lnTo>
                        <a:close/>
                        <a:moveTo>
                          <a:pt x="90" y="106"/>
                        </a:moveTo>
                        <a:lnTo>
                          <a:pt x="110" y="98"/>
                        </a:lnTo>
                        <a:lnTo>
                          <a:pt x="157" y="48"/>
                        </a:lnTo>
                        <a:lnTo>
                          <a:pt x="137" y="26"/>
                        </a:lnTo>
                        <a:lnTo>
                          <a:pt x="218" y="0"/>
                        </a:lnTo>
                        <a:lnTo>
                          <a:pt x="268" y="11"/>
                        </a:lnTo>
                        <a:lnTo>
                          <a:pt x="260" y="43"/>
                        </a:lnTo>
                        <a:lnTo>
                          <a:pt x="302" y="69"/>
                        </a:lnTo>
                        <a:lnTo>
                          <a:pt x="280" y="88"/>
                        </a:lnTo>
                        <a:lnTo>
                          <a:pt x="200" y="93"/>
                        </a:lnTo>
                        <a:lnTo>
                          <a:pt x="158" y="118"/>
                        </a:lnTo>
                        <a:lnTo>
                          <a:pt x="81" y="161"/>
                        </a:lnTo>
                        <a:lnTo>
                          <a:pt x="80" y="124"/>
                        </a:lnTo>
                        <a:lnTo>
                          <a:pt x="90" y="10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2" name="Taiwan" descr="{&quot;Key&quot;:&quot;taiwan&quot;,&quot;Name&quot;:&quot;Taiwan&quot;,&quot;Value&quot;:1.0,&quot;Formula&quot;:&quot;&quot;,&quot;Text&quot;:&quot;&quot;,&quot;OfficeApplication&quot;:1,&quot;HasValue&quot;:true}">
                    <a:extLst>
                      <a:ext uri="{FF2B5EF4-FFF2-40B4-BE49-F238E27FC236}">
                        <a16:creationId xmlns:a16="http://schemas.microsoft.com/office/drawing/2014/main" id="{0D68208D-8052-09B3-3F9E-890D047B0AA6}"/>
                      </a:ext>
                    </a:extLst>
                  </p:cNvPr>
                  <p:cNvSpPr>
                    <a:spLocks/>
                  </p:cNvSpPr>
                  <p:nvPr/>
                </p:nvSpPr>
                <p:spPr bwMode="auto">
                  <a:xfrm>
                    <a:off x="3233" y="2212"/>
                    <a:ext cx="38" cy="75"/>
                  </a:xfrm>
                  <a:custGeom>
                    <a:avLst/>
                    <a:gdLst>
                      <a:gd name="T0" fmla="*/ 71 w 135"/>
                      <a:gd name="T1" fmla="*/ 203 h 270"/>
                      <a:gd name="T2" fmla="*/ 39 w 135"/>
                      <a:gd name="T3" fmla="*/ 270 h 270"/>
                      <a:gd name="T4" fmla="*/ 5 w 135"/>
                      <a:gd name="T5" fmla="*/ 201 h 270"/>
                      <a:gd name="T6" fmla="*/ 0 w 135"/>
                      <a:gd name="T7" fmla="*/ 141 h 270"/>
                      <a:gd name="T8" fmla="*/ 45 w 135"/>
                      <a:gd name="T9" fmla="*/ 61 h 270"/>
                      <a:gd name="T10" fmla="*/ 104 w 135"/>
                      <a:gd name="T11" fmla="*/ 0 h 270"/>
                      <a:gd name="T12" fmla="*/ 135 w 135"/>
                      <a:gd name="T13" fmla="*/ 23 h 270"/>
                      <a:gd name="T14" fmla="*/ 120 w 135"/>
                      <a:gd name="T15" fmla="*/ 72 h 270"/>
                      <a:gd name="T16" fmla="*/ 71 w 135"/>
                      <a:gd name="T17" fmla="*/ 20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270">
                        <a:moveTo>
                          <a:pt x="71" y="203"/>
                        </a:moveTo>
                        <a:lnTo>
                          <a:pt x="39" y="270"/>
                        </a:lnTo>
                        <a:lnTo>
                          <a:pt x="5" y="201"/>
                        </a:lnTo>
                        <a:lnTo>
                          <a:pt x="0" y="141"/>
                        </a:lnTo>
                        <a:lnTo>
                          <a:pt x="45" y="61"/>
                        </a:lnTo>
                        <a:lnTo>
                          <a:pt x="104" y="0"/>
                        </a:lnTo>
                        <a:lnTo>
                          <a:pt x="135" y="23"/>
                        </a:lnTo>
                        <a:lnTo>
                          <a:pt x="120" y="72"/>
                        </a:lnTo>
                        <a:lnTo>
                          <a:pt x="71" y="20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3" name="Tanzania" descr="{&quot;Key&quot;:&quot;tanzania&quot;,&quot;Name&quot;:&quot;Tanzania&quot;,&quot;Value&quot;:1.0,&quot;Formula&quot;:&quot;&quot;,&quot;Text&quot;:&quot;&quot;,&quot;OfficeApplication&quot;:1,&quot;HasValue&quot;:true}">
                    <a:extLst>
                      <a:ext uri="{FF2B5EF4-FFF2-40B4-BE49-F238E27FC236}">
                        <a16:creationId xmlns:a16="http://schemas.microsoft.com/office/drawing/2014/main" id="{976B485A-459C-EA6F-4450-63C62CAE9001}"/>
                      </a:ext>
                    </a:extLst>
                  </p:cNvPr>
                  <p:cNvSpPr>
                    <a:spLocks/>
                  </p:cNvSpPr>
                  <p:nvPr/>
                </p:nvSpPr>
                <p:spPr bwMode="auto">
                  <a:xfrm>
                    <a:off x="1410" y="2808"/>
                    <a:ext cx="222" cy="242"/>
                  </a:xfrm>
                  <a:custGeom>
                    <a:avLst/>
                    <a:gdLst>
                      <a:gd name="T0" fmla="*/ 152 w 795"/>
                      <a:gd name="T1" fmla="*/ 0 h 870"/>
                      <a:gd name="T2" fmla="*/ 150 w 795"/>
                      <a:gd name="T3" fmla="*/ 50 h 870"/>
                      <a:gd name="T4" fmla="*/ 138 w 795"/>
                      <a:gd name="T5" fmla="*/ 107 h 870"/>
                      <a:gd name="T6" fmla="*/ 159 w 795"/>
                      <a:gd name="T7" fmla="*/ 138 h 870"/>
                      <a:gd name="T8" fmla="*/ 190 w 795"/>
                      <a:gd name="T9" fmla="*/ 120 h 870"/>
                      <a:gd name="T10" fmla="*/ 232 w 795"/>
                      <a:gd name="T11" fmla="*/ 115 h 870"/>
                      <a:gd name="T12" fmla="*/ 242 w 795"/>
                      <a:gd name="T13" fmla="*/ 124 h 870"/>
                      <a:gd name="T14" fmla="*/ 282 w 795"/>
                      <a:gd name="T15" fmla="*/ 104 h 870"/>
                      <a:gd name="T16" fmla="*/ 253 w 795"/>
                      <a:gd name="T17" fmla="*/ 77 h 870"/>
                      <a:gd name="T18" fmla="*/ 275 w 795"/>
                      <a:gd name="T19" fmla="*/ 40 h 870"/>
                      <a:gd name="T20" fmla="*/ 310 w 795"/>
                      <a:gd name="T21" fmla="*/ 4 h 870"/>
                      <a:gd name="T22" fmla="*/ 574 w 795"/>
                      <a:gd name="T23" fmla="*/ 169 h 870"/>
                      <a:gd name="T24" fmla="*/ 582 w 795"/>
                      <a:gd name="T25" fmla="*/ 217 h 870"/>
                      <a:gd name="T26" fmla="*/ 688 w 795"/>
                      <a:gd name="T27" fmla="*/ 298 h 870"/>
                      <a:gd name="T28" fmla="*/ 659 w 795"/>
                      <a:gd name="T29" fmla="*/ 398 h 870"/>
                      <a:gd name="T30" fmla="*/ 665 w 795"/>
                      <a:gd name="T31" fmla="*/ 444 h 870"/>
                      <a:gd name="T32" fmla="*/ 713 w 795"/>
                      <a:gd name="T33" fmla="*/ 473 h 870"/>
                      <a:gd name="T34" fmla="*/ 717 w 795"/>
                      <a:gd name="T35" fmla="*/ 494 h 870"/>
                      <a:gd name="T36" fmla="*/ 700 w 795"/>
                      <a:gd name="T37" fmla="*/ 544 h 870"/>
                      <a:gd name="T38" fmla="*/ 705 w 795"/>
                      <a:gd name="T39" fmla="*/ 568 h 870"/>
                      <a:gd name="T40" fmla="*/ 704 w 795"/>
                      <a:gd name="T41" fmla="*/ 607 h 870"/>
                      <a:gd name="T42" fmla="*/ 733 w 795"/>
                      <a:gd name="T43" fmla="*/ 658 h 870"/>
                      <a:gd name="T44" fmla="*/ 768 w 795"/>
                      <a:gd name="T45" fmla="*/ 738 h 870"/>
                      <a:gd name="T46" fmla="*/ 795 w 795"/>
                      <a:gd name="T47" fmla="*/ 757 h 870"/>
                      <a:gd name="T48" fmla="*/ 743 w 795"/>
                      <a:gd name="T49" fmla="*/ 803 h 870"/>
                      <a:gd name="T50" fmla="*/ 668 w 795"/>
                      <a:gd name="T51" fmla="*/ 835 h 870"/>
                      <a:gd name="T52" fmla="*/ 625 w 795"/>
                      <a:gd name="T53" fmla="*/ 833 h 870"/>
                      <a:gd name="T54" fmla="*/ 602 w 795"/>
                      <a:gd name="T55" fmla="*/ 858 h 870"/>
                      <a:gd name="T56" fmla="*/ 553 w 795"/>
                      <a:gd name="T57" fmla="*/ 860 h 870"/>
                      <a:gd name="T58" fmla="*/ 535 w 795"/>
                      <a:gd name="T59" fmla="*/ 870 h 870"/>
                      <a:gd name="T60" fmla="*/ 447 w 795"/>
                      <a:gd name="T61" fmla="*/ 848 h 870"/>
                      <a:gd name="T62" fmla="*/ 420 w 795"/>
                      <a:gd name="T63" fmla="*/ 850 h 870"/>
                      <a:gd name="T64" fmla="*/ 420 w 795"/>
                      <a:gd name="T65" fmla="*/ 849 h 870"/>
                      <a:gd name="T66" fmla="*/ 394 w 795"/>
                      <a:gd name="T67" fmla="*/ 818 h 870"/>
                      <a:gd name="T68" fmla="*/ 380 w 795"/>
                      <a:gd name="T69" fmla="*/ 733 h 870"/>
                      <a:gd name="T70" fmla="*/ 339 w 795"/>
                      <a:gd name="T71" fmla="*/ 689 h 870"/>
                      <a:gd name="T72" fmla="*/ 335 w 795"/>
                      <a:gd name="T73" fmla="*/ 705 h 870"/>
                      <a:gd name="T74" fmla="*/ 320 w 795"/>
                      <a:gd name="T75" fmla="*/ 683 h 870"/>
                      <a:gd name="T76" fmla="*/ 249 w 795"/>
                      <a:gd name="T77" fmla="*/ 668 h 870"/>
                      <a:gd name="T78" fmla="*/ 207 w 795"/>
                      <a:gd name="T79" fmla="*/ 643 h 870"/>
                      <a:gd name="T80" fmla="*/ 159 w 795"/>
                      <a:gd name="T81" fmla="*/ 629 h 870"/>
                      <a:gd name="T82" fmla="*/ 130 w 795"/>
                      <a:gd name="T83" fmla="*/ 617 h 870"/>
                      <a:gd name="T84" fmla="*/ 127 w 795"/>
                      <a:gd name="T85" fmla="*/ 614 h 870"/>
                      <a:gd name="T86" fmla="*/ 84 w 795"/>
                      <a:gd name="T87" fmla="*/ 530 h 870"/>
                      <a:gd name="T88" fmla="*/ 75 w 795"/>
                      <a:gd name="T89" fmla="*/ 480 h 870"/>
                      <a:gd name="T90" fmla="*/ 14 w 795"/>
                      <a:gd name="T91" fmla="*/ 425 h 870"/>
                      <a:gd name="T92" fmla="*/ 29 w 795"/>
                      <a:gd name="T93" fmla="*/ 394 h 870"/>
                      <a:gd name="T94" fmla="*/ 14 w 795"/>
                      <a:gd name="T95" fmla="*/ 362 h 870"/>
                      <a:gd name="T96" fmla="*/ 14 w 795"/>
                      <a:gd name="T97" fmla="*/ 327 h 870"/>
                      <a:gd name="T98" fmla="*/ 0 w 795"/>
                      <a:gd name="T99" fmla="*/ 315 h 870"/>
                      <a:gd name="T100" fmla="*/ 2 w 795"/>
                      <a:gd name="T101" fmla="*/ 280 h 870"/>
                      <a:gd name="T102" fmla="*/ 9 w 795"/>
                      <a:gd name="T103" fmla="*/ 279 h 870"/>
                      <a:gd name="T104" fmla="*/ 34 w 795"/>
                      <a:gd name="T105" fmla="*/ 250 h 870"/>
                      <a:gd name="T106" fmla="*/ 59 w 795"/>
                      <a:gd name="T107" fmla="*/ 208 h 870"/>
                      <a:gd name="T108" fmla="*/ 77 w 795"/>
                      <a:gd name="T109" fmla="*/ 190 h 870"/>
                      <a:gd name="T110" fmla="*/ 75 w 795"/>
                      <a:gd name="T111" fmla="*/ 164 h 870"/>
                      <a:gd name="T112" fmla="*/ 59 w 795"/>
                      <a:gd name="T113" fmla="*/ 145 h 870"/>
                      <a:gd name="T114" fmla="*/ 54 w 795"/>
                      <a:gd name="T115" fmla="*/ 114 h 870"/>
                      <a:gd name="T116" fmla="*/ 74 w 795"/>
                      <a:gd name="T117" fmla="*/ 103 h 870"/>
                      <a:gd name="T118" fmla="*/ 77 w 795"/>
                      <a:gd name="T119" fmla="*/ 55 h 870"/>
                      <a:gd name="T120" fmla="*/ 48 w 795"/>
                      <a:gd name="T121" fmla="*/ 9 h 870"/>
                      <a:gd name="T122" fmla="*/ 73 w 795"/>
                      <a:gd name="T123" fmla="*/ 0 h 870"/>
                      <a:gd name="T124" fmla="*/ 152 w 795"/>
                      <a:gd name="T125" fmla="*/ 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5" h="870">
                        <a:moveTo>
                          <a:pt x="152" y="0"/>
                        </a:moveTo>
                        <a:lnTo>
                          <a:pt x="150" y="50"/>
                        </a:lnTo>
                        <a:lnTo>
                          <a:pt x="138" y="107"/>
                        </a:lnTo>
                        <a:lnTo>
                          <a:pt x="159" y="138"/>
                        </a:lnTo>
                        <a:lnTo>
                          <a:pt x="190" y="120"/>
                        </a:lnTo>
                        <a:lnTo>
                          <a:pt x="232" y="115"/>
                        </a:lnTo>
                        <a:lnTo>
                          <a:pt x="242" y="124"/>
                        </a:lnTo>
                        <a:lnTo>
                          <a:pt x="282" y="104"/>
                        </a:lnTo>
                        <a:lnTo>
                          <a:pt x="253" y="77"/>
                        </a:lnTo>
                        <a:lnTo>
                          <a:pt x="275" y="40"/>
                        </a:lnTo>
                        <a:lnTo>
                          <a:pt x="310" y="4"/>
                        </a:lnTo>
                        <a:lnTo>
                          <a:pt x="574" y="169"/>
                        </a:lnTo>
                        <a:lnTo>
                          <a:pt x="582" y="217"/>
                        </a:lnTo>
                        <a:lnTo>
                          <a:pt x="688" y="298"/>
                        </a:lnTo>
                        <a:lnTo>
                          <a:pt x="659" y="398"/>
                        </a:lnTo>
                        <a:lnTo>
                          <a:pt x="665" y="444"/>
                        </a:lnTo>
                        <a:lnTo>
                          <a:pt x="713" y="473"/>
                        </a:lnTo>
                        <a:lnTo>
                          <a:pt x="717" y="494"/>
                        </a:lnTo>
                        <a:lnTo>
                          <a:pt x="700" y="544"/>
                        </a:lnTo>
                        <a:lnTo>
                          <a:pt x="705" y="568"/>
                        </a:lnTo>
                        <a:lnTo>
                          <a:pt x="704" y="607"/>
                        </a:lnTo>
                        <a:lnTo>
                          <a:pt x="733" y="658"/>
                        </a:lnTo>
                        <a:lnTo>
                          <a:pt x="768" y="738"/>
                        </a:lnTo>
                        <a:lnTo>
                          <a:pt x="795" y="757"/>
                        </a:lnTo>
                        <a:lnTo>
                          <a:pt x="743" y="803"/>
                        </a:lnTo>
                        <a:lnTo>
                          <a:pt x="668" y="835"/>
                        </a:lnTo>
                        <a:lnTo>
                          <a:pt x="625" y="833"/>
                        </a:lnTo>
                        <a:lnTo>
                          <a:pt x="602" y="858"/>
                        </a:lnTo>
                        <a:lnTo>
                          <a:pt x="553" y="860"/>
                        </a:lnTo>
                        <a:lnTo>
                          <a:pt x="535" y="870"/>
                        </a:lnTo>
                        <a:lnTo>
                          <a:pt x="447" y="848"/>
                        </a:lnTo>
                        <a:lnTo>
                          <a:pt x="420" y="850"/>
                        </a:lnTo>
                        <a:lnTo>
                          <a:pt x="420" y="849"/>
                        </a:lnTo>
                        <a:lnTo>
                          <a:pt x="394" y="818"/>
                        </a:lnTo>
                        <a:lnTo>
                          <a:pt x="380" y="733"/>
                        </a:lnTo>
                        <a:lnTo>
                          <a:pt x="339" y="689"/>
                        </a:lnTo>
                        <a:lnTo>
                          <a:pt x="335" y="705"/>
                        </a:lnTo>
                        <a:lnTo>
                          <a:pt x="320" y="683"/>
                        </a:lnTo>
                        <a:lnTo>
                          <a:pt x="249" y="668"/>
                        </a:lnTo>
                        <a:lnTo>
                          <a:pt x="207" y="643"/>
                        </a:lnTo>
                        <a:lnTo>
                          <a:pt x="159" y="629"/>
                        </a:lnTo>
                        <a:lnTo>
                          <a:pt x="130" y="617"/>
                        </a:lnTo>
                        <a:lnTo>
                          <a:pt x="127" y="614"/>
                        </a:lnTo>
                        <a:lnTo>
                          <a:pt x="84" y="530"/>
                        </a:lnTo>
                        <a:lnTo>
                          <a:pt x="75" y="480"/>
                        </a:lnTo>
                        <a:lnTo>
                          <a:pt x="14" y="425"/>
                        </a:lnTo>
                        <a:lnTo>
                          <a:pt x="29" y="394"/>
                        </a:lnTo>
                        <a:lnTo>
                          <a:pt x="14" y="362"/>
                        </a:lnTo>
                        <a:lnTo>
                          <a:pt x="14" y="327"/>
                        </a:lnTo>
                        <a:lnTo>
                          <a:pt x="0" y="315"/>
                        </a:lnTo>
                        <a:lnTo>
                          <a:pt x="2" y="280"/>
                        </a:lnTo>
                        <a:lnTo>
                          <a:pt x="9" y="279"/>
                        </a:lnTo>
                        <a:lnTo>
                          <a:pt x="34" y="250"/>
                        </a:lnTo>
                        <a:lnTo>
                          <a:pt x="59" y="208"/>
                        </a:lnTo>
                        <a:lnTo>
                          <a:pt x="77" y="190"/>
                        </a:lnTo>
                        <a:lnTo>
                          <a:pt x="75" y="164"/>
                        </a:lnTo>
                        <a:lnTo>
                          <a:pt x="59" y="145"/>
                        </a:lnTo>
                        <a:lnTo>
                          <a:pt x="54" y="114"/>
                        </a:lnTo>
                        <a:lnTo>
                          <a:pt x="74" y="103"/>
                        </a:lnTo>
                        <a:lnTo>
                          <a:pt x="77" y="55"/>
                        </a:lnTo>
                        <a:lnTo>
                          <a:pt x="48" y="9"/>
                        </a:lnTo>
                        <a:lnTo>
                          <a:pt x="73" y="0"/>
                        </a:lnTo>
                        <a:lnTo>
                          <a:pt x="152"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4" name="Uganda" descr="{&quot;Key&quot;:&quot;uganda&quot;,&quot;Name&quot;:&quot;Uganda&quot;,&quot;Value&quot;:1.0,&quot;Formula&quot;:&quot;&quot;,&quot;Text&quot;:&quot;&quot;,&quot;OfficeApplication&quot;:1,&quot;HasValue&quot;:true}">
                    <a:extLst>
                      <a:ext uri="{FF2B5EF4-FFF2-40B4-BE49-F238E27FC236}">
                        <a16:creationId xmlns:a16="http://schemas.microsoft.com/office/drawing/2014/main" id="{B6F47726-BF38-840C-C9AA-935F8D33CDAA}"/>
                      </a:ext>
                    </a:extLst>
                  </p:cNvPr>
                  <p:cNvSpPr>
                    <a:spLocks/>
                  </p:cNvSpPr>
                  <p:nvPr/>
                </p:nvSpPr>
                <p:spPr bwMode="auto">
                  <a:xfrm>
                    <a:off x="1407" y="2688"/>
                    <a:ext cx="109" cy="130"/>
                  </a:xfrm>
                  <a:custGeom>
                    <a:avLst/>
                    <a:gdLst>
                      <a:gd name="T0" fmla="*/ 325 w 392"/>
                      <a:gd name="T1" fmla="*/ 0 h 463"/>
                      <a:gd name="T2" fmla="*/ 357 w 392"/>
                      <a:gd name="T3" fmla="*/ 56 h 463"/>
                      <a:gd name="T4" fmla="*/ 364 w 392"/>
                      <a:gd name="T5" fmla="*/ 97 h 463"/>
                      <a:gd name="T6" fmla="*/ 392 w 392"/>
                      <a:gd name="T7" fmla="*/ 191 h 463"/>
                      <a:gd name="T8" fmla="*/ 365 w 392"/>
                      <a:gd name="T9" fmla="*/ 250 h 463"/>
                      <a:gd name="T10" fmla="*/ 329 w 392"/>
                      <a:gd name="T11" fmla="*/ 303 h 463"/>
                      <a:gd name="T12" fmla="*/ 309 w 392"/>
                      <a:gd name="T13" fmla="*/ 337 h 463"/>
                      <a:gd name="T14" fmla="*/ 309 w 392"/>
                      <a:gd name="T15" fmla="*/ 341 h 463"/>
                      <a:gd name="T16" fmla="*/ 305 w 392"/>
                      <a:gd name="T17" fmla="*/ 335 h 463"/>
                      <a:gd name="T18" fmla="*/ 269 w 392"/>
                      <a:gd name="T19" fmla="*/ 320 h 463"/>
                      <a:gd name="T20" fmla="*/ 237 w 392"/>
                      <a:gd name="T21" fmla="*/ 338 h 463"/>
                      <a:gd name="T22" fmla="*/ 192 w 392"/>
                      <a:gd name="T23" fmla="*/ 350 h 463"/>
                      <a:gd name="T24" fmla="*/ 160 w 392"/>
                      <a:gd name="T25" fmla="*/ 397 h 463"/>
                      <a:gd name="T26" fmla="*/ 164 w 392"/>
                      <a:gd name="T27" fmla="*/ 428 h 463"/>
                      <a:gd name="T28" fmla="*/ 85 w 392"/>
                      <a:gd name="T29" fmla="*/ 428 h 463"/>
                      <a:gd name="T30" fmla="*/ 60 w 392"/>
                      <a:gd name="T31" fmla="*/ 437 h 463"/>
                      <a:gd name="T32" fmla="*/ 17 w 392"/>
                      <a:gd name="T33" fmla="*/ 463 h 463"/>
                      <a:gd name="T34" fmla="*/ 0 w 392"/>
                      <a:gd name="T35" fmla="*/ 455 h 463"/>
                      <a:gd name="T36" fmla="*/ 0 w 392"/>
                      <a:gd name="T37" fmla="*/ 393 h 463"/>
                      <a:gd name="T38" fmla="*/ 16 w 392"/>
                      <a:gd name="T39" fmla="*/ 362 h 463"/>
                      <a:gd name="T40" fmla="*/ 20 w 392"/>
                      <a:gd name="T41" fmla="*/ 297 h 463"/>
                      <a:gd name="T42" fmla="*/ 36 w 392"/>
                      <a:gd name="T43" fmla="*/ 260 h 463"/>
                      <a:gd name="T44" fmla="*/ 64 w 392"/>
                      <a:gd name="T45" fmla="*/ 217 h 463"/>
                      <a:gd name="T46" fmla="*/ 92 w 392"/>
                      <a:gd name="T47" fmla="*/ 195 h 463"/>
                      <a:gd name="T48" fmla="*/ 116 w 392"/>
                      <a:gd name="T49" fmla="*/ 166 h 463"/>
                      <a:gd name="T50" fmla="*/ 87 w 392"/>
                      <a:gd name="T51" fmla="*/ 156 h 463"/>
                      <a:gd name="T52" fmla="*/ 95 w 392"/>
                      <a:gd name="T53" fmla="*/ 60 h 463"/>
                      <a:gd name="T54" fmla="*/ 126 w 392"/>
                      <a:gd name="T55" fmla="*/ 38 h 463"/>
                      <a:gd name="T56" fmla="*/ 170 w 392"/>
                      <a:gd name="T57" fmla="*/ 56 h 463"/>
                      <a:gd name="T58" fmla="*/ 229 w 392"/>
                      <a:gd name="T59" fmla="*/ 37 h 463"/>
                      <a:gd name="T60" fmla="*/ 280 w 392"/>
                      <a:gd name="T61" fmla="*/ 37 h 463"/>
                      <a:gd name="T62" fmla="*/ 325 w 392"/>
                      <a:gd name="T63"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2" h="463">
                        <a:moveTo>
                          <a:pt x="325" y="0"/>
                        </a:moveTo>
                        <a:lnTo>
                          <a:pt x="357" y="56"/>
                        </a:lnTo>
                        <a:lnTo>
                          <a:pt x="364" y="97"/>
                        </a:lnTo>
                        <a:lnTo>
                          <a:pt x="392" y="191"/>
                        </a:lnTo>
                        <a:lnTo>
                          <a:pt x="365" y="250"/>
                        </a:lnTo>
                        <a:lnTo>
                          <a:pt x="329" y="303"/>
                        </a:lnTo>
                        <a:lnTo>
                          <a:pt x="309" y="337"/>
                        </a:lnTo>
                        <a:lnTo>
                          <a:pt x="309" y="341"/>
                        </a:lnTo>
                        <a:lnTo>
                          <a:pt x="305" y="335"/>
                        </a:lnTo>
                        <a:lnTo>
                          <a:pt x="269" y="320"/>
                        </a:lnTo>
                        <a:lnTo>
                          <a:pt x="237" y="338"/>
                        </a:lnTo>
                        <a:lnTo>
                          <a:pt x="192" y="350"/>
                        </a:lnTo>
                        <a:lnTo>
                          <a:pt x="160" y="397"/>
                        </a:lnTo>
                        <a:lnTo>
                          <a:pt x="164" y="428"/>
                        </a:lnTo>
                        <a:lnTo>
                          <a:pt x="85" y="428"/>
                        </a:lnTo>
                        <a:lnTo>
                          <a:pt x="60" y="437"/>
                        </a:lnTo>
                        <a:lnTo>
                          <a:pt x="17" y="463"/>
                        </a:lnTo>
                        <a:lnTo>
                          <a:pt x="0" y="455"/>
                        </a:lnTo>
                        <a:lnTo>
                          <a:pt x="0" y="393"/>
                        </a:lnTo>
                        <a:lnTo>
                          <a:pt x="16" y="362"/>
                        </a:lnTo>
                        <a:lnTo>
                          <a:pt x="20" y="297"/>
                        </a:lnTo>
                        <a:lnTo>
                          <a:pt x="36" y="260"/>
                        </a:lnTo>
                        <a:lnTo>
                          <a:pt x="64" y="217"/>
                        </a:lnTo>
                        <a:lnTo>
                          <a:pt x="92" y="195"/>
                        </a:lnTo>
                        <a:lnTo>
                          <a:pt x="116" y="166"/>
                        </a:lnTo>
                        <a:lnTo>
                          <a:pt x="87" y="156"/>
                        </a:lnTo>
                        <a:lnTo>
                          <a:pt x="95" y="60"/>
                        </a:lnTo>
                        <a:lnTo>
                          <a:pt x="126" y="38"/>
                        </a:lnTo>
                        <a:lnTo>
                          <a:pt x="170" y="56"/>
                        </a:lnTo>
                        <a:lnTo>
                          <a:pt x="229" y="37"/>
                        </a:lnTo>
                        <a:lnTo>
                          <a:pt x="280" y="37"/>
                        </a:lnTo>
                        <a:lnTo>
                          <a:pt x="325"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5" name="Ukrain" descr="{&quot;Key&quot;:&quot;ukrain&quot;,&quot;Name&quot;:&quot;Ukrain&quot;,&quot;Value&quot;:1.0,&quot;Formula&quot;:&quot;&quot;,&quot;Text&quot;:&quot;&quot;,&quot;OfficeApplication&quot;:1,&quot;HasValue&quot;:true}">
                    <a:extLst>
                      <a:ext uri="{FF2B5EF4-FFF2-40B4-BE49-F238E27FC236}">
                        <a16:creationId xmlns:a16="http://schemas.microsoft.com/office/drawing/2014/main" id="{C38A2DB9-5A7D-780D-F0B1-43024B60DF1D}"/>
                      </a:ext>
                    </a:extLst>
                  </p:cNvPr>
                  <p:cNvSpPr>
                    <a:spLocks/>
                  </p:cNvSpPr>
                  <p:nvPr/>
                </p:nvSpPr>
                <p:spPr bwMode="auto">
                  <a:xfrm>
                    <a:off x="1571" y="1605"/>
                    <a:ext cx="331" cy="176"/>
                  </a:xfrm>
                  <a:custGeom>
                    <a:avLst/>
                    <a:gdLst>
                      <a:gd name="T0" fmla="*/ 303 w 1188"/>
                      <a:gd name="T1" fmla="*/ 541 h 630"/>
                      <a:gd name="T2" fmla="*/ 245 w 1188"/>
                      <a:gd name="T3" fmla="*/ 540 h 630"/>
                      <a:gd name="T4" fmla="*/ 294 w 1188"/>
                      <a:gd name="T5" fmla="*/ 503 h 630"/>
                      <a:gd name="T6" fmla="*/ 330 w 1188"/>
                      <a:gd name="T7" fmla="*/ 463 h 630"/>
                      <a:gd name="T8" fmla="*/ 348 w 1188"/>
                      <a:gd name="T9" fmla="*/ 468 h 630"/>
                      <a:gd name="T10" fmla="*/ 404 w 1188"/>
                      <a:gd name="T11" fmla="*/ 465 h 630"/>
                      <a:gd name="T12" fmla="*/ 409 w 1188"/>
                      <a:gd name="T13" fmla="*/ 445 h 630"/>
                      <a:gd name="T14" fmla="*/ 409 w 1188"/>
                      <a:gd name="T15" fmla="*/ 392 h 630"/>
                      <a:gd name="T16" fmla="*/ 415 w 1188"/>
                      <a:gd name="T17" fmla="*/ 352 h 630"/>
                      <a:gd name="T18" fmla="*/ 377 w 1188"/>
                      <a:gd name="T19" fmla="*/ 327 h 630"/>
                      <a:gd name="T20" fmla="*/ 299 w 1188"/>
                      <a:gd name="T21" fmla="*/ 311 h 630"/>
                      <a:gd name="T22" fmla="*/ 249 w 1188"/>
                      <a:gd name="T23" fmla="*/ 322 h 630"/>
                      <a:gd name="T24" fmla="*/ 170 w 1188"/>
                      <a:gd name="T25" fmla="*/ 348 h 630"/>
                      <a:gd name="T26" fmla="*/ 124 w 1188"/>
                      <a:gd name="T27" fmla="*/ 341 h 630"/>
                      <a:gd name="T28" fmla="*/ 50 w 1188"/>
                      <a:gd name="T29" fmla="*/ 332 h 630"/>
                      <a:gd name="T30" fmla="*/ 22 w 1188"/>
                      <a:gd name="T31" fmla="*/ 328 h 630"/>
                      <a:gd name="T32" fmla="*/ 34 w 1188"/>
                      <a:gd name="T33" fmla="*/ 275 h 630"/>
                      <a:gd name="T34" fmla="*/ 77 w 1188"/>
                      <a:gd name="T35" fmla="*/ 258 h 630"/>
                      <a:gd name="T36" fmla="*/ 188 w 1188"/>
                      <a:gd name="T37" fmla="*/ 157 h 630"/>
                      <a:gd name="T38" fmla="*/ 248 w 1188"/>
                      <a:gd name="T39" fmla="*/ 127 h 630"/>
                      <a:gd name="T40" fmla="*/ 298 w 1188"/>
                      <a:gd name="T41" fmla="*/ 55 h 630"/>
                      <a:gd name="T42" fmla="*/ 397 w 1188"/>
                      <a:gd name="T43" fmla="*/ 32 h 630"/>
                      <a:gd name="T44" fmla="*/ 509 w 1188"/>
                      <a:gd name="T45" fmla="*/ 57 h 630"/>
                      <a:gd name="T46" fmla="*/ 572 w 1188"/>
                      <a:gd name="T47" fmla="*/ 70 h 630"/>
                      <a:gd name="T48" fmla="*/ 608 w 1188"/>
                      <a:gd name="T49" fmla="*/ 75 h 630"/>
                      <a:gd name="T50" fmla="*/ 685 w 1188"/>
                      <a:gd name="T51" fmla="*/ 78 h 630"/>
                      <a:gd name="T52" fmla="*/ 748 w 1188"/>
                      <a:gd name="T53" fmla="*/ 22 h 630"/>
                      <a:gd name="T54" fmla="*/ 824 w 1188"/>
                      <a:gd name="T55" fmla="*/ 21 h 630"/>
                      <a:gd name="T56" fmla="*/ 868 w 1188"/>
                      <a:gd name="T57" fmla="*/ 7 h 630"/>
                      <a:gd name="T58" fmla="*/ 945 w 1188"/>
                      <a:gd name="T59" fmla="*/ 43 h 630"/>
                      <a:gd name="T60" fmla="*/ 908 w 1188"/>
                      <a:gd name="T61" fmla="*/ 83 h 630"/>
                      <a:gd name="T62" fmla="*/ 954 w 1188"/>
                      <a:gd name="T63" fmla="*/ 121 h 630"/>
                      <a:gd name="T64" fmla="*/ 1004 w 1188"/>
                      <a:gd name="T65" fmla="*/ 165 h 630"/>
                      <a:gd name="T66" fmla="*/ 1075 w 1188"/>
                      <a:gd name="T67" fmla="*/ 188 h 630"/>
                      <a:gd name="T68" fmla="*/ 1188 w 1188"/>
                      <a:gd name="T69" fmla="*/ 213 h 630"/>
                      <a:gd name="T70" fmla="*/ 1125 w 1188"/>
                      <a:gd name="T71" fmla="*/ 278 h 630"/>
                      <a:gd name="T72" fmla="*/ 1089 w 1188"/>
                      <a:gd name="T73" fmla="*/ 348 h 630"/>
                      <a:gd name="T74" fmla="*/ 979 w 1188"/>
                      <a:gd name="T75" fmla="*/ 376 h 630"/>
                      <a:gd name="T76" fmla="*/ 903 w 1188"/>
                      <a:gd name="T77" fmla="*/ 417 h 630"/>
                      <a:gd name="T78" fmla="*/ 784 w 1188"/>
                      <a:gd name="T79" fmla="*/ 447 h 630"/>
                      <a:gd name="T80" fmla="*/ 688 w 1188"/>
                      <a:gd name="T81" fmla="*/ 527 h 630"/>
                      <a:gd name="T82" fmla="*/ 777 w 1188"/>
                      <a:gd name="T83" fmla="*/ 541 h 630"/>
                      <a:gd name="T84" fmla="*/ 670 w 1188"/>
                      <a:gd name="T85" fmla="*/ 583 h 630"/>
                      <a:gd name="T86" fmla="*/ 530 w 1188"/>
                      <a:gd name="T87" fmla="*/ 613 h 630"/>
                      <a:gd name="T88" fmla="*/ 509 w 1188"/>
                      <a:gd name="T89" fmla="*/ 552 h 630"/>
                      <a:gd name="T90" fmla="*/ 605 w 1188"/>
                      <a:gd name="T91" fmla="*/ 511 h 630"/>
                      <a:gd name="T92" fmla="*/ 509 w 1188"/>
                      <a:gd name="T93" fmla="*/ 472 h 630"/>
                      <a:gd name="T94" fmla="*/ 458 w 1188"/>
                      <a:gd name="T95" fmla="*/ 452 h 630"/>
                      <a:gd name="T96" fmla="*/ 324 w 1188"/>
                      <a:gd name="T97" fmla="*/ 555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8" h="630">
                        <a:moveTo>
                          <a:pt x="324" y="555"/>
                        </a:moveTo>
                        <a:lnTo>
                          <a:pt x="303" y="541"/>
                        </a:lnTo>
                        <a:lnTo>
                          <a:pt x="265" y="555"/>
                        </a:lnTo>
                        <a:lnTo>
                          <a:pt x="245" y="540"/>
                        </a:lnTo>
                        <a:lnTo>
                          <a:pt x="266" y="531"/>
                        </a:lnTo>
                        <a:lnTo>
                          <a:pt x="294" y="503"/>
                        </a:lnTo>
                        <a:lnTo>
                          <a:pt x="327" y="478"/>
                        </a:lnTo>
                        <a:lnTo>
                          <a:pt x="330" y="463"/>
                        </a:lnTo>
                        <a:lnTo>
                          <a:pt x="348" y="457"/>
                        </a:lnTo>
                        <a:lnTo>
                          <a:pt x="348" y="468"/>
                        </a:lnTo>
                        <a:lnTo>
                          <a:pt x="384" y="471"/>
                        </a:lnTo>
                        <a:lnTo>
                          <a:pt x="404" y="465"/>
                        </a:lnTo>
                        <a:lnTo>
                          <a:pt x="396" y="457"/>
                        </a:lnTo>
                        <a:lnTo>
                          <a:pt x="409" y="445"/>
                        </a:lnTo>
                        <a:lnTo>
                          <a:pt x="399" y="425"/>
                        </a:lnTo>
                        <a:lnTo>
                          <a:pt x="409" y="392"/>
                        </a:lnTo>
                        <a:lnTo>
                          <a:pt x="394" y="378"/>
                        </a:lnTo>
                        <a:lnTo>
                          <a:pt x="415" y="352"/>
                        </a:lnTo>
                        <a:lnTo>
                          <a:pt x="400" y="331"/>
                        </a:lnTo>
                        <a:lnTo>
                          <a:pt x="377" y="327"/>
                        </a:lnTo>
                        <a:lnTo>
                          <a:pt x="345" y="303"/>
                        </a:lnTo>
                        <a:lnTo>
                          <a:pt x="299" y="311"/>
                        </a:lnTo>
                        <a:lnTo>
                          <a:pt x="277" y="322"/>
                        </a:lnTo>
                        <a:lnTo>
                          <a:pt x="249" y="322"/>
                        </a:lnTo>
                        <a:lnTo>
                          <a:pt x="222" y="341"/>
                        </a:lnTo>
                        <a:lnTo>
                          <a:pt x="170" y="348"/>
                        </a:lnTo>
                        <a:lnTo>
                          <a:pt x="140" y="361"/>
                        </a:lnTo>
                        <a:lnTo>
                          <a:pt x="124" y="341"/>
                        </a:lnTo>
                        <a:lnTo>
                          <a:pt x="84" y="341"/>
                        </a:lnTo>
                        <a:lnTo>
                          <a:pt x="50" y="332"/>
                        </a:lnTo>
                        <a:lnTo>
                          <a:pt x="12" y="350"/>
                        </a:lnTo>
                        <a:lnTo>
                          <a:pt x="22" y="328"/>
                        </a:lnTo>
                        <a:lnTo>
                          <a:pt x="0" y="306"/>
                        </a:lnTo>
                        <a:lnTo>
                          <a:pt x="34" y="275"/>
                        </a:lnTo>
                        <a:lnTo>
                          <a:pt x="67" y="253"/>
                        </a:lnTo>
                        <a:lnTo>
                          <a:pt x="77" y="258"/>
                        </a:lnTo>
                        <a:lnTo>
                          <a:pt x="85" y="223"/>
                        </a:lnTo>
                        <a:lnTo>
                          <a:pt x="188" y="157"/>
                        </a:lnTo>
                        <a:lnTo>
                          <a:pt x="225" y="148"/>
                        </a:lnTo>
                        <a:lnTo>
                          <a:pt x="248" y="127"/>
                        </a:lnTo>
                        <a:lnTo>
                          <a:pt x="267" y="58"/>
                        </a:lnTo>
                        <a:lnTo>
                          <a:pt x="298" y="55"/>
                        </a:lnTo>
                        <a:lnTo>
                          <a:pt x="348" y="35"/>
                        </a:lnTo>
                        <a:lnTo>
                          <a:pt x="397" y="32"/>
                        </a:lnTo>
                        <a:lnTo>
                          <a:pt x="454" y="38"/>
                        </a:lnTo>
                        <a:lnTo>
                          <a:pt x="509" y="57"/>
                        </a:lnTo>
                        <a:lnTo>
                          <a:pt x="557" y="58"/>
                        </a:lnTo>
                        <a:lnTo>
                          <a:pt x="572" y="70"/>
                        </a:lnTo>
                        <a:lnTo>
                          <a:pt x="604" y="56"/>
                        </a:lnTo>
                        <a:lnTo>
                          <a:pt x="608" y="75"/>
                        </a:lnTo>
                        <a:lnTo>
                          <a:pt x="665" y="71"/>
                        </a:lnTo>
                        <a:lnTo>
                          <a:pt x="685" y="78"/>
                        </a:lnTo>
                        <a:lnTo>
                          <a:pt x="717" y="40"/>
                        </a:lnTo>
                        <a:lnTo>
                          <a:pt x="748" y="22"/>
                        </a:lnTo>
                        <a:lnTo>
                          <a:pt x="804" y="17"/>
                        </a:lnTo>
                        <a:lnTo>
                          <a:pt x="824" y="21"/>
                        </a:lnTo>
                        <a:lnTo>
                          <a:pt x="853" y="3"/>
                        </a:lnTo>
                        <a:lnTo>
                          <a:pt x="868" y="7"/>
                        </a:lnTo>
                        <a:lnTo>
                          <a:pt x="938" y="0"/>
                        </a:lnTo>
                        <a:lnTo>
                          <a:pt x="945" y="43"/>
                        </a:lnTo>
                        <a:lnTo>
                          <a:pt x="919" y="60"/>
                        </a:lnTo>
                        <a:lnTo>
                          <a:pt x="908" y="83"/>
                        </a:lnTo>
                        <a:lnTo>
                          <a:pt x="955" y="87"/>
                        </a:lnTo>
                        <a:lnTo>
                          <a:pt x="954" y="121"/>
                        </a:lnTo>
                        <a:lnTo>
                          <a:pt x="943" y="137"/>
                        </a:lnTo>
                        <a:lnTo>
                          <a:pt x="1004" y="165"/>
                        </a:lnTo>
                        <a:lnTo>
                          <a:pt x="1059" y="152"/>
                        </a:lnTo>
                        <a:lnTo>
                          <a:pt x="1075" y="188"/>
                        </a:lnTo>
                        <a:lnTo>
                          <a:pt x="1112" y="187"/>
                        </a:lnTo>
                        <a:lnTo>
                          <a:pt x="1188" y="213"/>
                        </a:lnTo>
                        <a:lnTo>
                          <a:pt x="1175" y="236"/>
                        </a:lnTo>
                        <a:lnTo>
                          <a:pt x="1125" y="278"/>
                        </a:lnTo>
                        <a:lnTo>
                          <a:pt x="1114" y="321"/>
                        </a:lnTo>
                        <a:lnTo>
                          <a:pt x="1089" y="348"/>
                        </a:lnTo>
                        <a:lnTo>
                          <a:pt x="1024" y="353"/>
                        </a:lnTo>
                        <a:lnTo>
                          <a:pt x="979" y="376"/>
                        </a:lnTo>
                        <a:lnTo>
                          <a:pt x="957" y="411"/>
                        </a:lnTo>
                        <a:lnTo>
                          <a:pt x="903" y="417"/>
                        </a:lnTo>
                        <a:lnTo>
                          <a:pt x="847" y="443"/>
                        </a:lnTo>
                        <a:lnTo>
                          <a:pt x="784" y="447"/>
                        </a:lnTo>
                        <a:lnTo>
                          <a:pt x="713" y="477"/>
                        </a:lnTo>
                        <a:lnTo>
                          <a:pt x="688" y="527"/>
                        </a:lnTo>
                        <a:lnTo>
                          <a:pt x="709" y="546"/>
                        </a:lnTo>
                        <a:lnTo>
                          <a:pt x="777" y="541"/>
                        </a:lnTo>
                        <a:lnTo>
                          <a:pt x="749" y="570"/>
                        </a:lnTo>
                        <a:lnTo>
                          <a:pt x="670" y="583"/>
                        </a:lnTo>
                        <a:lnTo>
                          <a:pt x="558" y="630"/>
                        </a:lnTo>
                        <a:lnTo>
                          <a:pt x="530" y="613"/>
                        </a:lnTo>
                        <a:lnTo>
                          <a:pt x="565" y="576"/>
                        </a:lnTo>
                        <a:lnTo>
                          <a:pt x="509" y="552"/>
                        </a:lnTo>
                        <a:lnTo>
                          <a:pt x="529" y="537"/>
                        </a:lnTo>
                        <a:lnTo>
                          <a:pt x="605" y="511"/>
                        </a:lnTo>
                        <a:lnTo>
                          <a:pt x="598" y="492"/>
                        </a:lnTo>
                        <a:lnTo>
                          <a:pt x="509" y="472"/>
                        </a:lnTo>
                        <a:lnTo>
                          <a:pt x="523" y="442"/>
                        </a:lnTo>
                        <a:lnTo>
                          <a:pt x="458" y="452"/>
                        </a:lnTo>
                        <a:lnTo>
                          <a:pt x="408" y="496"/>
                        </a:lnTo>
                        <a:lnTo>
                          <a:pt x="324" y="55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6" name="Uruguay" descr="{&quot;Key&quot;:&quot;uruguay&quot;,&quot;Name&quot;:&quot;Uruguay&quot;,&quot;Value&quot;:1.0,&quot;Formula&quot;:&quot;&quot;,&quot;Text&quot;:&quot;&quot;,&quot;OfficeApplication&quot;:1,&quot;HasValue&quot;:true}">
                    <a:extLst>
                      <a:ext uri="{FF2B5EF4-FFF2-40B4-BE49-F238E27FC236}">
                        <a16:creationId xmlns:a16="http://schemas.microsoft.com/office/drawing/2014/main" id="{356F7964-8B40-2133-269B-3C635ED38DF8}"/>
                      </a:ext>
                    </a:extLst>
                  </p:cNvPr>
                  <p:cNvSpPr>
                    <a:spLocks/>
                  </p:cNvSpPr>
                  <p:nvPr/>
                </p:nvSpPr>
                <p:spPr bwMode="auto">
                  <a:xfrm>
                    <a:off x="6690" y="3467"/>
                    <a:ext cx="112" cy="110"/>
                  </a:xfrm>
                  <a:custGeom>
                    <a:avLst/>
                    <a:gdLst>
                      <a:gd name="T0" fmla="*/ 349 w 403"/>
                      <a:gd name="T1" fmla="*/ 298 h 394"/>
                      <a:gd name="T2" fmla="*/ 294 w 403"/>
                      <a:gd name="T3" fmla="*/ 348 h 394"/>
                      <a:gd name="T4" fmla="*/ 194 w 403"/>
                      <a:gd name="T5" fmla="*/ 394 h 394"/>
                      <a:gd name="T6" fmla="*/ 153 w 403"/>
                      <a:gd name="T7" fmla="*/ 378 h 394"/>
                      <a:gd name="T8" fmla="*/ 112 w 403"/>
                      <a:gd name="T9" fmla="*/ 387 h 394"/>
                      <a:gd name="T10" fmla="*/ 67 w 403"/>
                      <a:gd name="T11" fmla="*/ 352 h 394"/>
                      <a:gd name="T12" fmla="*/ 19 w 403"/>
                      <a:gd name="T13" fmla="*/ 354 h 394"/>
                      <a:gd name="T14" fmla="*/ 0 w 403"/>
                      <a:gd name="T15" fmla="*/ 309 h 394"/>
                      <a:gd name="T16" fmla="*/ 30 w 403"/>
                      <a:gd name="T17" fmla="*/ 257 h 394"/>
                      <a:gd name="T18" fmla="*/ 54 w 403"/>
                      <a:gd name="T19" fmla="*/ 238 h 394"/>
                      <a:gd name="T20" fmla="*/ 92 w 403"/>
                      <a:gd name="T21" fmla="*/ 158 h 394"/>
                      <a:gd name="T22" fmla="*/ 147 w 403"/>
                      <a:gd name="T23" fmla="*/ 74 h 394"/>
                      <a:gd name="T24" fmla="*/ 192 w 403"/>
                      <a:gd name="T25" fmla="*/ 9 h 394"/>
                      <a:gd name="T26" fmla="*/ 240 w 403"/>
                      <a:gd name="T27" fmla="*/ 0 h 394"/>
                      <a:gd name="T28" fmla="*/ 283 w 403"/>
                      <a:gd name="T29" fmla="*/ 63 h 394"/>
                      <a:gd name="T30" fmla="*/ 309 w 403"/>
                      <a:gd name="T31" fmla="*/ 60 h 394"/>
                      <a:gd name="T32" fmla="*/ 357 w 403"/>
                      <a:gd name="T33" fmla="*/ 113 h 394"/>
                      <a:gd name="T34" fmla="*/ 389 w 403"/>
                      <a:gd name="T35" fmla="*/ 158 h 394"/>
                      <a:gd name="T36" fmla="*/ 403 w 403"/>
                      <a:gd name="T37" fmla="*/ 213 h 394"/>
                      <a:gd name="T38" fmla="*/ 354 w 403"/>
                      <a:gd name="T39" fmla="*/ 252 h 394"/>
                      <a:gd name="T40" fmla="*/ 349 w 403"/>
                      <a:gd name="T41" fmla="*/ 29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3" h="394">
                        <a:moveTo>
                          <a:pt x="349" y="298"/>
                        </a:moveTo>
                        <a:lnTo>
                          <a:pt x="294" y="348"/>
                        </a:lnTo>
                        <a:lnTo>
                          <a:pt x="194" y="394"/>
                        </a:lnTo>
                        <a:lnTo>
                          <a:pt x="153" y="378"/>
                        </a:lnTo>
                        <a:lnTo>
                          <a:pt x="112" y="387"/>
                        </a:lnTo>
                        <a:lnTo>
                          <a:pt x="67" y="352"/>
                        </a:lnTo>
                        <a:lnTo>
                          <a:pt x="19" y="354"/>
                        </a:lnTo>
                        <a:lnTo>
                          <a:pt x="0" y="309"/>
                        </a:lnTo>
                        <a:lnTo>
                          <a:pt x="30" y="257"/>
                        </a:lnTo>
                        <a:lnTo>
                          <a:pt x="54" y="238"/>
                        </a:lnTo>
                        <a:lnTo>
                          <a:pt x="92" y="158"/>
                        </a:lnTo>
                        <a:lnTo>
                          <a:pt x="147" y="74"/>
                        </a:lnTo>
                        <a:lnTo>
                          <a:pt x="192" y="9"/>
                        </a:lnTo>
                        <a:lnTo>
                          <a:pt x="240" y="0"/>
                        </a:lnTo>
                        <a:lnTo>
                          <a:pt x="283" y="63"/>
                        </a:lnTo>
                        <a:lnTo>
                          <a:pt x="309" y="60"/>
                        </a:lnTo>
                        <a:lnTo>
                          <a:pt x="357" y="113"/>
                        </a:lnTo>
                        <a:lnTo>
                          <a:pt x="389" y="158"/>
                        </a:lnTo>
                        <a:lnTo>
                          <a:pt x="403" y="213"/>
                        </a:lnTo>
                        <a:lnTo>
                          <a:pt x="354" y="252"/>
                        </a:lnTo>
                        <a:lnTo>
                          <a:pt x="349" y="29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7" name="Uzbekistan" descr="{&quot;Key&quot;:&quot;uzbekistan&quot;,&quot;Name&quot;:&quot;Uzbekistan&quot;,&quot;Value&quot;:1.0,&quot;Formula&quot;:&quot;&quot;,&quot;Text&quot;:&quot;&quot;,&quot;OfficeApplication&quot;:1,&quot;HasValue&quot;:true}">
                    <a:extLst>
                      <a:ext uri="{FF2B5EF4-FFF2-40B4-BE49-F238E27FC236}">
                        <a16:creationId xmlns:a16="http://schemas.microsoft.com/office/drawing/2014/main" id="{2C9A2A17-3822-890B-CA72-2A697D191358}"/>
                      </a:ext>
                    </a:extLst>
                  </p:cNvPr>
                  <p:cNvSpPr>
                    <a:spLocks/>
                  </p:cNvSpPr>
                  <p:nvPr/>
                </p:nvSpPr>
                <p:spPr bwMode="auto">
                  <a:xfrm>
                    <a:off x="2094" y="1753"/>
                    <a:ext cx="310" cy="190"/>
                  </a:xfrm>
                  <a:custGeom>
                    <a:avLst/>
                    <a:gdLst>
                      <a:gd name="T0" fmla="*/ 1012 w 1111"/>
                      <a:gd name="T1" fmla="*/ 265 h 679"/>
                      <a:gd name="T2" fmla="*/ 1029 w 1111"/>
                      <a:gd name="T3" fmla="*/ 274 h 679"/>
                      <a:gd name="T4" fmla="*/ 956 w 1111"/>
                      <a:gd name="T5" fmla="*/ 326 h 679"/>
                      <a:gd name="T6" fmla="*/ 994 w 1111"/>
                      <a:gd name="T7" fmla="*/ 356 h 679"/>
                      <a:gd name="T8" fmla="*/ 1047 w 1111"/>
                      <a:gd name="T9" fmla="*/ 336 h 679"/>
                      <a:gd name="T10" fmla="*/ 1111 w 1111"/>
                      <a:gd name="T11" fmla="*/ 379 h 679"/>
                      <a:gd name="T12" fmla="*/ 1007 w 1111"/>
                      <a:gd name="T13" fmla="*/ 436 h 679"/>
                      <a:gd name="T14" fmla="*/ 960 w 1111"/>
                      <a:gd name="T15" fmla="*/ 429 h 679"/>
                      <a:gd name="T16" fmla="*/ 931 w 1111"/>
                      <a:gd name="T17" fmla="*/ 430 h 679"/>
                      <a:gd name="T18" fmla="*/ 930 w 1111"/>
                      <a:gd name="T19" fmla="*/ 409 h 679"/>
                      <a:gd name="T20" fmla="*/ 956 w 1111"/>
                      <a:gd name="T21" fmla="*/ 371 h 679"/>
                      <a:gd name="T22" fmla="*/ 861 w 1111"/>
                      <a:gd name="T23" fmla="*/ 390 h 679"/>
                      <a:gd name="T24" fmla="*/ 822 w 1111"/>
                      <a:gd name="T25" fmla="*/ 441 h 679"/>
                      <a:gd name="T26" fmla="*/ 776 w 1111"/>
                      <a:gd name="T27" fmla="*/ 486 h 679"/>
                      <a:gd name="T28" fmla="*/ 722 w 1111"/>
                      <a:gd name="T29" fmla="*/ 482 h 679"/>
                      <a:gd name="T30" fmla="*/ 694 w 1111"/>
                      <a:gd name="T31" fmla="*/ 518 h 679"/>
                      <a:gd name="T32" fmla="*/ 736 w 1111"/>
                      <a:gd name="T33" fmla="*/ 537 h 679"/>
                      <a:gd name="T34" fmla="*/ 731 w 1111"/>
                      <a:gd name="T35" fmla="*/ 598 h 679"/>
                      <a:gd name="T36" fmla="*/ 669 w 1111"/>
                      <a:gd name="T37" fmla="*/ 679 h 679"/>
                      <a:gd name="T38" fmla="*/ 622 w 1111"/>
                      <a:gd name="T39" fmla="*/ 662 h 679"/>
                      <a:gd name="T40" fmla="*/ 586 w 1111"/>
                      <a:gd name="T41" fmla="*/ 661 h 679"/>
                      <a:gd name="T42" fmla="*/ 604 w 1111"/>
                      <a:gd name="T43" fmla="*/ 612 h 679"/>
                      <a:gd name="T44" fmla="*/ 525 w 1111"/>
                      <a:gd name="T45" fmla="*/ 577 h 679"/>
                      <a:gd name="T46" fmla="*/ 469 w 1111"/>
                      <a:gd name="T47" fmla="*/ 537 h 679"/>
                      <a:gd name="T48" fmla="*/ 439 w 1111"/>
                      <a:gd name="T49" fmla="*/ 500 h 679"/>
                      <a:gd name="T50" fmla="*/ 382 w 1111"/>
                      <a:gd name="T51" fmla="*/ 444 h 679"/>
                      <a:gd name="T52" fmla="*/ 381 w 1111"/>
                      <a:gd name="T53" fmla="*/ 361 h 679"/>
                      <a:gd name="T54" fmla="*/ 365 w 1111"/>
                      <a:gd name="T55" fmla="*/ 346 h 679"/>
                      <a:gd name="T56" fmla="*/ 292 w 1111"/>
                      <a:gd name="T57" fmla="*/ 350 h 679"/>
                      <a:gd name="T58" fmla="*/ 274 w 1111"/>
                      <a:gd name="T59" fmla="*/ 334 h 679"/>
                      <a:gd name="T60" fmla="*/ 292 w 1111"/>
                      <a:gd name="T61" fmla="*/ 269 h 679"/>
                      <a:gd name="T62" fmla="*/ 222 w 1111"/>
                      <a:gd name="T63" fmla="*/ 226 h 679"/>
                      <a:gd name="T64" fmla="*/ 147 w 1111"/>
                      <a:gd name="T65" fmla="*/ 274 h 679"/>
                      <a:gd name="T66" fmla="*/ 80 w 1111"/>
                      <a:gd name="T67" fmla="*/ 301 h 679"/>
                      <a:gd name="T68" fmla="*/ 75 w 1111"/>
                      <a:gd name="T69" fmla="*/ 341 h 679"/>
                      <a:gd name="T70" fmla="*/ 0 w 1111"/>
                      <a:gd name="T71" fmla="*/ 343 h 679"/>
                      <a:gd name="T72" fmla="*/ 126 w 1111"/>
                      <a:gd name="T73" fmla="*/ 46 h 679"/>
                      <a:gd name="T74" fmla="*/ 312 w 1111"/>
                      <a:gd name="T75" fmla="*/ 0 h 679"/>
                      <a:gd name="T76" fmla="*/ 321 w 1111"/>
                      <a:gd name="T77" fmla="*/ 6 h 679"/>
                      <a:gd name="T78" fmla="*/ 396 w 1111"/>
                      <a:gd name="T79" fmla="*/ 64 h 679"/>
                      <a:gd name="T80" fmla="*/ 436 w 1111"/>
                      <a:gd name="T81" fmla="*/ 94 h 679"/>
                      <a:gd name="T82" fmla="*/ 467 w 1111"/>
                      <a:gd name="T83" fmla="*/ 166 h 679"/>
                      <a:gd name="T84" fmla="*/ 549 w 1111"/>
                      <a:gd name="T85" fmla="*/ 155 h 679"/>
                      <a:gd name="T86" fmla="*/ 662 w 1111"/>
                      <a:gd name="T87" fmla="*/ 149 h 679"/>
                      <a:gd name="T88" fmla="*/ 717 w 1111"/>
                      <a:gd name="T89" fmla="*/ 206 h 679"/>
                      <a:gd name="T90" fmla="*/ 681 w 1111"/>
                      <a:gd name="T91" fmla="*/ 288 h 679"/>
                      <a:gd name="T92" fmla="*/ 712 w 1111"/>
                      <a:gd name="T93" fmla="*/ 288 h 679"/>
                      <a:gd name="T94" fmla="*/ 702 w 1111"/>
                      <a:gd name="T95" fmla="*/ 354 h 679"/>
                      <a:gd name="T96" fmla="*/ 785 w 1111"/>
                      <a:gd name="T97" fmla="*/ 356 h 679"/>
                      <a:gd name="T98" fmla="*/ 789 w 1111"/>
                      <a:gd name="T99" fmla="*/ 395 h 679"/>
                      <a:gd name="T100" fmla="*/ 814 w 1111"/>
                      <a:gd name="T101" fmla="*/ 394 h 679"/>
                      <a:gd name="T102" fmla="*/ 864 w 1111"/>
                      <a:gd name="T103" fmla="*/ 336 h 679"/>
                      <a:gd name="T104" fmla="*/ 970 w 1111"/>
                      <a:gd name="T105" fmla="*/ 280 h 679"/>
                      <a:gd name="T106" fmla="*/ 1012 w 1111"/>
                      <a:gd name="T107" fmla="*/ 265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1" h="679">
                        <a:moveTo>
                          <a:pt x="1012" y="265"/>
                        </a:moveTo>
                        <a:lnTo>
                          <a:pt x="1029" y="274"/>
                        </a:lnTo>
                        <a:lnTo>
                          <a:pt x="956" y="326"/>
                        </a:lnTo>
                        <a:lnTo>
                          <a:pt x="994" y="356"/>
                        </a:lnTo>
                        <a:lnTo>
                          <a:pt x="1047" y="336"/>
                        </a:lnTo>
                        <a:lnTo>
                          <a:pt x="1111" y="379"/>
                        </a:lnTo>
                        <a:lnTo>
                          <a:pt x="1007" y="436"/>
                        </a:lnTo>
                        <a:lnTo>
                          <a:pt x="960" y="429"/>
                        </a:lnTo>
                        <a:lnTo>
                          <a:pt x="931" y="430"/>
                        </a:lnTo>
                        <a:lnTo>
                          <a:pt x="930" y="409"/>
                        </a:lnTo>
                        <a:lnTo>
                          <a:pt x="956" y="371"/>
                        </a:lnTo>
                        <a:lnTo>
                          <a:pt x="861" y="390"/>
                        </a:lnTo>
                        <a:lnTo>
                          <a:pt x="822" y="441"/>
                        </a:lnTo>
                        <a:lnTo>
                          <a:pt x="776" y="486"/>
                        </a:lnTo>
                        <a:lnTo>
                          <a:pt x="722" y="482"/>
                        </a:lnTo>
                        <a:lnTo>
                          <a:pt x="694" y="518"/>
                        </a:lnTo>
                        <a:lnTo>
                          <a:pt x="736" y="537"/>
                        </a:lnTo>
                        <a:lnTo>
                          <a:pt x="731" y="598"/>
                        </a:lnTo>
                        <a:lnTo>
                          <a:pt x="669" y="679"/>
                        </a:lnTo>
                        <a:lnTo>
                          <a:pt x="622" y="662"/>
                        </a:lnTo>
                        <a:lnTo>
                          <a:pt x="586" y="661"/>
                        </a:lnTo>
                        <a:lnTo>
                          <a:pt x="604" y="612"/>
                        </a:lnTo>
                        <a:lnTo>
                          <a:pt x="525" y="577"/>
                        </a:lnTo>
                        <a:lnTo>
                          <a:pt x="469" y="537"/>
                        </a:lnTo>
                        <a:lnTo>
                          <a:pt x="439" y="500"/>
                        </a:lnTo>
                        <a:lnTo>
                          <a:pt x="382" y="444"/>
                        </a:lnTo>
                        <a:lnTo>
                          <a:pt x="381" y="361"/>
                        </a:lnTo>
                        <a:lnTo>
                          <a:pt x="365" y="346"/>
                        </a:lnTo>
                        <a:lnTo>
                          <a:pt x="292" y="350"/>
                        </a:lnTo>
                        <a:lnTo>
                          <a:pt x="274" y="334"/>
                        </a:lnTo>
                        <a:lnTo>
                          <a:pt x="292" y="269"/>
                        </a:lnTo>
                        <a:lnTo>
                          <a:pt x="222" y="226"/>
                        </a:lnTo>
                        <a:lnTo>
                          <a:pt x="147" y="274"/>
                        </a:lnTo>
                        <a:lnTo>
                          <a:pt x="80" y="301"/>
                        </a:lnTo>
                        <a:lnTo>
                          <a:pt x="75" y="341"/>
                        </a:lnTo>
                        <a:lnTo>
                          <a:pt x="0" y="343"/>
                        </a:lnTo>
                        <a:lnTo>
                          <a:pt x="126" y="46"/>
                        </a:lnTo>
                        <a:lnTo>
                          <a:pt x="312" y="0"/>
                        </a:lnTo>
                        <a:lnTo>
                          <a:pt x="321" y="6"/>
                        </a:lnTo>
                        <a:lnTo>
                          <a:pt x="396" y="64"/>
                        </a:lnTo>
                        <a:lnTo>
                          <a:pt x="436" y="94"/>
                        </a:lnTo>
                        <a:lnTo>
                          <a:pt x="467" y="166"/>
                        </a:lnTo>
                        <a:lnTo>
                          <a:pt x="549" y="155"/>
                        </a:lnTo>
                        <a:lnTo>
                          <a:pt x="662" y="149"/>
                        </a:lnTo>
                        <a:lnTo>
                          <a:pt x="717" y="206"/>
                        </a:lnTo>
                        <a:lnTo>
                          <a:pt x="681" y="288"/>
                        </a:lnTo>
                        <a:lnTo>
                          <a:pt x="712" y="288"/>
                        </a:lnTo>
                        <a:lnTo>
                          <a:pt x="702" y="354"/>
                        </a:lnTo>
                        <a:lnTo>
                          <a:pt x="785" y="356"/>
                        </a:lnTo>
                        <a:lnTo>
                          <a:pt x="789" y="395"/>
                        </a:lnTo>
                        <a:lnTo>
                          <a:pt x="814" y="394"/>
                        </a:lnTo>
                        <a:lnTo>
                          <a:pt x="864" y="336"/>
                        </a:lnTo>
                        <a:lnTo>
                          <a:pt x="970" y="280"/>
                        </a:lnTo>
                        <a:lnTo>
                          <a:pt x="1012" y="26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8" name="Venezuela" descr="{&quot;Key&quot;:&quot;venezuela&quot;,&quot;Name&quot;:&quot;Venezuela&quot;,&quot;Value&quot;:1.0,&quot;Formula&quot;:&quot;&quot;,&quot;Text&quot;:&quot;&quot;,&quot;OfficeApplication&quot;:1,&quot;HasValue&quot;:true}">
                    <a:extLst>
                      <a:ext uri="{FF2B5EF4-FFF2-40B4-BE49-F238E27FC236}">
                        <a16:creationId xmlns:a16="http://schemas.microsoft.com/office/drawing/2014/main" id="{F933095F-9688-4300-46CD-D8DEDD9DC2E7}"/>
                      </a:ext>
                    </a:extLst>
                  </p:cNvPr>
                  <p:cNvSpPr>
                    <a:spLocks/>
                  </p:cNvSpPr>
                  <p:nvPr/>
                </p:nvSpPr>
                <p:spPr bwMode="auto">
                  <a:xfrm>
                    <a:off x="6543" y="2509"/>
                    <a:ext cx="272" cy="259"/>
                  </a:xfrm>
                  <a:custGeom>
                    <a:avLst/>
                    <a:gdLst>
                      <a:gd name="T0" fmla="*/ 922 w 975"/>
                      <a:gd name="T1" fmla="*/ 356 h 930"/>
                      <a:gd name="T2" fmla="*/ 945 w 975"/>
                      <a:gd name="T3" fmla="*/ 416 h 930"/>
                      <a:gd name="T4" fmla="*/ 885 w 975"/>
                      <a:gd name="T5" fmla="*/ 444 h 930"/>
                      <a:gd name="T6" fmla="*/ 872 w 975"/>
                      <a:gd name="T7" fmla="*/ 504 h 930"/>
                      <a:gd name="T8" fmla="*/ 935 w 975"/>
                      <a:gd name="T9" fmla="*/ 589 h 930"/>
                      <a:gd name="T10" fmla="*/ 832 w 975"/>
                      <a:gd name="T11" fmla="*/ 650 h 930"/>
                      <a:gd name="T12" fmla="*/ 762 w 975"/>
                      <a:gd name="T13" fmla="*/ 681 h 930"/>
                      <a:gd name="T14" fmla="*/ 650 w 975"/>
                      <a:gd name="T15" fmla="*/ 651 h 930"/>
                      <a:gd name="T16" fmla="*/ 671 w 975"/>
                      <a:gd name="T17" fmla="*/ 680 h 930"/>
                      <a:gd name="T18" fmla="*/ 682 w 975"/>
                      <a:gd name="T19" fmla="*/ 785 h 930"/>
                      <a:gd name="T20" fmla="*/ 749 w 975"/>
                      <a:gd name="T21" fmla="*/ 810 h 930"/>
                      <a:gd name="T22" fmla="*/ 690 w 975"/>
                      <a:gd name="T23" fmla="*/ 868 h 930"/>
                      <a:gd name="T24" fmla="*/ 607 w 975"/>
                      <a:gd name="T25" fmla="*/ 899 h 930"/>
                      <a:gd name="T26" fmla="*/ 539 w 975"/>
                      <a:gd name="T27" fmla="*/ 930 h 930"/>
                      <a:gd name="T28" fmla="*/ 474 w 975"/>
                      <a:gd name="T29" fmla="*/ 805 h 930"/>
                      <a:gd name="T30" fmla="*/ 427 w 975"/>
                      <a:gd name="T31" fmla="*/ 759 h 930"/>
                      <a:gd name="T32" fmla="*/ 459 w 975"/>
                      <a:gd name="T33" fmla="*/ 700 h 930"/>
                      <a:gd name="T34" fmla="*/ 420 w 975"/>
                      <a:gd name="T35" fmla="*/ 623 h 930"/>
                      <a:gd name="T36" fmla="*/ 436 w 975"/>
                      <a:gd name="T37" fmla="*/ 536 h 930"/>
                      <a:gd name="T38" fmla="*/ 420 w 975"/>
                      <a:gd name="T39" fmla="*/ 479 h 930"/>
                      <a:gd name="T40" fmla="*/ 327 w 975"/>
                      <a:gd name="T41" fmla="*/ 484 h 930"/>
                      <a:gd name="T42" fmla="*/ 244 w 975"/>
                      <a:gd name="T43" fmla="*/ 423 h 930"/>
                      <a:gd name="T44" fmla="*/ 110 w 975"/>
                      <a:gd name="T45" fmla="*/ 420 h 930"/>
                      <a:gd name="T46" fmla="*/ 72 w 975"/>
                      <a:gd name="T47" fmla="*/ 385 h 930"/>
                      <a:gd name="T48" fmla="*/ 75 w 975"/>
                      <a:gd name="T49" fmla="*/ 338 h 930"/>
                      <a:gd name="T50" fmla="*/ 50 w 975"/>
                      <a:gd name="T51" fmla="*/ 288 h 930"/>
                      <a:gd name="T52" fmla="*/ 0 w 975"/>
                      <a:gd name="T53" fmla="*/ 245 h 930"/>
                      <a:gd name="T54" fmla="*/ 17 w 975"/>
                      <a:gd name="T55" fmla="*/ 139 h 930"/>
                      <a:gd name="T56" fmla="*/ 60 w 975"/>
                      <a:gd name="T57" fmla="*/ 85 h 930"/>
                      <a:gd name="T58" fmla="*/ 117 w 975"/>
                      <a:gd name="T59" fmla="*/ 31 h 930"/>
                      <a:gd name="T60" fmla="*/ 77 w 975"/>
                      <a:gd name="T61" fmla="*/ 60 h 930"/>
                      <a:gd name="T62" fmla="*/ 109 w 975"/>
                      <a:gd name="T63" fmla="*/ 139 h 930"/>
                      <a:gd name="T64" fmla="*/ 115 w 975"/>
                      <a:gd name="T65" fmla="*/ 251 h 930"/>
                      <a:gd name="T66" fmla="*/ 156 w 975"/>
                      <a:gd name="T67" fmla="*/ 186 h 930"/>
                      <a:gd name="T68" fmla="*/ 120 w 975"/>
                      <a:gd name="T69" fmla="*/ 96 h 930"/>
                      <a:gd name="T70" fmla="*/ 191 w 975"/>
                      <a:gd name="T71" fmla="*/ 25 h 930"/>
                      <a:gd name="T72" fmla="*/ 245 w 975"/>
                      <a:gd name="T73" fmla="*/ 56 h 930"/>
                      <a:gd name="T74" fmla="*/ 347 w 975"/>
                      <a:gd name="T75" fmla="*/ 104 h 930"/>
                      <a:gd name="T76" fmla="*/ 417 w 975"/>
                      <a:gd name="T77" fmla="*/ 131 h 930"/>
                      <a:gd name="T78" fmla="*/ 537 w 975"/>
                      <a:gd name="T79" fmla="*/ 159 h 930"/>
                      <a:gd name="T80" fmla="*/ 631 w 975"/>
                      <a:gd name="T81" fmla="*/ 144 h 930"/>
                      <a:gd name="T82" fmla="*/ 717 w 975"/>
                      <a:gd name="T83" fmla="*/ 119 h 930"/>
                      <a:gd name="T84" fmla="*/ 745 w 975"/>
                      <a:gd name="T85" fmla="*/ 141 h 930"/>
                      <a:gd name="T86" fmla="*/ 831 w 975"/>
                      <a:gd name="T87" fmla="*/ 186 h 930"/>
                      <a:gd name="T88" fmla="*/ 907 w 975"/>
                      <a:gd name="T89" fmla="*/ 291 h 930"/>
                      <a:gd name="T90" fmla="*/ 975 w 975"/>
                      <a:gd name="T91" fmla="*/ 30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5" h="930">
                        <a:moveTo>
                          <a:pt x="975" y="309"/>
                        </a:moveTo>
                        <a:lnTo>
                          <a:pt x="922" y="356"/>
                        </a:lnTo>
                        <a:lnTo>
                          <a:pt x="919" y="385"/>
                        </a:lnTo>
                        <a:lnTo>
                          <a:pt x="945" y="416"/>
                        </a:lnTo>
                        <a:lnTo>
                          <a:pt x="929" y="431"/>
                        </a:lnTo>
                        <a:lnTo>
                          <a:pt x="885" y="444"/>
                        </a:lnTo>
                        <a:lnTo>
                          <a:pt x="890" y="481"/>
                        </a:lnTo>
                        <a:lnTo>
                          <a:pt x="872" y="504"/>
                        </a:lnTo>
                        <a:lnTo>
                          <a:pt x="925" y="566"/>
                        </a:lnTo>
                        <a:lnTo>
                          <a:pt x="935" y="589"/>
                        </a:lnTo>
                        <a:lnTo>
                          <a:pt x="911" y="620"/>
                        </a:lnTo>
                        <a:lnTo>
                          <a:pt x="832" y="650"/>
                        </a:lnTo>
                        <a:lnTo>
                          <a:pt x="782" y="663"/>
                        </a:lnTo>
                        <a:lnTo>
                          <a:pt x="762" y="681"/>
                        </a:lnTo>
                        <a:lnTo>
                          <a:pt x="704" y="661"/>
                        </a:lnTo>
                        <a:lnTo>
                          <a:pt x="650" y="651"/>
                        </a:lnTo>
                        <a:lnTo>
                          <a:pt x="637" y="659"/>
                        </a:lnTo>
                        <a:lnTo>
                          <a:pt x="671" y="680"/>
                        </a:lnTo>
                        <a:lnTo>
                          <a:pt x="670" y="734"/>
                        </a:lnTo>
                        <a:lnTo>
                          <a:pt x="682" y="785"/>
                        </a:lnTo>
                        <a:lnTo>
                          <a:pt x="744" y="793"/>
                        </a:lnTo>
                        <a:lnTo>
                          <a:pt x="749" y="810"/>
                        </a:lnTo>
                        <a:lnTo>
                          <a:pt x="697" y="833"/>
                        </a:lnTo>
                        <a:lnTo>
                          <a:pt x="690" y="868"/>
                        </a:lnTo>
                        <a:lnTo>
                          <a:pt x="661" y="880"/>
                        </a:lnTo>
                        <a:lnTo>
                          <a:pt x="607" y="899"/>
                        </a:lnTo>
                        <a:lnTo>
                          <a:pt x="595" y="924"/>
                        </a:lnTo>
                        <a:lnTo>
                          <a:pt x="539" y="930"/>
                        </a:lnTo>
                        <a:lnTo>
                          <a:pt x="499" y="886"/>
                        </a:lnTo>
                        <a:lnTo>
                          <a:pt x="474" y="805"/>
                        </a:lnTo>
                        <a:lnTo>
                          <a:pt x="454" y="778"/>
                        </a:lnTo>
                        <a:lnTo>
                          <a:pt x="427" y="759"/>
                        </a:lnTo>
                        <a:lnTo>
                          <a:pt x="462" y="719"/>
                        </a:lnTo>
                        <a:lnTo>
                          <a:pt x="459" y="700"/>
                        </a:lnTo>
                        <a:lnTo>
                          <a:pt x="437" y="676"/>
                        </a:lnTo>
                        <a:lnTo>
                          <a:pt x="420" y="623"/>
                        </a:lnTo>
                        <a:lnTo>
                          <a:pt x="421" y="564"/>
                        </a:lnTo>
                        <a:lnTo>
                          <a:pt x="436" y="536"/>
                        </a:lnTo>
                        <a:lnTo>
                          <a:pt x="446" y="493"/>
                        </a:lnTo>
                        <a:lnTo>
                          <a:pt x="420" y="479"/>
                        </a:lnTo>
                        <a:lnTo>
                          <a:pt x="380" y="489"/>
                        </a:lnTo>
                        <a:lnTo>
                          <a:pt x="327" y="484"/>
                        </a:lnTo>
                        <a:lnTo>
                          <a:pt x="300" y="493"/>
                        </a:lnTo>
                        <a:lnTo>
                          <a:pt x="244" y="423"/>
                        </a:lnTo>
                        <a:lnTo>
                          <a:pt x="201" y="413"/>
                        </a:lnTo>
                        <a:lnTo>
                          <a:pt x="110" y="420"/>
                        </a:lnTo>
                        <a:lnTo>
                          <a:pt x="91" y="391"/>
                        </a:lnTo>
                        <a:lnTo>
                          <a:pt x="72" y="385"/>
                        </a:lnTo>
                        <a:lnTo>
                          <a:pt x="69" y="368"/>
                        </a:lnTo>
                        <a:lnTo>
                          <a:pt x="75" y="338"/>
                        </a:lnTo>
                        <a:lnTo>
                          <a:pt x="66" y="305"/>
                        </a:lnTo>
                        <a:lnTo>
                          <a:pt x="50" y="288"/>
                        </a:lnTo>
                        <a:lnTo>
                          <a:pt x="37" y="250"/>
                        </a:lnTo>
                        <a:lnTo>
                          <a:pt x="0" y="245"/>
                        </a:lnTo>
                        <a:lnTo>
                          <a:pt x="15" y="198"/>
                        </a:lnTo>
                        <a:lnTo>
                          <a:pt x="17" y="139"/>
                        </a:lnTo>
                        <a:lnTo>
                          <a:pt x="35" y="109"/>
                        </a:lnTo>
                        <a:lnTo>
                          <a:pt x="60" y="85"/>
                        </a:lnTo>
                        <a:lnTo>
                          <a:pt x="74" y="45"/>
                        </a:lnTo>
                        <a:lnTo>
                          <a:pt x="117" y="31"/>
                        </a:lnTo>
                        <a:lnTo>
                          <a:pt x="117" y="50"/>
                        </a:lnTo>
                        <a:lnTo>
                          <a:pt x="77" y="60"/>
                        </a:lnTo>
                        <a:lnTo>
                          <a:pt x="105" y="96"/>
                        </a:lnTo>
                        <a:lnTo>
                          <a:pt x="109" y="139"/>
                        </a:lnTo>
                        <a:lnTo>
                          <a:pt x="82" y="186"/>
                        </a:lnTo>
                        <a:lnTo>
                          <a:pt x="115" y="251"/>
                        </a:lnTo>
                        <a:lnTo>
                          <a:pt x="145" y="245"/>
                        </a:lnTo>
                        <a:lnTo>
                          <a:pt x="156" y="186"/>
                        </a:lnTo>
                        <a:lnTo>
                          <a:pt x="131" y="159"/>
                        </a:lnTo>
                        <a:lnTo>
                          <a:pt x="120" y="96"/>
                        </a:lnTo>
                        <a:lnTo>
                          <a:pt x="206" y="64"/>
                        </a:lnTo>
                        <a:lnTo>
                          <a:pt x="191" y="25"/>
                        </a:lnTo>
                        <a:lnTo>
                          <a:pt x="212" y="0"/>
                        </a:lnTo>
                        <a:lnTo>
                          <a:pt x="245" y="56"/>
                        </a:lnTo>
                        <a:lnTo>
                          <a:pt x="296" y="59"/>
                        </a:lnTo>
                        <a:lnTo>
                          <a:pt x="347" y="104"/>
                        </a:lnTo>
                        <a:lnTo>
                          <a:pt x="354" y="130"/>
                        </a:lnTo>
                        <a:lnTo>
                          <a:pt x="417" y="131"/>
                        </a:lnTo>
                        <a:lnTo>
                          <a:pt x="492" y="123"/>
                        </a:lnTo>
                        <a:lnTo>
                          <a:pt x="537" y="159"/>
                        </a:lnTo>
                        <a:lnTo>
                          <a:pt x="594" y="169"/>
                        </a:lnTo>
                        <a:lnTo>
                          <a:pt x="631" y="144"/>
                        </a:lnTo>
                        <a:lnTo>
                          <a:pt x="630" y="124"/>
                        </a:lnTo>
                        <a:lnTo>
                          <a:pt x="717" y="119"/>
                        </a:lnTo>
                        <a:lnTo>
                          <a:pt x="802" y="118"/>
                        </a:lnTo>
                        <a:lnTo>
                          <a:pt x="745" y="141"/>
                        </a:lnTo>
                        <a:lnTo>
                          <a:pt x="774" y="180"/>
                        </a:lnTo>
                        <a:lnTo>
                          <a:pt x="831" y="186"/>
                        </a:lnTo>
                        <a:lnTo>
                          <a:pt x="890" y="226"/>
                        </a:lnTo>
                        <a:lnTo>
                          <a:pt x="907" y="291"/>
                        </a:lnTo>
                        <a:lnTo>
                          <a:pt x="945" y="289"/>
                        </a:lnTo>
                        <a:lnTo>
                          <a:pt x="975" y="30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39" name="Vietnam" descr="{&quot;Key&quot;:&quot;vietnam&quot;,&quot;Name&quot;:&quot;Vietnam&quot;,&quot;Value&quot;:1.0,&quot;Formula&quot;:&quot;&quot;,&quot;Text&quot;:&quot;&quot;,&quot;OfficeApplication&quot;:1,&quot;HasValue&quot;:true}">
                    <a:extLst>
                      <a:ext uri="{FF2B5EF4-FFF2-40B4-BE49-F238E27FC236}">
                        <a16:creationId xmlns:a16="http://schemas.microsoft.com/office/drawing/2014/main" id="{67A7E6B2-FE88-0518-E304-CC6A116FC977}"/>
                      </a:ext>
                    </a:extLst>
                  </p:cNvPr>
                  <p:cNvSpPr>
                    <a:spLocks/>
                  </p:cNvSpPr>
                  <p:nvPr/>
                </p:nvSpPr>
                <p:spPr bwMode="auto">
                  <a:xfrm>
                    <a:off x="2881" y="2255"/>
                    <a:ext cx="129" cy="335"/>
                  </a:xfrm>
                  <a:custGeom>
                    <a:avLst/>
                    <a:gdLst>
                      <a:gd name="T0" fmla="*/ 408 w 463"/>
                      <a:gd name="T1" fmla="*/ 146 h 1199"/>
                      <a:gd name="T2" fmla="*/ 309 w 463"/>
                      <a:gd name="T3" fmla="*/ 216 h 1199"/>
                      <a:gd name="T4" fmla="*/ 245 w 463"/>
                      <a:gd name="T5" fmla="*/ 293 h 1199"/>
                      <a:gd name="T6" fmla="*/ 226 w 463"/>
                      <a:gd name="T7" fmla="*/ 349 h 1199"/>
                      <a:gd name="T8" fmla="*/ 275 w 463"/>
                      <a:gd name="T9" fmla="*/ 435 h 1199"/>
                      <a:gd name="T10" fmla="*/ 335 w 463"/>
                      <a:gd name="T11" fmla="*/ 541 h 1199"/>
                      <a:gd name="T12" fmla="*/ 396 w 463"/>
                      <a:gd name="T13" fmla="*/ 591 h 1199"/>
                      <a:gd name="T14" fmla="*/ 436 w 463"/>
                      <a:gd name="T15" fmla="*/ 656 h 1199"/>
                      <a:gd name="T16" fmla="*/ 463 w 463"/>
                      <a:gd name="T17" fmla="*/ 808 h 1199"/>
                      <a:gd name="T18" fmla="*/ 446 w 463"/>
                      <a:gd name="T19" fmla="*/ 950 h 1199"/>
                      <a:gd name="T20" fmla="*/ 385 w 463"/>
                      <a:gd name="T21" fmla="*/ 1004 h 1199"/>
                      <a:gd name="T22" fmla="*/ 301 w 463"/>
                      <a:gd name="T23" fmla="*/ 1056 h 1199"/>
                      <a:gd name="T24" fmla="*/ 241 w 463"/>
                      <a:gd name="T25" fmla="*/ 1124 h 1199"/>
                      <a:gd name="T26" fmla="*/ 150 w 463"/>
                      <a:gd name="T27" fmla="*/ 1199 h 1199"/>
                      <a:gd name="T28" fmla="*/ 125 w 463"/>
                      <a:gd name="T29" fmla="*/ 1148 h 1199"/>
                      <a:gd name="T30" fmla="*/ 148 w 463"/>
                      <a:gd name="T31" fmla="*/ 1093 h 1199"/>
                      <a:gd name="T32" fmla="*/ 96 w 463"/>
                      <a:gd name="T33" fmla="*/ 1046 h 1199"/>
                      <a:gd name="T34" fmla="*/ 159 w 463"/>
                      <a:gd name="T35" fmla="*/ 1014 h 1199"/>
                      <a:gd name="T36" fmla="*/ 234 w 463"/>
                      <a:gd name="T37" fmla="*/ 1008 h 1199"/>
                      <a:gd name="T38" fmla="*/ 205 w 463"/>
                      <a:gd name="T39" fmla="*/ 958 h 1199"/>
                      <a:gd name="T40" fmla="*/ 326 w 463"/>
                      <a:gd name="T41" fmla="*/ 895 h 1199"/>
                      <a:gd name="T42" fmla="*/ 340 w 463"/>
                      <a:gd name="T43" fmla="*/ 798 h 1199"/>
                      <a:gd name="T44" fmla="*/ 326 w 463"/>
                      <a:gd name="T45" fmla="*/ 744 h 1199"/>
                      <a:gd name="T46" fmla="*/ 343 w 463"/>
                      <a:gd name="T47" fmla="*/ 663 h 1199"/>
                      <a:gd name="T48" fmla="*/ 328 w 463"/>
                      <a:gd name="T49" fmla="*/ 605 h 1199"/>
                      <a:gd name="T50" fmla="*/ 278 w 463"/>
                      <a:gd name="T51" fmla="*/ 549 h 1199"/>
                      <a:gd name="T52" fmla="*/ 238 w 463"/>
                      <a:gd name="T53" fmla="*/ 478 h 1199"/>
                      <a:gd name="T54" fmla="*/ 184 w 463"/>
                      <a:gd name="T55" fmla="*/ 381 h 1199"/>
                      <a:gd name="T56" fmla="*/ 103 w 463"/>
                      <a:gd name="T57" fmla="*/ 333 h 1199"/>
                      <a:gd name="T58" fmla="*/ 125 w 463"/>
                      <a:gd name="T59" fmla="*/ 304 h 1199"/>
                      <a:gd name="T60" fmla="*/ 171 w 463"/>
                      <a:gd name="T61" fmla="*/ 281 h 1199"/>
                      <a:gd name="T62" fmla="*/ 149 w 463"/>
                      <a:gd name="T63" fmla="*/ 211 h 1199"/>
                      <a:gd name="T64" fmla="*/ 63 w 463"/>
                      <a:gd name="T65" fmla="*/ 210 h 1199"/>
                      <a:gd name="T66" fmla="*/ 36 w 463"/>
                      <a:gd name="T67" fmla="*/ 136 h 1199"/>
                      <a:gd name="T68" fmla="*/ 0 w 463"/>
                      <a:gd name="T69" fmla="*/ 72 h 1199"/>
                      <a:gd name="T70" fmla="*/ 39 w 463"/>
                      <a:gd name="T71" fmla="*/ 52 h 1199"/>
                      <a:gd name="T72" fmla="*/ 95 w 463"/>
                      <a:gd name="T73" fmla="*/ 52 h 1199"/>
                      <a:gd name="T74" fmla="*/ 164 w 463"/>
                      <a:gd name="T75" fmla="*/ 44 h 1199"/>
                      <a:gd name="T76" fmla="*/ 226 w 463"/>
                      <a:gd name="T77" fmla="*/ 0 h 1199"/>
                      <a:gd name="T78" fmla="*/ 259 w 463"/>
                      <a:gd name="T79" fmla="*/ 31 h 1199"/>
                      <a:gd name="T80" fmla="*/ 321 w 463"/>
                      <a:gd name="T81" fmla="*/ 45 h 1199"/>
                      <a:gd name="T82" fmla="*/ 308 w 463"/>
                      <a:gd name="T83" fmla="*/ 92 h 1199"/>
                      <a:gd name="T84" fmla="*/ 339 w 463"/>
                      <a:gd name="T85" fmla="*/ 125 h 1199"/>
                      <a:gd name="T86" fmla="*/ 408 w 463"/>
                      <a:gd name="T87" fmla="*/ 146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3" h="1199">
                        <a:moveTo>
                          <a:pt x="408" y="146"/>
                        </a:moveTo>
                        <a:lnTo>
                          <a:pt x="309" y="216"/>
                        </a:lnTo>
                        <a:lnTo>
                          <a:pt x="245" y="293"/>
                        </a:lnTo>
                        <a:lnTo>
                          <a:pt x="226" y="349"/>
                        </a:lnTo>
                        <a:lnTo>
                          <a:pt x="275" y="435"/>
                        </a:lnTo>
                        <a:lnTo>
                          <a:pt x="335" y="541"/>
                        </a:lnTo>
                        <a:lnTo>
                          <a:pt x="396" y="591"/>
                        </a:lnTo>
                        <a:lnTo>
                          <a:pt x="436" y="656"/>
                        </a:lnTo>
                        <a:lnTo>
                          <a:pt x="463" y="808"/>
                        </a:lnTo>
                        <a:lnTo>
                          <a:pt x="446" y="950"/>
                        </a:lnTo>
                        <a:lnTo>
                          <a:pt x="385" y="1004"/>
                        </a:lnTo>
                        <a:lnTo>
                          <a:pt x="301" y="1056"/>
                        </a:lnTo>
                        <a:lnTo>
                          <a:pt x="241" y="1124"/>
                        </a:lnTo>
                        <a:lnTo>
                          <a:pt x="150" y="1199"/>
                        </a:lnTo>
                        <a:lnTo>
                          <a:pt x="125" y="1148"/>
                        </a:lnTo>
                        <a:lnTo>
                          <a:pt x="148" y="1093"/>
                        </a:lnTo>
                        <a:lnTo>
                          <a:pt x="96" y="1046"/>
                        </a:lnTo>
                        <a:lnTo>
                          <a:pt x="159" y="1014"/>
                        </a:lnTo>
                        <a:lnTo>
                          <a:pt x="234" y="1008"/>
                        </a:lnTo>
                        <a:lnTo>
                          <a:pt x="205" y="958"/>
                        </a:lnTo>
                        <a:lnTo>
                          <a:pt x="326" y="895"/>
                        </a:lnTo>
                        <a:lnTo>
                          <a:pt x="340" y="798"/>
                        </a:lnTo>
                        <a:lnTo>
                          <a:pt x="326" y="744"/>
                        </a:lnTo>
                        <a:lnTo>
                          <a:pt x="343" y="663"/>
                        </a:lnTo>
                        <a:lnTo>
                          <a:pt x="328" y="605"/>
                        </a:lnTo>
                        <a:lnTo>
                          <a:pt x="278" y="549"/>
                        </a:lnTo>
                        <a:lnTo>
                          <a:pt x="238" y="478"/>
                        </a:lnTo>
                        <a:lnTo>
                          <a:pt x="184" y="381"/>
                        </a:lnTo>
                        <a:lnTo>
                          <a:pt x="103" y="333"/>
                        </a:lnTo>
                        <a:lnTo>
                          <a:pt x="125" y="304"/>
                        </a:lnTo>
                        <a:lnTo>
                          <a:pt x="171" y="281"/>
                        </a:lnTo>
                        <a:lnTo>
                          <a:pt x="149" y="211"/>
                        </a:lnTo>
                        <a:lnTo>
                          <a:pt x="63" y="210"/>
                        </a:lnTo>
                        <a:lnTo>
                          <a:pt x="36" y="136"/>
                        </a:lnTo>
                        <a:lnTo>
                          <a:pt x="0" y="72"/>
                        </a:lnTo>
                        <a:lnTo>
                          <a:pt x="39" y="52"/>
                        </a:lnTo>
                        <a:lnTo>
                          <a:pt x="95" y="52"/>
                        </a:lnTo>
                        <a:lnTo>
                          <a:pt x="164" y="44"/>
                        </a:lnTo>
                        <a:lnTo>
                          <a:pt x="226" y="0"/>
                        </a:lnTo>
                        <a:lnTo>
                          <a:pt x="259" y="31"/>
                        </a:lnTo>
                        <a:lnTo>
                          <a:pt x="321" y="45"/>
                        </a:lnTo>
                        <a:lnTo>
                          <a:pt x="308" y="92"/>
                        </a:lnTo>
                        <a:lnTo>
                          <a:pt x="339" y="125"/>
                        </a:lnTo>
                        <a:lnTo>
                          <a:pt x="408" y="14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0" name="Yemen" descr="{&quot;Key&quot;:&quot;yemen&quot;,&quot;Name&quot;:&quot;Yemen&quot;,&quot;Value&quot;:1.0,&quot;Formula&quot;:&quot;&quot;,&quot;Text&quot;:&quot;&quot;,&quot;OfficeApplication&quot;:1,&quot;HasValue&quot;:true}">
                    <a:extLst>
                      <a:ext uri="{FF2B5EF4-FFF2-40B4-BE49-F238E27FC236}">
                        <a16:creationId xmlns:a16="http://schemas.microsoft.com/office/drawing/2014/main" id="{88355D9E-8F14-C581-EABC-90705E6A3052}"/>
                      </a:ext>
                    </a:extLst>
                  </p:cNvPr>
                  <p:cNvSpPr>
                    <a:spLocks/>
                  </p:cNvSpPr>
                  <p:nvPr/>
                </p:nvSpPr>
                <p:spPr bwMode="auto">
                  <a:xfrm>
                    <a:off x="1690" y="2354"/>
                    <a:ext cx="212" cy="145"/>
                  </a:xfrm>
                  <a:custGeom>
                    <a:avLst/>
                    <a:gdLst>
                      <a:gd name="T0" fmla="*/ 760 w 760"/>
                      <a:gd name="T1" fmla="*/ 191 h 521"/>
                      <a:gd name="T2" fmla="*/ 706 w 760"/>
                      <a:gd name="T3" fmla="*/ 212 h 521"/>
                      <a:gd name="T4" fmla="*/ 687 w 760"/>
                      <a:gd name="T5" fmla="*/ 249 h 521"/>
                      <a:gd name="T6" fmla="*/ 682 w 760"/>
                      <a:gd name="T7" fmla="*/ 276 h 521"/>
                      <a:gd name="T8" fmla="*/ 607 w 760"/>
                      <a:gd name="T9" fmla="*/ 311 h 521"/>
                      <a:gd name="T10" fmla="*/ 490 w 760"/>
                      <a:gd name="T11" fmla="*/ 349 h 521"/>
                      <a:gd name="T12" fmla="*/ 420 w 760"/>
                      <a:gd name="T13" fmla="*/ 406 h 521"/>
                      <a:gd name="T14" fmla="*/ 387 w 760"/>
                      <a:gd name="T15" fmla="*/ 411 h 521"/>
                      <a:gd name="T16" fmla="*/ 367 w 760"/>
                      <a:gd name="T17" fmla="*/ 406 h 521"/>
                      <a:gd name="T18" fmla="*/ 321 w 760"/>
                      <a:gd name="T19" fmla="*/ 440 h 521"/>
                      <a:gd name="T20" fmla="*/ 275 w 760"/>
                      <a:gd name="T21" fmla="*/ 455 h 521"/>
                      <a:gd name="T22" fmla="*/ 213 w 760"/>
                      <a:gd name="T23" fmla="*/ 460 h 521"/>
                      <a:gd name="T24" fmla="*/ 196 w 760"/>
                      <a:gd name="T25" fmla="*/ 463 h 521"/>
                      <a:gd name="T26" fmla="*/ 177 w 760"/>
                      <a:gd name="T27" fmla="*/ 486 h 521"/>
                      <a:gd name="T28" fmla="*/ 158 w 760"/>
                      <a:gd name="T29" fmla="*/ 491 h 521"/>
                      <a:gd name="T30" fmla="*/ 145 w 760"/>
                      <a:gd name="T31" fmla="*/ 512 h 521"/>
                      <a:gd name="T32" fmla="*/ 110 w 760"/>
                      <a:gd name="T33" fmla="*/ 510 h 521"/>
                      <a:gd name="T34" fmla="*/ 86 w 760"/>
                      <a:gd name="T35" fmla="*/ 521 h 521"/>
                      <a:gd name="T36" fmla="*/ 37 w 760"/>
                      <a:gd name="T37" fmla="*/ 517 h 521"/>
                      <a:gd name="T38" fmla="*/ 23 w 760"/>
                      <a:gd name="T39" fmla="*/ 470 h 521"/>
                      <a:gd name="T40" fmla="*/ 31 w 760"/>
                      <a:gd name="T41" fmla="*/ 425 h 521"/>
                      <a:gd name="T42" fmla="*/ 22 w 760"/>
                      <a:gd name="T43" fmla="*/ 401 h 521"/>
                      <a:gd name="T44" fmla="*/ 16 w 760"/>
                      <a:gd name="T45" fmla="*/ 341 h 521"/>
                      <a:gd name="T46" fmla="*/ 0 w 760"/>
                      <a:gd name="T47" fmla="*/ 307 h 521"/>
                      <a:gd name="T48" fmla="*/ 13 w 760"/>
                      <a:gd name="T49" fmla="*/ 303 h 521"/>
                      <a:gd name="T50" fmla="*/ 12 w 760"/>
                      <a:gd name="T51" fmla="*/ 266 h 521"/>
                      <a:gd name="T52" fmla="*/ 22 w 760"/>
                      <a:gd name="T53" fmla="*/ 251 h 521"/>
                      <a:gd name="T54" fmla="*/ 25 w 760"/>
                      <a:gd name="T55" fmla="*/ 216 h 521"/>
                      <a:gd name="T56" fmla="*/ 58 w 760"/>
                      <a:gd name="T57" fmla="*/ 190 h 521"/>
                      <a:gd name="T58" fmla="*/ 57 w 760"/>
                      <a:gd name="T59" fmla="*/ 155 h 521"/>
                      <a:gd name="T60" fmla="*/ 81 w 760"/>
                      <a:gd name="T61" fmla="*/ 115 h 521"/>
                      <a:gd name="T62" fmla="*/ 107 w 760"/>
                      <a:gd name="T63" fmla="*/ 136 h 521"/>
                      <a:gd name="T64" fmla="*/ 127 w 760"/>
                      <a:gd name="T65" fmla="*/ 130 h 521"/>
                      <a:gd name="T66" fmla="*/ 210 w 760"/>
                      <a:gd name="T67" fmla="*/ 127 h 521"/>
                      <a:gd name="T68" fmla="*/ 221 w 760"/>
                      <a:gd name="T69" fmla="*/ 136 h 521"/>
                      <a:gd name="T70" fmla="*/ 288 w 760"/>
                      <a:gd name="T71" fmla="*/ 143 h 521"/>
                      <a:gd name="T72" fmla="*/ 316 w 760"/>
                      <a:gd name="T73" fmla="*/ 140 h 521"/>
                      <a:gd name="T74" fmla="*/ 331 w 760"/>
                      <a:gd name="T75" fmla="*/ 166 h 521"/>
                      <a:gd name="T76" fmla="*/ 366 w 760"/>
                      <a:gd name="T77" fmla="*/ 153 h 521"/>
                      <a:gd name="T78" fmla="*/ 428 w 760"/>
                      <a:gd name="T79" fmla="*/ 67 h 521"/>
                      <a:gd name="T80" fmla="*/ 500 w 760"/>
                      <a:gd name="T81" fmla="*/ 31 h 521"/>
                      <a:gd name="T82" fmla="*/ 708 w 760"/>
                      <a:gd name="T83" fmla="*/ 0 h 521"/>
                      <a:gd name="T84" fmla="*/ 744 w 760"/>
                      <a:gd name="T85" fmla="*/ 133 h 521"/>
                      <a:gd name="T86" fmla="*/ 760 w 760"/>
                      <a:gd name="T87" fmla="*/ 19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0" h="521">
                        <a:moveTo>
                          <a:pt x="760" y="191"/>
                        </a:moveTo>
                        <a:lnTo>
                          <a:pt x="706" y="212"/>
                        </a:lnTo>
                        <a:lnTo>
                          <a:pt x="687" y="249"/>
                        </a:lnTo>
                        <a:lnTo>
                          <a:pt x="682" y="276"/>
                        </a:lnTo>
                        <a:lnTo>
                          <a:pt x="607" y="311"/>
                        </a:lnTo>
                        <a:lnTo>
                          <a:pt x="490" y="349"/>
                        </a:lnTo>
                        <a:lnTo>
                          <a:pt x="420" y="406"/>
                        </a:lnTo>
                        <a:lnTo>
                          <a:pt x="387" y="411"/>
                        </a:lnTo>
                        <a:lnTo>
                          <a:pt x="367" y="406"/>
                        </a:lnTo>
                        <a:lnTo>
                          <a:pt x="321" y="440"/>
                        </a:lnTo>
                        <a:lnTo>
                          <a:pt x="275" y="455"/>
                        </a:lnTo>
                        <a:lnTo>
                          <a:pt x="213" y="460"/>
                        </a:lnTo>
                        <a:lnTo>
                          <a:pt x="196" y="463"/>
                        </a:lnTo>
                        <a:lnTo>
                          <a:pt x="177" y="486"/>
                        </a:lnTo>
                        <a:lnTo>
                          <a:pt x="158" y="491"/>
                        </a:lnTo>
                        <a:lnTo>
                          <a:pt x="145" y="512"/>
                        </a:lnTo>
                        <a:lnTo>
                          <a:pt x="110" y="510"/>
                        </a:lnTo>
                        <a:lnTo>
                          <a:pt x="86" y="521"/>
                        </a:lnTo>
                        <a:lnTo>
                          <a:pt x="37" y="517"/>
                        </a:lnTo>
                        <a:lnTo>
                          <a:pt x="23" y="470"/>
                        </a:lnTo>
                        <a:lnTo>
                          <a:pt x="31" y="425"/>
                        </a:lnTo>
                        <a:lnTo>
                          <a:pt x="22" y="401"/>
                        </a:lnTo>
                        <a:lnTo>
                          <a:pt x="16" y="341"/>
                        </a:lnTo>
                        <a:lnTo>
                          <a:pt x="0" y="307"/>
                        </a:lnTo>
                        <a:lnTo>
                          <a:pt x="13" y="303"/>
                        </a:lnTo>
                        <a:lnTo>
                          <a:pt x="12" y="266"/>
                        </a:lnTo>
                        <a:lnTo>
                          <a:pt x="22" y="251"/>
                        </a:lnTo>
                        <a:lnTo>
                          <a:pt x="25" y="216"/>
                        </a:lnTo>
                        <a:lnTo>
                          <a:pt x="58" y="190"/>
                        </a:lnTo>
                        <a:lnTo>
                          <a:pt x="57" y="155"/>
                        </a:lnTo>
                        <a:lnTo>
                          <a:pt x="81" y="115"/>
                        </a:lnTo>
                        <a:lnTo>
                          <a:pt x="107" y="136"/>
                        </a:lnTo>
                        <a:lnTo>
                          <a:pt x="127" y="130"/>
                        </a:lnTo>
                        <a:lnTo>
                          <a:pt x="210" y="127"/>
                        </a:lnTo>
                        <a:lnTo>
                          <a:pt x="221" y="136"/>
                        </a:lnTo>
                        <a:lnTo>
                          <a:pt x="288" y="143"/>
                        </a:lnTo>
                        <a:lnTo>
                          <a:pt x="316" y="140"/>
                        </a:lnTo>
                        <a:lnTo>
                          <a:pt x="331" y="166"/>
                        </a:lnTo>
                        <a:lnTo>
                          <a:pt x="366" y="153"/>
                        </a:lnTo>
                        <a:lnTo>
                          <a:pt x="428" y="67"/>
                        </a:lnTo>
                        <a:lnTo>
                          <a:pt x="500" y="31"/>
                        </a:lnTo>
                        <a:lnTo>
                          <a:pt x="708" y="0"/>
                        </a:lnTo>
                        <a:lnTo>
                          <a:pt x="744" y="133"/>
                        </a:lnTo>
                        <a:lnTo>
                          <a:pt x="760" y="19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1" name="Zambia" descr="{&quot;Key&quot;:&quot;zambia&quot;,&quot;Name&quot;:&quot;Zambia&quot;,&quot;Value&quot;:1.0,&quot;Formula&quot;:&quot;&quot;,&quot;Text&quot;:&quot;&quot;,&quot;OfficeApplication&quot;:1,&quot;HasValue&quot;:true}">
                    <a:extLst>
                      <a:ext uri="{FF2B5EF4-FFF2-40B4-BE49-F238E27FC236}">
                        <a16:creationId xmlns:a16="http://schemas.microsoft.com/office/drawing/2014/main" id="{F080D11C-E29C-8D9E-661A-F61640E8F16C}"/>
                      </a:ext>
                    </a:extLst>
                  </p:cNvPr>
                  <p:cNvSpPr>
                    <a:spLocks/>
                  </p:cNvSpPr>
                  <p:nvPr/>
                </p:nvSpPr>
                <p:spPr bwMode="auto">
                  <a:xfrm>
                    <a:off x="1272" y="2971"/>
                    <a:ext cx="227" cy="221"/>
                  </a:xfrm>
                  <a:custGeom>
                    <a:avLst/>
                    <a:gdLst>
                      <a:gd name="T0" fmla="*/ 625 w 815"/>
                      <a:gd name="T1" fmla="*/ 30 h 791"/>
                      <a:gd name="T2" fmla="*/ 702 w 815"/>
                      <a:gd name="T3" fmla="*/ 56 h 791"/>
                      <a:gd name="T4" fmla="*/ 780 w 815"/>
                      <a:gd name="T5" fmla="*/ 117 h 791"/>
                      <a:gd name="T6" fmla="*/ 794 w 815"/>
                      <a:gd name="T7" fmla="*/ 208 h 791"/>
                      <a:gd name="T8" fmla="*/ 807 w 815"/>
                      <a:gd name="T9" fmla="*/ 341 h 791"/>
                      <a:gd name="T10" fmla="*/ 775 w 815"/>
                      <a:gd name="T11" fmla="*/ 445 h 791"/>
                      <a:gd name="T12" fmla="*/ 608 w 815"/>
                      <a:gd name="T13" fmla="*/ 533 h 791"/>
                      <a:gd name="T14" fmla="*/ 571 w 815"/>
                      <a:gd name="T15" fmla="*/ 602 h 791"/>
                      <a:gd name="T16" fmla="*/ 531 w 815"/>
                      <a:gd name="T17" fmla="*/ 662 h 791"/>
                      <a:gd name="T18" fmla="*/ 456 w 815"/>
                      <a:gd name="T19" fmla="*/ 736 h 791"/>
                      <a:gd name="T20" fmla="*/ 403 w 815"/>
                      <a:gd name="T21" fmla="*/ 791 h 791"/>
                      <a:gd name="T22" fmla="*/ 298 w 815"/>
                      <a:gd name="T23" fmla="*/ 772 h 791"/>
                      <a:gd name="T24" fmla="*/ 283 w 815"/>
                      <a:gd name="T25" fmla="*/ 760 h 791"/>
                      <a:gd name="T26" fmla="*/ 204 w 815"/>
                      <a:gd name="T27" fmla="*/ 736 h 791"/>
                      <a:gd name="T28" fmla="*/ 94 w 815"/>
                      <a:gd name="T29" fmla="*/ 705 h 791"/>
                      <a:gd name="T30" fmla="*/ 0 w 815"/>
                      <a:gd name="T31" fmla="*/ 378 h 791"/>
                      <a:gd name="T32" fmla="*/ 140 w 815"/>
                      <a:gd name="T33" fmla="*/ 352 h 791"/>
                      <a:gd name="T34" fmla="*/ 130 w 815"/>
                      <a:gd name="T35" fmla="*/ 283 h 791"/>
                      <a:gd name="T36" fmla="*/ 124 w 815"/>
                      <a:gd name="T37" fmla="*/ 218 h 791"/>
                      <a:gd name="T38" fmla="*/ 155 w 815"/>
                      <a:gd name="T39" fmla="*/ 246 h 791"/>
                      <a:gd name="T40" fmla="*/ 234 w 815"/>
                      <a:gd name="T41" fmla="*/ 251 h 791"/>
                      <a:gd name="T42" fmla="*/ 320 w 815"/>
                      <a:gd name="T43" fmla="*/ 300 h 791"/>
                      <a:gd name="T44" fmla="*/ 383 w 815"/>
                      <a:gd name="T45" fmla="*/ 317 h 791"/>
                      <a:gd name="T46" fmla="*/ 469 w 815"/>
                      <a:gd name="T47" fmla="*/ 362 h 791"/>
                      <a:gd name="T48" fmla="*/ 558 w 815"/>
                      <a:gd name="T49" fmla="*/ 408 h 791"/>
                      <a:gd name="T50" fmla="*/ 524 w 815"/>
                      <a:gd name="T51" fmla="*/ 335 h 791"/>
                      <a:gd name="T52" fmla="*/ 449 w 815"/>
                      <a:gd name="T53" fmla="*/ 290 h 791"/>
                      <a:gd name="T54" fmla="*/ 454 w 815"/>
                      <a:gd name="T55" fmla="*/ 111 h 791"/>
                      <a:gd name="T56" fmla="*/ 452 w 815"/>
                      <a:gd name="T57" fmla="*/ 23 h 791"/>
                      <a:gd name="T58" fmla="*/ 565 w 815"/>
                      <a:gd name="T59" fmla="*/ 0 h 791"/>
                      <a:gd name="T60" fmla="*/ 575 w 815"/>
                      <a:gd name="T61" fmla="*/ 21 h 791"/>
                      <a:gd name="T62" fmla="*/ 616 w 815"/>
                      <a:gd name="T63" fmla="*/ 45 h 791"/>
                      <a:gd name="T64" fmla="*/ 622 w 815"/>
                      <a:gd name="T65" fmla="*/ 27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5" h="791">
                        <a:moveTo>
                          <a:pt x="622" y="27"/>
                        </a:moveTo>
                        <a:lnTo>
                          <a:pt x="625" y="30"/>
                        </a:lnTo>
                        <a:lnTo>
                          <a:pt x="654" y="42"/>
                        </a:lnTo>
                        <a:lnTo>
                          <a:pt x="702" y="56"/>
                        </a:lnTo>
                        <a:lnTo>
                          <a:pt x="744" y="81"/>
                        </a:lnTo>
                        <a:lnTo>
                          <a:pt x="780" y="117"/>
                        </a:lnTo>
                        <a:lnTo>
                          <a:pt x="804" y="186"/>
                        </a:lnTo>
                        <a:lnTo>
                          <a:pt x="794" y="208"/>
                        </a:lnTo>
                        <a:lnTo>
                          <a:pt x="786" y="273"/>
                        </a:lnTo>
                        <a:lnTo>
                          <a:pt x="807" y="341"/>
                        </a:lnTo>
                        <a:lnTo>
                          <a:pt x="788" y="370"/>
                        </a:lnTo>
                        <a:lnTo>
                          <a:pt x="775" y="445"/>
                        </a:lnTo>
                        <a:lnTo>
                          <a:pt x="815" y="466"/>
                        </a:lnTo>
                        <a:lnTo>
                          <a:pt x="608" y="533"/>
                        </a:lnTo>
                        <a:lnTo>
                          <a:pt x="624" y="591"/>
                        </a:lnTo>
                        <a:lnTo>
                          <a:pt x="571" y="602"/>
                        </a:lnTo>
                        <a:lnTo>
                          <a:pt x="535" y="635"/>
                        </a:lnTo>
                        <a:lnTo>
                          <a:pt x="531" y="662"/>
                        </a:lnTo>
                        <a:lnTo>
                          <a:pt x="508" y="670"/>
                        </a:lnTo>
                        <a:lnTo>
                          <a:pt x="456" y="736"/>
                        </a:lnTo>
                        <a:lnTo>
                          <a:pt x="427" y="788"/>
                        </a:lnTo>
                        <a:lnTo>
                          <a:pt x="403" y="791"/>
                        </a:lnTo>
                        <a:lnTo>
                          <a:pt x="379" y="781"/>
                        </a:lnTo>
                        <a:lnTo>
                          <a:pt x="298" y="772"/>
                        </a:lnTo>
                        <a:lnTo>
                          <a:pt x="284" y="766"/>
                        </a:lnTo>
                        <a:lnTo>
                          <a:pt x="283" y="760"/>
                        </a:lnTo>
                        <a:lnTo>
                          <a:pt x="252" y="741"/>
                        </a:lnTo>
                        <a:lnTo>
                          <a:pt x="204" y="736"/>
                        </a:lnTo>
                        <a:lnTo>
                          <a:pt x="150" y="755"/>
                        </a:lnTo>
                        <a:lnTo>
                          <a:pt x="94" y="705"/>
                        </a:lnTo>
                        <a:lnTo>
                          <a:pt x="35" y="637"/>
                        </a:lnTo>
                        <a:lnTo>
                          <a:pt x="0" y="378"/>
                        </a:lnTo>
                        <a:lnTo>
                          <a:pt x="149" y="380"/>
                        </a:lnTo>
                        <a:lnTo>
                          <a:pt x="140" y="352"/>
                        </a:lnTo>
                        <a:lnTo>
                          <a:pt x="146" y="321"/>
                        </a:lnTo>
                        <a:lnTo>
                          <a:pt x="130" y="283"/>
                        </a:lnTo>
                        <a:lnTo>
                          <a:pt x="134" y="243"/>
                        </a:lnTo>
                        <a:lnTo>
                          <a:pt x="124" y="218"/>
                        </a:lnTo>
                        <a:lnTo>
                          <a:pt x="149" y="221"/>
                        </a:lnTo>
                        <a:lnTo>
                          <a:pt x="155" y="246"/>
                        </a:lnTo>
                        <a:lnTo>
                          <a:pt x="189" y="245"/>
                        </a:lnTo>
                        <a:lnTo>
                          <a:pt x="234" y="251"/>
                        </a:lnTo>
                        <a:lnTo>
                          <a:pt x="263" y="288"/>
                        </a:lnTo>
                        <a:lnTo>
                          <a:pt x="320" y="300"/>
                        </a:lnTo>
                        <a:lnTo>
                          <a:pt x="362" y="275"/>
                        </a:lnTo>
                        <a:lnTo>
                          <a:pt x="383" y="317"/>
                        </a:lnTo>
                        <a:lnTo>
                          <a:pt x="438" y="328"/>
                        </a:lnTo>
                        <a:lnTo>
                          <a:pt x="469" y="362"/>
                        </a:lnTo>
                        <a:lnTo>
                          <a:pt x="503" y="407"/>
                        </a:lnTo>
                        <a:lnTo>
                          <a:pt x="558" y="408"/>
                        </a:lnTo>
                        <a:lnTo>
                          <a:pt x="541" y="321"/>
                        </a:lnTo>
                        <a:lnTo>
                          <a:pt x="524" y="335"/>
                        </a:lnTo>
                        <a:lnTo>
                          <a:pt x="470" y="303"/>
                        </a:lnTo>
                        <a:lnTo>
                          <a:pt x="449" y="290"/>
                        </a:lnTo>
                        <a:lnTo>
                          <a:pt x="450" y="207"/>
                        </a:lnTo>
                        <a:lnTo>
                          <a:pt x="454" y="111"/>
                        </a:lnTo>
                        <a:lnTo>
                          <a:pt x="435" y="76"/>
                        </a:lnTo>
                        <a:lnTo>
                          <a:pt x="452" y="23"/>
                        </a:lnTo>
                        <a:lnTo>
                          <a:pt x="469" y="13"/>
                        </a:lnTo>
                        <a:lnTo>
                          <a:pt x="565" y="0"/>
                        </a:lnTo>
                        <a:lnTo>
                          <a:pt x="578" y="3"/>
                        </a:lnTo>
                        <a:lnTo>
                          <a:pt x="575" y="21"/>
                        </a:lnTo>
                        <a:lnTo>
                          <a:pt x="599" y="28"/>
                        </a:lnTo>
                        <a:lnTo>
                          <a:pt x="616" y="45"/>
                        </a:lnTo>
                        <a:lnTo>
                          <a:pt x="628" y="40"/>
                        </a:lnTo>
                        <a:lnTo>
                          <a:pt x="622" y="2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2" name="Zimbabwe" descr="{&quot;Key&quot;:&quot;zimbabwe&quot;,&quot;Name&quot;:&quot;Zimbabwe&quot;,&quot;Value&quot;:1.0,&quot;Formula&quot;:&quot;&quot;,&quot;Text&quot;:&quot;&quot;,&quot;OfficeApplication&quot;:1,&quot;HasValue&quot;:true}">
                    <a:extLst>
                      <a:ext uri="{FF2B5EF4-FFF2-40B4-BE49-F238E27FC236}">
                        <a16:creationId xmlns:a16="http://schemas.microsoft.com/office/drawing/2014/main" id="{E50FD8D8-0BB9-1073-CEDB-A19D373EEE2D}"/>
                      </a:ext>
                    </a:extLst>
                  </p:cNvPr>
                  <p:cNvSpPr>
                    <a:spLocks/>
                  </p:cNvSpPr>
                  <p:nvPr/>
                </p:nvSpPr>
                <p:spPr bwMode="auto">
                  <a:xfrm>
                    <a:off x="1355" y="3136"/>
                    <a:ext cx="156" cy="154"/>
                  </a:xfrm>
                  <a:custGeom>
                    <a:avLst/>
                    <a:gdLst>
                      <a:gd name="T0" fmla="*/ 483 w 559"/>
                      <a:gd name="T1" fmla="*/ 549 h 550"/>
                      <a:gd name="T2" fmla="*/ 445 w 559"/>
                      <a:gd name="T3" fmla="*/ 540 h 550"/>
                      <a:gd name="T4" fmla="*/ 423 w 559"/>
                      <a:gd name="T5" fmla="*/ 550 h 550"/>
                      <a:gd name="T6" fmla="*/ 387 w 559"/>
                      <a:gd name="T7" fmla="*/ 536 h 550"/>
                      <a:gd name="T8" fmla="*/ 358 w 559"/>
                      <a:gd name="T9" fmla="*/ 535 h 550"/>
                      <a:gd name="T10" fmla="*/ 306 w 559"/>
                      <a:gd name="T11" fmla="*/ 498 h 550"/>
                      <a:gd name="T12" fmla="*/ 250 w 559"/>
                      <a:gd name="T13" fmla="*/ 486 h 550"/>
                      <a:gd name="T14" fmla="*/ 220 w 559"/>
                      <a:gd name="T15" fmla="*/ 435 h 550"/>
                      <a:gd name="T16" fmla="*/ 214 w 559"/>
                      <a:gd name="T17" fmla="*/ 406 h 550"/>
                      <a:gd name="T18" fmla="*/ 182 w 559"/>
                      <a:gd name="T19" fmla="*/ 397 h 550"/>
                      <a:gd name="T20" fmla="*/ 86 w 559"/>
                      <a:gd name="T21" fmla="*/ 307 h 550"/>
                      <a:gd name="T22" fmla="*/ 56 w 559"/>
                      <a:gd name="T23" fmla="*/ 261 h 550"/>
                      <a:gd name="T24" fmla="*/ 39 w 559"/>
                      <a:gd name="T25" fmla="*/ 246 h 550"/>
                      <a:gd name="T26" fmla="*/ 0 w 559"/>
                      <a:gd name="T27" fmla="*/ 181 h 550"/>
                      <a:gd name="T28" fmla="*/ 81 w 559"/>
                      <a:gd name="T29" fmla="*/ 190 h 550"/>
                      <a:gd name="T30" fmla="*/ 105 w 559"/>
                      <a:gd name="T31" fmla="*/ 200 h 550"/>
                      <a:gd name="T32" fmla="*/ 129 w 559"/>
                      <a:gd name="T33" fmla="*/ 197 h 550"/>
                      <a:gd name="T34" fmla="*/ 158 w 559"/>
                      <a:gd name="T35" fmla="*/ 145 h 550"/>
                      <a:gd name="T36" fmla="*/ 210 w 559"/>
                      <a:gd name="T37" fmla="*/ 78 h 550"/>
                      <a:gd name="T38" fmla="*/ 233 w 559"/>
                      <a:gd name="T39" fmla="*/ 71 h 550"/>
                      <a:gd name="T40" fmla="*/ 237 w 559"/>
                      <a:gd name="T41" fmla="*/ 43 h 550"/>
                      <a:gd name="T42" fmla="*/ 273 w 559"/>
                      <a:gd name="T43" fmla="*/ 11 h 550"/>
                      <a:gd name="T44" fmla="*/ 326 w 559"/>
                      <a:gd name="T45" fmla="*/ 0 h 550"/>
                      <a:gd name="T46" fmla="*/ 335 w 559"/>
                      <a:gd name="T47" fmla="*/ 30 h 550"/>
                      <a:gd name="T48" fmla="*/ 393 w 559"/>
                      <a:gd name="T49" fmla="*/ 28 h 550"/>
                      <a:gd name="T50" fmla="*/ 428 w 559"/>
                      <a:gd name="T51" fmla="*/ 46 h 550"/>
                      <a:gd name="T52" fmla="*/ 447 w 559"/>
                      <a:gd name="T53" fmla="*/ 66 h 550"/>
                      <a:gd name="T54" fmla="*/ 482 w 559"/>
                      <a:gd name="T55" fmla="*/ 72 h 550"/>
                      <a:gd name="T56" fmla="*/ 524 w 559"/>
                      <a:gd name="T57" fmla="*/ 98 h 550"/>
                      <a:gd name="T58" fmla="*/ 540 w 559"/>
                      <a:gd name="T59" fmla="*/ 201 h 550"/>
                      <a:gd name="T60" fmla="*/ 536 w 559"/>
                      <a:gd name="T61" fmla="*/ 257 h 550"/>
                      <a:gd name="T62" fmla="*/ 544 w 559"/>
                      <a:gd name="T63" fmla="*/ 317 h 550"/>
                      <a:gd name="T64" fmla="*/ 559 w 559"/>
                      <a:gd name="T65" fmla="*/ 342 h 550"/>
                      <a:gd name="T66" fmla="*/ 559 w 559"/>
                      <a:gd name="T67" fmla="*/ 390 h 550"/>
                      <a:gd name="T68" fmla="*/ 550 w 559"/>
                      <a:gd name="T69" fmla="*/ 397 h 550"/>
                      <a:gd name="T70" fmla="*/ 541 w 559"/>
                      <a:gd name="T71" fmla="*/ 456 h 550"/>
                      <a:gd name="T72" fmla="*/ 483 w 559"/>
                      <a:gd name="T73" fmla="*/ 54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9" h="550">
                        <a:moveTo>
                          <a:pt x="483" y="549"/>
                        </a:moveTo>
                        <a:lnTo>
                          <a:pt x="445" y="540"/>
                        </a:lnTo>
                        <a:lnTo>
                          <a:pt x="423" y="550"/>
                        </a:lnTo>
                        <a:lnTo>
                          <a:pt x="387" y="536"/>
                        </a:lnTo>
                        <a:lnTo>
                          <a:pt x="358" y="535"/>
                        </a:lnTo>
                        <a:lnTo>
                          <a:pt x="306" y="498"/>
                        </a:lnTo>
                        <a:lnTo>
                          <a:pt x="250" y="486"/>
                        </a:lnTo>
                        <a:lnTo>
                          <a:pt x="220" y="435"/>
                        </a:lnTo>
                        <a:lnTo>
                          <a:pt x="214" y="406"/>
                        </a:lnTo>
                        <a:lnTo>
                          <a:pt x="182" y="397"/>
                        </a:lnTo>
                        <a:lnTo>
                          <a:pt x="86" y="307"/>
                        </a:lnTo>
                        <a:lnTo>
                          <a:pt x="56" y="261"/>
                        </a:lnTo>
                        <a:lnTo>
                          <a:pt x="39" y="246"/>
                        </a:lnTo>
                        <a:lnTo>
                          <a:pt x="0" y="181"/>
                        </a:lnTo>
                        <a:lnTo>
                          <a:pt x="81" y="190"/>
                        </a:lnTo>
                        <a:lnTo>
                          <a:pt x="105" y="200"/>
                        </a:lnTo>
                        <a:lnTo>
                          <a:pt x="129" y="197"/>
                        </a:lnTo>
                        <a:lnTo>
                          <a:pt x="158" y="145"/>
                        </a:lnTo>
                        <a:lnTo>
                          <a:pt x="210" y="78"/>
                        </a:lnTo>
                        <a:lnTo>
                          <a:pt x="233" y="71"/>
                        </a:lnTo>
                        <a:lnTo>
                          <a:pt x="237" y="43"/>
                        </a:lnTo>
                        <a:lnTo>
                          <a:pt x="273" y="11"/>
                        </a:lnTo>
                        <a:lnTo>
                          <a:pt x="326" y="0"/>
                        </a:lnTo>
                        <a:lnTo>
                          <a:pt x="335" y="30"/>
                        </a:lnTo>
                        <a:lnTo>
                          <a:pt x="393" y="28"/>
                        </a:lnTo>
                        <a:lnTo>
                          <a:pt x="428" y="46"/>
                        </a:lnTo>
                        <a:lnTo>
                          <a:pt x="447" y="66"/>
                        </a:lnTo>
                        <a:lnTo>
                          <a:pt x="482" y="72"/>
                        </a:lnTo>
                        <a:lnTo>
                          <a:pt x="524" y="98"/>
                        </a:lnTo>
                        <a:lnTo>
                          <a:pt x="540" y="201"/>
                        </a:lnTo>
                        <a:lnTo>
                          <a:pt x="536" y="257"/>
                        </a:lnTo>
                        <a:lnTo>
                          <a:pt x="544" y="317"/>
                        </a:lnTo>
                        <a:lnTo>
                          <a:pt x="559" y="342"/>
                        </a:lnTo>
                        <a:lnTo>
                          <a:pt x="559" y="390"/>
                        </a:lnTo>
                        <a:lnTo>
                          <a:pt x="550" y="397"/>
                        </a:lnTo>
                        <a:lnTo>
                          <a:pt x="541" y="456"/>
                        </a:lnTo>
                        <a:lnTo>
                          <a:pt x="483" y="54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3" name="Kosovo" descr="{&quot;Key&quot;:&quot;kosovo&quot;,&quot;Name&quot;:&quot;Kosovo&quot;,&quot;Value&quot;:1.0,&quot;Formula&quot;:&quot;&quot;,&quot;Text&quot;:&quot;&quot;,&quot;OfficeApplication&quot;:1,&quot;HasValue&quot;:true}">
                    <a:extLst>
                      <a:ext uri="{FF2B5EF4-FFF2-40B4-BE49-F238E27FC236}">
                        <a16:creationId xmlns:a16="http://schemas.microsoft.com/office/drawing/2014/main" id="{1F1BE389-BFF3-8C3E-3134-9A5CA0584330}"/>
                      </a:ext>
                    </a:extLst>
                  </p:cNvPr>
                  <p:cNvSpPr>
                    <a:spLocks/>
                  </p:cNvSpPr>
                  <p:nvPr/>
                </p:nvSpPr>
                <p:spPr bwMode="auto">
                  <a:xfrm>
                    <a:off x="1453" y="1805"/>
                    <a:ext cx="32" cy="32"/>
                  </a:xfrm>
                  <a:custGeom>
                    <a:avLst/>
                    <a:gdLst>
                      <a:gd name="T0" fmla="*/ 83 w 116"/>
                      <a:gd name="T1" fmla="*/ 83 h 114"/>
                      <a:gd name="T2" fmla="*/ 66 w 116"/>
                      <a:gd name="T3" fmla="*/ 85 h 114"/>
                      <a:gd name="T4" fmla="*/ 21 w 116"/>
                      <a:gd name="T5" fmla="*/ 98 h 114"/>
                      <a:gd name="T6" fmla="*/ 8 w 116"/>
                      <a:gd name="T7" fmla="*/ 114 h 114"/>
                      <a:gd name="T8" fmla="*/ 0 w 116"/>
                      <a:gd name="T9" fmla="*/ 114 h 114"/>
                      <a:gd name="T10" fmla="*/ 12 w 116"/>
                      <a:gd name="T11" fmla="*/ 85 h 114"/>
                      <a:gd name="T12" fmla="*/ 2 w 116"/>
                      <a:gd name="T13" fmla="*/ 76 h 114"/>
                      <a:gd name="T14" fmla="*/ 1 w 116"/>
                      <a:gd name="T15" fmla="*/ 55 h 114"/>
                      <a:gd name="T16" fmla="*/ 23 w 116"/>
                      <a:gd name="T17" fmla="*/ 36 h 114"/>
                      <a:gd name="T18" fmla="*/ 42 w 116"/>
                      <a:gd name="T19" fmla="*/ 31 h 114"/>
                      <a:gd name="T20" fmla="*/ 67 w 116"/>
                      <a:gd name="T21" fmla="*/ 4 h 114"/>
                      <a:gd name="T22" fmla="*/ 82 w 116"/>
                      <a:gd name="T23" fmla="*/ 0 h 114"/>
                      <a:gd name="T24" fmla="*/ 85 w 116"/>
                      <a:gd name="T25" fmla="*/ 11 h 114"/>
                      <a:gd name="T26" fmla="*/ 93 w 116"/>
                      <a:gd name="T27" fmla="*/ 16 h 114"/>
                      <a:gd name="T28" fmla="*/ 95 w 116"/>
                      <a:gd name="T29" fmla="*/ 29 h 114"/>
                      <a:gd name="T30" fmla="*/ 103 w 116"/>
                      <a:gd name="T31" fmla="*/ 33 h 114"/>
                      <a:gd name="T32" fmla="*/ 107 w 116"/>
                      <a:gd name="T33" fmla="*/ 48 h 114"/>
                      <a:gd name="T34" fmla="*/ 116 w 116"/>
                      <a:gd name="T35" fmla="*/ 48 h 114"/>
                      <a:gd name="T36" fmla="*/ 97 w 116"/>
                      <a:gd name="T37" fmla="*/ 66 h 114"/>
                      <a:gd name="T38" fmla="*/ 85 w 116"/>
                      <a:gd name="T39" fmla="*/ 76 h 114"/>
                      <a:gd name="T40" fmla="*/ 83 w 116"/>
                      <a:gd name="T41" fmla="*/ 8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14">
                        <a:moveTo>
                          <a:pt x="83" y="83"/>
                        </a:moveTo>
                        <a:lnTo>
                          <a:pt x="66" y="85"/>
                        </a:lnTo>
                        <a:lnTo>
                          <a:pt x="21" y="98"/>
                        </a:lnTo>
                        <a:lnTo>
                          <a:pt x="8" y="114"/>
                        </a:lnTo>
                        <a:lnTo>
                          <a:pt x="0" y="114"/>
                        </a:lnTo>
                        <a:lnTo>
                          <a:pt x="12" y="85"/>
                        </a:lnTo>
                        <a:lnTo>
                          <a:pt x="2" y="76"/>
                        </a:lnTo>
                        <a:lnTo>
                          <a:pt x="1" y="55"/>
                        </a:lnTo>
                        <a:lnTo>
                          <a:pt x="23" y="36"/>
                        </a:lnTo>
                        <a:lnTo>
                          <a:pt x="42" y="31"/>
                        </a:lnTo>
                        <a:lnTo>
                          <a:pt x="67" y="4"/>
                        </a:lnTo>
                        <a:lnTo>
                          <a:pt x="82" y="0"/>
                        </a:lnTo>
                        <a:lnTo>
                          <a:pt x="85" y="11"/>
                        </a:lnTo>
                        <a:lnTo>
                          <a:pt x="93" y="16"/>
                        </a:lnTo>
                        <a:lnTo>
                          <a:pt x="95" y="29"/>
                        </a:lnTo>
                        <a:lnTo>
                          <a:pt x="103" y="33"/>
                        </a:lnTo>
                        <a:lnTo>
                          <a:pt x="107" y="48"/>
                        </a:lnTo>
                        <a:lnTo>
                          <a:pt x="116" y="48"/>
                        </a:lnTo>
                        <a:lnTo>
                          <a:pt x="97" y="66"/>
                        </a:lnTo>
                        <a:lnTo>
                          <a:pt x="85" y="76"/>
                        </a:lnTo>
                        <a:lnTo>
                          <a:pt x="83" y="8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4" name="South Africa" descr="{&quot;Key&quot;:&quot;south africa&quot;,&quot;Name&quot;:&quot;South Africa&quot;,&quot;Value&quot;:1.0,&quot;Formula&quot;:&quot;&quot;,&quot;Text&quot;:&quot;&quot;,&quot;OfficeApplication&quot;:1,&quot;HasValue&quot;:true}">
                    <a:extLst>
                      <a:ext uri="{FF2B5EF4-FFF2-40B4-BE49-F238E27FC236}">
                        <a16:creationId xmlns:a16="http://schemas.microsoft.com/office/drawing/2014/main" id="{E3120D3F-0230-B983-F18C-78AD0EE606B3}"/>
                      </a:ext>
                    </a:extLst>
                  </p:cNvPr>
                  <p:cNvSpPr>
                    <a:spLocks noEditPoints="1"/>
                  </p:cNvSpPr>
                  <p:nvPr/>
                </p:nvSpPr>
                <p:spPr bwMode="auto">
                  <a:xfrm>
                    <a:off x="1237" y="3285"/>
                    <a:ext cx="310" cy="289"/>
                  </a:xfrm>
                  <a:custGeom>
                    <a:avLst/>
                    <a:gdLst>
                      <a:gd name="T0" fmla="*/ 963 w 1109"/>
                      <a:gd name="T1" fmla="*/ 127 h 1035"/>
                      <a:gd name="T2" fmla="*/ 1000 w 1109"/>
                      <a:gd name="T3" fmla="*/ 276 h 1035"/>
                      <a:gd name="T4" fmla="*/ 975 w 1109"/>
                      <a:gd name="T5" fmla="*/ 290 h 1035"/>
                      <a:gd name="T6" fmla="*/ 955 w 1109"/>
                      <a:gd name="T7" fmla="*/ 320 h 1035"/>
                      <a:gd name="T8" fmla="*/ 952 w 1109"/>
                      <a:gd name="T9" fmla="*/ 378 h 1035"/>
                      <a:gd name="T10" fmla="*/ 1043 w 1109"/>
                      <a:gd name="T11" fmla="*/ 413 h 1035"/>
                      <a:gd name="T12" fmla="*/ 1100 w 1109"/>
                      <a:gd name="T13" fmla="*/ 378 h 1035"/>
                      <a:gd name="T14" fmla="*/ 1109 w 1109"/>
                      <a:gd name="T15" fmla="*/ 505 h 1035"/>
                      <a:gd name="T16" fmla="*/ 1068 w 1109"/>
                      <a:gd name="T17" fmla="*/ 582 h 1035"/>
                      <a:gd name="T18" fmla="*/ 1041 w 1109"/>
                      <a:gd name="T19" fmla="*/ 636 h 1035"/>
                      <a:gd name="T20" fmla="*/ 1016 w 1109"/>
                      <a:gd name="T21" fmla="*/ 736 h 1035"/>
                      <a:gd name="T22" fmla="*/ 938 w 1109"/>
                      <a:gd name="T23" fmla="*/ 868 h 1035"/>
                      <a:gd name="T24" fmla="*/ 843 w 1109"/>
                      <a:gd name="T25" fmla="*/ 937 h 1035"/>
                      <a:gd name="T26" fmla="*/ 809 w 1109"/>
                      <a:gd name="T27" fmla="*/ 963 h 1035"/>
                      <a:gd name="T28" fmla="*/ 736 w 1109"/>
                      <a:gd name="T29" fmla="*/ 967 h 1035"/>
                      <a:gd name="T30" fmla="*/ 619 w 1109"/>
                      <a:gd name="T31" fmla="*/ 961 h 1035"/>
                      <a:gd name="T32" fmla="*/ 533 w 1109"/>
                      <a:gd name="T33" fmla="*/ 988 h 1035"/>
                      <a:gd name="T34" fmla="*/ 452 w 1109"/>
                      <a:gd name="T35" fmla="*/ 1032 h 1035"/>
                      <a:gd name="T36" fmla="*/ 380 w 1109"/>
                      <a:gd name="T37" fmla="*/ 1006 h 1035"/>
                      <a:gd name="T38" fmla="*/ 312 w 1109"/>
                      <a:gd name="T39" fmla="*/ 968 h 1035"/>
                      <a:gd name="T40" fmla="*/ 294 w 1109"/>
                      <a:gd name="T41" fmla="*/ 957 h 1035"/>
                      <a:gd name="T42" fmla="*/ 230 w 1109"/>
                      <a:gd name="T43" fmla="*/ 855 h 1035"/>
                      <a:gd name="T44" fmla="*/ 220 w 1109"/>
                      <a:gd name="T45" fmla="*/ 778 h 1035"/>
                      <a:gd name="T46" fmla="*/ 87 w 1109"/>
                      <a:gd name="T47" fmla="*/ 633 h 1035"/>
                      <a:gd name="T48" fmla="*/ 0 w 1109"/>
                      <a:gd name="T49" fmla="*/ 527 h 1035"/>
                      <a:gd name="T50" fmla="*/ 55 w 1109"/>
                      <a:gd name="T51" fmla="*/ 510 h 1035"/>
                      <a:gd name="T52" fmla="*/ 112 w 1109"/>
                      <a:gd name="T53" fmla="*/ 550 h 1035"/>
                      <a:gd name="T54" fmla="*/ 195 w 1109"/>
                      <a:gd name="T55" fmla="*/ 560 h 1035"/>
                      <a:gd name="T56" fmla="*/ 159 w 1109"/>
                      <a:gd name="T57" fmla="*/ 217 h 1035"/>
                      <a:gd name="T58" fmla="*/ 242 w 1109"/>
                      <a:gd name="T59" fmla="*/ 307 h 1035"/>
                      <a:gd name="T60" fmla="*/ 273 w 1109"/>
                      <a:gd name="T61" fmla="*/ 385 h 1035"/>
                      <a:gd name="T62" fmla="*/ 344 w 1109"/>
                      <a:gd name="T63" fmla="*/ 341 h 1035"/>
                      <a:gd name="T64" fmla="*/ 378 w 1109"/>
                      <a:gd name="T65" fmla="*/ 277 h 1035"/>
                      <a:gd name="T66" fmla="*/ 439 w 1109"/>
                      <a:gd name="T67" fmla="*/ 268 h 1035"/>
                      <a:gd name="T68" fmla="*/ 536 w 1109"/>
                      <a:gd name="T69" fmla="*/ 295 h 1035"/>
                      <a:gd name="T70" fmla="*/ 576 w 1109"/>
                      <a:gd name="T71" fmla="*/ 251 h 1035"/>
                      <a:gd name="T72" fmla="*/ 616 w 1109"/>
                      <a:gd name="T73" fmla="*/ 205 h 1035"/>
                      <a:gd name="T74" fmla="*/ 643 w 1109"/>
                      <a:gd name="T75" fmla="*/ 121 h 1035"/>
                      <a:gd name="T76" fmla="*/ 781 w 1109"/>
                      <a:gd name="T77" fmla="*/ 0 h 1035"/>
                      <a:gd name="T78" fmla="*/ 846 w 1109"/>
                      <a:gd name="T79" fmla="*/ 15 h 1035"/>
                      <a:gd name="T80" fmla="*/ 906 w 1109"/>
                      <a:gd name="T81" fmla="*/ 14 h 1035"/>
                      <a:gd name="T82" fmla="*/ 869 w 1109"/>
                      <a:gd name="T83" fmla="*/ 661 h 1035"/>
                      <a:gd name="T84" fmla="*/ 906 w 1109"/>
                      <a:gd name="T85" fmla="*/ 622 h 1035"/>
                      <a:gd name="T86" fmla="*/ 884 w 1109"/>
                      <a:gd name="T87" fmla="*/ 558 h 1035"/>
                      <a:gd name="T88" fmla="*/ 819 w 1109"/>
                      <a:gd name="T89" fmla="*/ 550 h 1035"/>
                      <a:gd name="T90" fmla="*/ 771 w 1109"/>
                      <a:gd name="T91" fmla="*/ 632 h 1035"/>
                      <a:gd name="T92" fmla="*/ 865 w 1109"/>
                      <a:gd name="T93" fmla="*/ 687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9" h="1035">
                        <a:moveTo>
                          <a:pt x="906" y="14"/>
                        </a:moveTo>
                        <a:lnTo>
                          <a:pt x="963" y="127"/>
                        </a:lnTo>
                        <a:lnTo>
                          <a:pt x="993" y="185"/>
                        </a:lnTo>
                        <a:lnTo>
                          <a:pt x="1000" y="276"/>
                        </a:lnTo>
                        <a:lnTo>
                          <a:pt x="1014" y="305"/>
                        </a:lnTo>
                        <a:lnTo>
                          <a:pt x="975" y="290"/>
                        </a:lnTo>
                        <a:lnTo>
                          <a:pt x="957" y="296"/>
                        </a:lnTo>
                        <a:lnTo>
                          <a:pt x="955" y="320"/>
                        </a:lnTo>
                        <a:lnTo>
                          <a:pt x="944" y="350"/>
                        </a:lnTo>
                        <a:lnTo>
                          <a:pt x="952" y="378"/>
                        </a:lnTo>
                        <a:lnTo>
                          <a:pt x="1005" y="422"/>
                        </a:lnTo>
                        <a:lnTo>
                          <a:pt x="1043" y="413"/>
                        </a:lnTo>
                        <a:lnTo>
                          <a:pt x="1048" y="377"/>
                        </a:lnTo>
                        <a:lnTo>
                          <a:pt x="1100" y="378"/>
                        </a:lnTo>
                        <a:lnTo>
                          <a:pt x="1099" y="437"/>
                        </a:lnTo>
                        <a:lnTo>
                          <a:pt x="1109" y="505"/>
                        </a:lnTo>
                        <a:lnTo>
                          <a:pt x="1103" y="541"/>
                        </a:lnTo>
                        <a:lnTo>
                          <a:pt x="1068" y="582"/>
                        </a:lnTo>
                        <a:lnTo>
                          <a:pt x="1058" y="595"/>
                        </a:lnTo>
                        <a:lnTo>
                          <a:pt x="1041" y="636"/>
                        </a:lnTo>
                        <a:lnTo>
                          <a:pt x="1035" y="677"/>
                        </a:lnTo>
                        <a:lnTo>
                          <a:pt x="1016" y="736"/>
                        </a:lnTo>
                        <a:lnTo>
                          <a:pt x="969" y="820"/>
                        </a:lnTo>
                        <a:lnTo>
                          <a:pt x="938" y="868"/>
                        </a:lnTo>
                        <a:lnTo>
                          <a:pt x="901" y="905"/>
                        </a:lnTo>
                        <a:lnTo>
                          <a:pt x="843" y="937"/>
                        </a:lnTo>
                        <a:lnTo>
                          <a:pt x="809" y="941"/>
                        </a:lnTo>
                        <a:lnTo>
                          <a:pt x="809" y="963"/>
                        </a:lnTo>
                        <a:lnTo>
                          <a:pt x="763" y="951"/>
                        </a:lnTo>
                        <a:lnTo>
                          <a:pt x="736" y="967"/>
                        </a:lnTo>
                        <a:lnTo>
                          <a:pt x="655" y="951"/>
                        </a:lnTo>
                        <a:lnTo>
                          <a:pt x="619" y="961"/>
                        </a:lnTo>
                        <a:lnTo>
                          <a:pt x="589" y="957"/>
                        </a:lnTo>
                        <a:lnTo>
                          <a:pt x="533" y="988"/>
                        </a:lnTo>
                        <a:lnTo>
                          <a:pt x="480" y="1002"/>
                        </a:lnTo>
                        <a:lnTo>
                          <a:pt x="452" y="1032"/>
                        </a:lnTo>
                        <a:lnTo>
                          <a:pt x="422" y="1035"/>
                        </a:lnTo>
                        <a:lnTo>
                          <a:pt x="380" y="1006"/>
                        </a:lnTo>
                        <a:lnTo>
                          <a:pt x="357" y="1005"/>
                        </a:lnTo>
                        <a:lnTo>
                          <a:pt x="312" y="968"/>
                        </a:lnTo>
                        <a:lnTo>
                          <a:pt x="313" y="980"/>
                        </a:lnTo>
                        <a:lnTo>
                          <a:pt x="294" y="957"/>
                        </a:lnTo>
                        <a:lnTo>
                          <a:pt x="275" y="910"/>
                        </a:lnTo>
                        <a:lnTo>
                          <a:pt x="230" y="855"/>
                        </a:lnTo>
                        <a:lnTo>
                          <a:pt x="247" y="841"/>
                        </a:lnTo>
                        <a:lnTo>
                          <a:pt x="220" y="778"/>
                        </a:lnTo>
                        <a:lnTo>
                          <a:pt x="147" y="702"/>
                        </a:lnTo>
                        <a:lnTo>
                          <a:pt x="87" y="633"/>
                        </a:lnTo>
                        <a:lnTo>
                          <a:pt x="87" y="632"/>
                        </a:lnTo>
                        <a:lnTo>
                          <a:pt x="0" y="527"/>
                        </a:lnTo>
                        <a:lnTo>
                          <a:pt x="20" y="487"/>
                        </a:lnTo>
                        <a:lnTo>
                          <a:pt x="55" y="510"/>
                        </a:lnTo>
                        <a:lnTo>
                          <a:pt x="78" y="543"/>
                        </a:lnTo>
                        <a:lnTo>
                          <a:pt x="112" y="550"/>
                        </a:lnTo>
                        <a:lnTo>
                          <a:pt x="159" y="565"/>
                        </a:lnTo>
                        <a:lnTo>
                          <a:pt x="195" y="560"/>
                        </a:lnTo>
                        <a:lnTo>
                          <a:pt x="243" y="517"/>
                        </a:lnTo>
                        <a:lnTo>
                          <a:pt x="159" y="217"/>
                        </a:lnTo>
                        <a:lnTo>
                          <a:pt x="180" y="230"/>
                        </a:lnTo>
                        <a:lnTo>
                          <a:pt x="242" y="307"/>
                        </a:lnTo>
                        <a:lnTo>
                          <a:pt x="249" y="356"/>
                        </a:lnTo>
                        <a:lnTo>
                          <a:pt x="273" y="385"/>
                        </a:lnTo>
                        <a:lnTo>
                          <a:pt x="320" y="377"/>
                        </a:lnTo>
                        <a:lnTo>
                          <a:pt x="344" y="341"/>
                        </a:lnTo>
                        <a:lnTo>
                          <a:pt x="371" y="316"/>
                        </a:lnTo>
                        <a:lnTo>
                          <a:pt x="378" y="277"/>
                        </a:lnTo>
                        <a:lnTo>
                          <a:pt x="408" y="258"/>
                        </a:lnTo>
                        <a:lnTo>
                          <a:pt x="439" y="268"/>
                        </a:lnTo>
                        <a:lnTo>
                          <a:pt x="478" y="291"/>
                        </a:lnTo>
                        <a:lnTo>
                          <a:pt x="536" y="295"/>
                        </a:lnTo>
                        <a:lnTo>
                          <a:pt x="576" y="276"/>
                        </a:lnTo>
                        <a:lnTo>
                          <a:pt x="576" y="251"/>
                        </a:lnTo>
                        <a:lnTo>
                          <a:pt x="580" y="212"/>
                        </a:lnTo>
                        <a:lnTo>
                          <a:pt x="616" y="205"/>
                        </a:lnTo>
                        <a:lnTo>
                          <a:pt x="630" y="175"/>
                        </a:lnTo>
                        <a:lnTo>
                          <a:pt x="643" y="121"/>
                        </a:lnTo>
                        <a:lnTo>
                          <a:pt x="693" y="60"/>
                        </a:lnTo>
                        <a:lnTo>
                          <a:pt x="781" y="0"/>
                        </a:lnTo>
                        <a:lnTo>
                          <a:pt x="810" y="1"/>
                        </a:lnTo>
                        <a:lnTo>
                          <a:pt x="846" y="15"/>
                        </a:lnTo>
                        <a:lnTo>
                          <a:pt x="868" y="5"/>
                        </a:lnTo>
                        <a:lnTo>
                          <a:pt x="906" y="14"/>
                        </a:lnTo>
                        <a:close/>
                        <a:moveTo>
                          <a:pt x="865" y="687"/>
                        </a:moveTo>
                        <a:lnTo>
                          <a:pt x="869" y="661"/>
                        </a:lnTo>
                        <a:lnTo>
                          <a:pt x="904" y="649"/>
                        </a:lnTo>
                        <a:lnTo>
                          <a:pt x="906" y="622"/>
                        </a:lnTo>
                        <a:lnTo>
                          <a:pt x="915" y="582"/>
                        </a:lnTo>
                        <a:lnTo>
                          <a:pt x="884" y="558"/>
                        </a:lnTo>
                        <a:lnTo>
                          <a:pt x="846" y="533"/>
                        </a:lnTo>
                        <a:lnTo>
                          <a:pt x="819" y="550"/>
                        </a:lnTo>
                        <a:lnTo>
                          <a:pt x="792" y="581"/>
                        </a:lnTo>
                        <a:lnTo>
                          <a:pt x="771" y="632"/>
                        </a:lnTo>
                        <a:lnTo>
                          <a:pt x="844" y="695"/>
                        </a:lnTo>
                        <a:lnTo>
                          <a:pt x="865" y="68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5" name="New Zealand" descr="{&quot;Key&quot;:&quot;new zealand&quot;,&quot;Name&quot;:&quot;New Zealand&quot;,&quot;Value&quot;:1.0,&quot;Formula&quot;:&quot;&quot;,&quot;Text&quot;:&quot;&quot;,&quot;OfficeApplication&quot;:1,&quot;HasValue&quot;:true}">
                    <a:extLst>
                      <a:ext uri="{FF2B5EF4-FFF2-40B4-BE49-F238E27FC236}">
                        <a16:creationId xmlns:a16="http://schemas.microsoft.com/office/drawing/2014/main" id="{3914DBD9-6733-E734-C882-64670F7E1DAA}"/>
                      </a:ext>
                    </a:extLst>
                  </p:cNvPr>
                  <p:cNvSpPr>
                    <a:spLocks noEditPoints="1"/>
                  </p:cNvSpPr>
                  <p:nvPr/>
                </p:nvSpPr>
                <p:spPr bwMode="auto">
                  <a:xfrm>
                    <a:off x="4112" y="3566"/>
                    <a:ext cx="237" cy="274"/>
                  </a:xfrm>
                  <a:custGeom>
                    <a:avLst/>
                    <a:gdLst>
                      <a:gd name="T0" fmla="*/ 470 w 851"/>
                      <a:gd name="T1" fmla="*/ 557 h 982"/>
                      <a:gd name="T2" fmla="*/ 536 w 851"/>
                      <a:gd name="T3" fmla="*/ 559 h 982"/>
                      <a:gd name="T4" fmla="*/ 504 w 851"/>
                      <a:gd name="T5" fmla="*/ 630 h 982"/>
                      <a:gd name="T6" fmla="*/ 419 w 851"/>
                      <a:gd name="T7" fmla="*/ 721 h 982"/>
                      <a:gd name="T8" fmla="*/ 387 w 851"/>
                      <a:gd name="T9" fmla="*/ 761 h 982"/>
                      <a:gd name="T10" fmla="*/ 308 w 851"/>
                      <a:gd name="T11" fmla="*/ 844 h 982"/>
                      <a:gd name="T12" fmla="*/ 209 w 851"/>
                      <a:gd name="T13" fmla="*/ 960 h 982"/>
                      <a:gd name="T14" fmla="*/ 116 w 851"/>
                      <a:gd name="T15" fmla="*/ 981 h 982"/>
                      <a:gd name="T16" fmla="*/ 8 w 851"/>
                      <a:gd name="T17" fmla="*/ 949 h 982"/>
                      <a:gd name="T18" fmla="*/ 39 w 851"/>
                      <a:gd name="T19" fmla="*/ 860 h 982"/>
                      <a:gd name="T20" fmla="*/ 170 w 851"/>
                      <a:gd name="T21" fmla="*/ 766 h 982"/>
                      <a:gd name="T22" fmla="*/ 279 w 851"/>
                      <a:gd name="T23" fmla="*/ 694 h 982"/>
                      <a:gd name="T24" fmla="*/ 356 w 851"/>
                      <a:gd name="T25" fmla="*/ 592 h 982"/>
                      <a:gd name="T26" fmla="*/ 398 w 851"/>
                      <a:gd name="T27" fmla="*/ 526 h 982"/>
                      <a:gd name="T28" fmla="*/ 459 w 851"/>
                      <a:gd name="T29" fmla="*/ 524 h 982"/>
                      <a:gd name="T30" fmla="*/ 641 w 851"/>
                      <a:gd name="T31" fmla="*/ 224 h 982"/>
                      <a:gd name="T32" fmla="*/ 676 w 851"/>
                      <a:gd name="T33" fmla="*/ 190 h 982"/>
                      <a:gd name="T34" fmla="*/ 733 w 851"/>
                      <a:gd name="T35" fmla="*/ 279 h 982"/>
                      <a:gd name="T36" fmla="*/ 818 w 851"/>
                      <a:gd name="T37" fmla="*/ 254 h 982"/>
                      <a:gd name="T38" fmla="*/ 826 w 851"/>
                      <a:gd name="T39" fmla="*/ 335 h 982"/>
                      <a:gd name="T40" fmla="*/ 751 w 851"/>
                      <a:gd name="T41" fmla="*/ 381 h 982"/>
                      <a:gd name="T42" fmla="*/ 733 w 851"/>
                      <a:gd name="T43" fmla="*/ 440 h 982"/>
                      <a:gd name="T44" fmla="*/ 691 w 851"/>
                      <a:gd name="T45" fmla="*/ 499 h 982"/>
                      <a:gd name="T46" fmla="*/ 599 w 851"/>
                      <a:gd name="T47" fmla="*/ 586 h 982"/>
                      <a:gd name="T48" fmla="*/ 563 w 851"/>
                      <a:gd name="T49" fmla="*/ 552 h 982"/>
                      <a:gd name="T50" fmla="*/ 591 w 851"/>
                      <a:gd name="T51" fmla="*/ 442 h 982"/>
                      <a:gd name="T52" fmla="*/ 528 w 851"/>
                      <a:gd name="T53" fmla="*/ 381 h 982"/>
                      <a:gd name="T54" fmla="*/ 596 w 851"/>
                      <a:gd name="T55" fmla="*/ 290 h 982"/>
                      <a:gd name="T56" fmla="*/ 575 w 851"/>
                      <a:gd name="T57" fmla="*/ 184 h 982"/>
                      <a:gd name="T58" fmla="*/ 549 w 851"/>
                      <a:gd name="T59" fmla="*/ 136 h 982"/>
                      <a:gd name="T60" fmla="*/ 477 w 851"/>
                      <a:gd name="T61" fmla="*/ 6 h 982"/>
                      <a:gd name="T62" fmla="*/ 537 w 851"/>
                      <a:gd name="T63" fmla="*/ 45 h 982"/>
                      <a:gd name="T64" fmla="*/ 601 w 851"/>
                      <a:gd name="T65" fmla="*/ 139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1" h="982">
                        <a:moveTo>
                          <a:pt x="459" y="524"/>
                        </a:moveTo>
                        <a:lnTo>
                          <a:pt x="470" y="557"/>
                        </a:lnTo>
                        <a:lnTo>
                          <a:pt x="520" y="525"/>
                        </a:lnTo>
                        <a:lnTo>
                          <a:pt x="536" y="559"/>
                        </a:lnTo>
                        <a:lnTo>
                          <a:pt x="533" y="592"/>
                        </a:lnTo>
                        <a:lnTo>
                          <a:pt x="504" y="630"/>
                        </a:lnTo>
                        <a:lnTo>
                          <a:pt x="455" y="689"/>
                        </a:lnTo>
                        <a:lnTo>
                          <a:pt x="419" y="721"/>
                        </a:lnTo>
                        <a:lnTo>
                          <a:pt x="437" y="760"/>
                        </a:lnTo>
                        <a:lnTo>
                          <a:pt x="387" y="761"/>
                        </a:lnTo>
                        <a:lnTo>
                          <a:pt x="330" y="791"/>
                        </a:lnTo>
                        <a:lnTo>
                          <a:pt x="308" y="844"/>
                        </a:lnTo>
                        <a:lnTo>
                          <a:pt x="263" y="924"/>
                        </a:lnTo>
                        <a:lnTo>
                          <a:pt x="209" y="960"/>
                        </a:lnTo>
                        <a:lnTo>
                          <a:pt x="175" y="982"/>
                        </a:lnTo>
                        <a:lnTo>
                          <a:pt x="116" y="981"/>
                        </a:lnTo>
                        <a:lnTo>
                          <a:pt x="78" y="955"/>
                        </a:lnTo>
                        <a:lnTo>
                          <a:pt x="8" y="949"/>
                        </a:lnTo>
                        <a:lnTo>
                          <a:pt x="0" y="920"/>
                        </a:lnTo>
                        <a:lnTo>
                          <a:pt x="39" y="860"/>
                        </a:lnTo>
                        <a:lnTo>
                          <a:pt x="126" y="781"/>
                        </a:lnTo>
                        <a:lnTo>
                          <a:pt x="170" y="766"/>
                        </a:lnTo>
                        <a:lnTo>
                          <a:pt x="219" y="736"/>
                        </a:lnTo>
                        <a:lnTo>
                          <a:pt x="279" y="694"/>
                        </a:lnTo>
                        <a:lnTo>
                          <a:pt x="323" y="652"/>
                        </a:lnTo>
                        <a:lnTo>
                          <a:pt x="356" y="592"/>
                        </a:lnTo>
                        <a:lnTo>
                          <a:pt x="384" y="571"/>
                        </a:lnTo>
                        <a:lnTo>
                          <a:pt x="398" y="526"/>
                        </a:lnTo>
                        <a:lnTo>
                          <a:pt x="448" y="490"/>
                        </a:lnTo>
                        <a:lnTo>
                          <a:pt x="459" y="524"/>
                        </a:lnTo>
                        <a:close/>
                        <a:moveTo>
                          <a:pt x="601" y="139"/>
                        </a:moveTo>
                        <a:lnTo>
                          <a:pt x="641" y="224"/>
                        </a:lnTo>
                        <a:lnTo>
                          <a:pt x="649" y="169"/>
                        </a:lnTo>
                        <a:lnTo>
                          <a:pt x="676" y="190"/>
                        </a:lnTo>
                        <a:lnTo>
                          <a:pt x="681" y="252"/>
                        </a:lnTo>
                        <a:lnTo>
                          <a:pt x="733" y="279"/>
                        </a:lnTo>
                        <a:lnTo>
                          <a:pt x="776" y="285"/>
                        </a:lnTo>
                        <a:lnTo>
                          <a:pt x="818" y="254"/>
                        </a:lnTo>
                        <a:lnTo>
                          <a:pt x="851" y="264"/>
                        </a:lnTo>
                        <a:lnTo>
                          <a:pt x="826" y="335"/>
                        </a:lnTo>
                        <a:lnTo>
                          <a:pt x="801" y="382"/>
                        </a:lnTo>
                        <a:lnTo>
                          <a:pt x="751" y="381"/>
                        </a:lnTo>
                        <a:lnTo>
                          <a:pt x="730" y="405"/>
                        </a:lnTo>
                        <a:lnTo>
                          <a:pt x="733" y="440"/>
                        </a:lnTo>
                        <a:lnTo>
                          <a:pt x="721" y="455"/>
                        </a:lnTo>
                        <a:lnTo>
                          <a:pt x="691" y="499"/>
                        </a:lnTo>
                        <a:lnTo>
                          <a:pt x="653" y="554"/>
                        </a:lnTo>
                        <a:lnTo>
                          <a:pt x="599" y="586"/>
                        </a:lnTo>
                        <a:lnTo>
                          <a:pt x="589" y="565"/>
                        </a:lnTo>
                        <a:lnTo>
                          <a:pt x="563" y="552"/>
                        </a:lnTo>
                        <a:lnTo>
                          <a:pt x="609" y="486"/>
                        </a:lnTo>
                        <a:lnTo>
                          <a:pt x="591" y="442"/>
                        </a:lnTo>
                        <a:lnTo>
                          <a:pt x="524" y="410"/>
                        </a:lnTo>
                        <a:lnTo>
                          <a:pt x="528" y="381"/>
                        </a:lnTo>
                        <a:lnTo>
                          <a:pt x="579" y="352"/>
                        </a:lnTo>
                        <a:lnTo>
                          <a:pt x="596" y="290"/>
                        </a:lnTo>
                        <a:lnTo>
                          <a:pt x="597" y="237"/>
                        </a:lnTo>
                        <a:lnTo>
                          <a:pt x="575" y="184"/>
                        </a:lnTo>
                        <a:lnTo>
                          <a:pt x="579" y="169"/>
                        </a:lnTo>
                        <a:lnTo>
                          <a:pt x="549" y="136"/>
                        </a:lnTo>
                        <a:lnTo>
                          <a:pt x="501" y="64"/>
                        </a:lnTo>
                        <a:lnTo>
                          <a:pt x="477" y="6"/>
                        </a:lnTo>
                        <a:lnTo>
                          <a:pt x="504" y="0"/>
                        </a:lnTo>
                        <a:lnTo>
                          <a:pt x="537" y="45"/>
                        </a:lnTo>
                        <a:lnTo>
                          <a:pt x="587" y="66"/>
                        </a:lnTo>
                        <a:lnTo>
                          <a:pt x="601" y="13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6" name="Chile" descr="{&quot;Key&quot;:&quot;chile&quot;,&quot;Name&quot;:&quot;Chile&quot;,&quot;Value&quot;:1.0,&quot;Formula&quot;:&quot;&quot;,&quot;Text&quot;:&quot;&quot;,&quot;OfficeApplication&quot;:1,&quot;HasValue&quot;:true}">
                    <a:extLst>
                      <a:ext uri="{FF2B5EF4-FFF2-40B4-BE49-F238E27FC236}">
                        <a16:creationId xmlns:a16="http://schemas.microsoft.com/office/drawing/2014/main" id="{99C1B69C-F1DB-E516-9056-7710DEF312AE}"/>
                      </a:ext>
                    </a:extLst>
                  </p:cNvPr>
                  <p:cNvSpPr>
                    <a:spLocks noEditPoints="1"/>
                  </p:cNvSpPr>
                  <p:nvPr/>
                </p:nvSpPr>
                <p:spPr bwMode="auto">
                  <a:xfrm>
                    <a:off x="6120" y="3183"/>
                    <a:ext cx="495" cy="852"/>
                  </a:xfrm>
                  <a:custGeom>
                    <a:avLst/>
                    <a:gdLst>
                      <a:gd name="T0" fmla="*/ 226 w 1775"/>
                      <a:gd name="T1" fmla="*/ 2998 h 3056"/>
                      <a:gd name="T2" fmla="*/ 325 w 1775"/>
                      <a:gd name="T3" fmla="*/ 3001 h 3056"/>
                      <a:gd name="T4" fmla="*/ 202 w 1775"/>
                      <a:gd name="T5" fmla="*/ 3056 h 3056"/>
                      <a:gd name="T6" fmla="*/ 146 w 1775"/>
                      <a:gd name="T7" fmla="*/ 3047 h 3056"/>
                      <a:gd name="T8" fmla="*/ 71 w 1775"/>
                      <a:gd name="T9" fmla="*/ 3013 h 3056"/>
                      <a:gd name="T10" fmla="*/ 10 w 1775"/>
                      <a:gd name="T11" fmla="*/ 2928 h 3056"/>
                      <a:gd name="T12" fmla="*/ 36 w 1775"/>
                      <a:gd name="T13" fmla="*/ 2858 h 3056"/>
                      <a:gd name="T14" fmla="*/ 134 w 1775"/>
                      <a:gd name="T15" fmla="*/ 2937 h 3056"/>
                      <a:gd name="T16" fmla="*/ 261 w 1775"/>
                      <a:gd name="T17" fmla="*/ 2849 h 3056"/>
                      <a:gd name="T18" fmla="*/ 381 w 1775"/>
                      <a:gd name="T19" fmla="*/ 2826 h 3056"/>
                      <a:gd name="T20" fmla="*/ 1775 w 1775"/>
                      <a:gd name="T21" fmla="*/ 439 h 3056"/>
                      <a:gd name="T22" fmla="*/ 1644 w 1775"/>
                      <a:gd name="T23" fmla="*/ 564 h 3056"/>
                      <a:gd name="T24" fmla="*/ 1586 w 1775"/>
                      <a:gd name="T25" fmla="*/ 726 h 3056"/>
                      <a:gd name="T26" fmla="*/ 1531 w 1775"/>
                      <a:gd name="T27" fmla="*/ 808 h 3056"/>
                      <a:gd name="T28" fmla="*/ 1410 w 1775"/>
                      <a:gd name="T29" fmla="*/ 958 h 3056"/>
                      <a:gd name="T30" fmla="*/ 1311 w 1775"/>
                      <a:gd name="T31" fmla="*/ 1121 h 3056"/>
                      <a:gd name="T32" fmla="*/ 1295 w 1775"/>
                      <a:gd name="T33" fmla="*/ 1276 h 3056"/>
                      <a:gd name="T34" fmla="*/ 1185 w 1775"/>
                      <a:gd name="T35" fmla="*/ 1431 h 3056"/>
                      <a:gd name="T36" fmla="*/ 1078 w 1775"/>
                      <a:gd name="T37" fmla="*/ 1551 h 3056"/>
                      <a:gd name="T38" fmla="*/ 1018 w 1775"/>
                      <a:gd name="T39" fmla="*/ 1704 h 3056"/>
                      <a:gd name="T40" fmla="*/ 904 w 1775"/>
                      <a:gd name="T41" fmla="*/ 1806 h 3056"/>
                      <a:gd name="T42" fmla="*/ 791 w 1775"/>
                      <a:gd name="T43" fmla="*/ 1987 h 3056"/>
                      <a:gd name="T44" fmla="*/ 711 w 1775"/>
                      <a:gd name="T45" fmla="*/ 2096 h 3056"/>
                      <a:gd name="T46" fmla="*/ 678 w 1775"/>
                      <a:gd name="T47" fmla="*/ 2159 h 3056"/>
                      <a:gd name="T48" fmla="*/ 684 w 1775"/>
                      <a:gd name="T49" fmla="*/ 2205 h 3056"/>
                      <a:gd name="T50" fmla="*/ 621 w 1775"/>
                      <a:gd name="T51" fmla="*/ 2268 h 3056"/>
                      <a:gd name="T52" fmla="*/ 445 w 1775"/>
                      <a:gd name="T53" fmla="*/ 2442 h 3056"/>
                      <a:gd name="T54" fmla="*/ 368 w 1775"/>
                      <a:gd name="T55" fmla="*/ 2532 h 3056"/>
                      <a:gd name="T56" fmla="*/ 236 w 1775"/>
                      <a:gd name="T57" fmla="*/ 2649 h 3056"/>
                      <a:gd name="T58" fmla="*/ 281 w 1775"/>
                      <a:gd name="T59" fmla="*/ 2673 h 3056"/>
                      <a:gd name="T60" fmla="*/ 221 w 1775"/>
                      <a:gd name="T61" fmla="*/ 2777 h 3056"/>
                      <a:gd name="T62" fmla="*/ 408 w 1775"/>
                      <a:gd name="T63" fmla="*/ 2799 h 3056"/>
                      <a:gd name="T64" fmla="*/ 308 w 1775"/>
                      <a:gd name="T65" fmla="*/ 2818 h 3056"/>
                      <a:gd name="T66" fmla="*/ 156 w 1775"/>
                      <a:gd name="T67" fmla="*/ 2919 h 3056"/>
                      <a:gd name="T68" fmla="*/ 83 w 1775"/>
                      <a:gd name="T69" fmla="*/ 2895 h 3056"/>
                      <a:gd name="T70" fmla="*/ 19 w 1775"/>
                      <a:gd name="T71" fmla="*/ 2797 h 3056"/>
                      <a:gd name="T72" fmla="*/ 94 w 1775"/>
                      <a:gd name="T73" fmla="*/ 2702 h 3056"/>
                      <a:gd name="T74" fmla="*/ 193 w 1775"/>
                      <a:gd name="T75" fmla="*/ 2515 h 3056"/>
                      <a:gd name="T76" fmla="*/ 383 w 1775"/>
                      <a:gd name="T77" fmla="*/ 2378 h 3056"/>
                      <a:gd name="T78" fmla="*/ 409 w 1775"/>
                      <a:gd name="T79" fmla="*/ 2284 h 3056"/>
                      <a:gd name="T80" fmla="*/ 571 w 1775"/>
                      <a:gd name="T81" fmla="*/ 2179 h 3056"/>
                      <a:gd name="T82" fmla="*/ 680 w 1775"/>
                      <a:gd name="T83" fmla="*/ 1992 h 3056"/>
                      <a:gd name="T84" fmla="*/ 564 w 1775"/>
                      <a:gd name="T85" fmla="*/ 2080 h 3056"/>
                      <a:gd name="T86" fmla="*/ 765 w 1775"/>
                      <a:gd name="T87" fmla="*/ 1817 h 3056"/>
                      <a:gd name="T88" fmla="*/ 850 w 1775"/>
                      <a:gd name="T89" fmla="*/ 1683 h 3056"/>
                      <a:gd name="T90" fmla="*/ 921 w 1775"/>
                      <a:gd name="T91" fmla="*/ 1589 h 3056"/>
                      <a:gd name="T92" fmla="*/ 1133 w 1775"/>
                      <a:gd name="T93" fmla="*/ 1328 h 3056"/>
                      <a:gd name="T94" fmla="*/ 1249 w 1775"/>
                      <a:gd name="T95" fmla="*/ 1084 h 3056"/>
                      <a:gd name="T96" fmla="*/ 1323 w 1775"/>
                      <a:gd name="T97" fmla="*/ 917 h 3056"/>
                      <a:gd name="T98" fmla="*/ 1456 w 1775"/>
                      <a:gd name="T99" fmla="*/ 660 h 3056"/>
                      <a:gd name="T100" fmla="*/ 1585 w 1775"/>
                      <a:gd name="T101" fmla="*/ 310 h 3056"/>
                      <a:gd name="T102" fmla="*/ 1616 w 1775"/>
                      <a:gd name="T103" fmla="*/ 63 h 3056"/>
                      <a:gd name="T104" fmla="*/ 1684 w 1775"/>
                      <a:gd name="T105" fmla="*/ 0 h 3056"/>
                      <a:gd name="T106" fmla="*/ 1705 w 1775"/>
                      <a:gd name="T107" fmla="*/ 114 h 3056"/>
                      <a:gd name="T108" fmla="*/ 1696 w 1775"/>
                      <a:gd name="T109" fmla="*/ 227 h 3056"/>
                      <a:gd name="T110" fmla="*/ 1718 w 1775"/>
                      <a:gd name="T111" fmla="*/ 430 h 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5" h="3056">
                        <a:moveTo>
                          <a:pt x="381" y="2826"/>
                        </a:moveTo>
                        <a:lnTo>
                          <a:pt x="226" y="2998"/>
                        </a:lnTo>
                        <a:lnTo>
                          <a:pt x="291" y="2998"/>
                        </a:lnTo>
                        <a:lnTo>
                          <a:pt x="325" y="3001"/>
                        </a:lnTo>
                        <a:lnTo>
                          <a:pt x="276" y="3032"/>
                        </a:lnTo>
                        <a:lnTo>
                          <a:pt x="202" y="3056"/>
                        </a:lnTo>
                        <a:lnTo>
                          <a:pt x="176" y="3053"/>
                        </a:lnTo>
                        <a:lnTo>
                          <a:pt x="146" y="3047"/>
                        </a:lnTo>
                        <a:lnTo>
                          <a:pt x="124" y="3024"/>
                        </a:lnTo>
                        <a:lnTo>
                          <a:pt x="71" y="3013"/>
                        </a:lnTo>
                        <a:lnTo>
                          <a:pt x="35" y="2969"/>
                        </a:lnTo>
                        <a:lnTo>
                          <a:pt x="10" y="2928"/>
                        </a:lnTo>
                        <a:lnTo>
                          <a:pt x="0" y="2842"/>
                        </a:lnTo>
                        <a:lnTo>
                          <a:pt x="36" y="2858"/>
                        </a:lnTo>
                        <a:lnTo>
                          <a:pt x="77" y="2909"/>
                        </a:lnTo>
                        <a:lnTo>
                          <a:pt x="134" y="2937"/>
                        </a:lnTo>
                        <a:lnTo>
                          <a:pt x="195" y="2902"/>
                        </a:lnTo>
                        <a:lnTo>
                          <a:pt x="261" y="2849"/>
                        </a:lnTo>
                        <a:lnTo>
                          <a:pt x="345" y="2817"/>
                        </a:lnTo>
                        <a:lnTo>
                          <a:pt x="381" y="2826"/>
                        </a:lnTo>
                        <a:close/>
                        <a:moveTo>
                          <a:pt x="1771" y="419"/>
                        </a:moveTo>
                        <a:lnTo>
                          <a:pt x="1775" y="439"/>
                        </a:lnTo>
                        <a:lnTo>
                          <a:pt x="1730" y="524"/>
                        </a:lnTo>
                        <a:lnTo>
                          <a:pt x="1644" y="564"/>
                        </a:lnTo>
                        <a:lnTo>
                          <a:pt x="1609" y="699"/>
                        </a:lnTo>
                        <a:lnTo>
                          <a:pt x="1586" y="726"/>
                        </a:lnTo>
                        <a:lnTo>
                          <a:pt x="1598" y="758"/>
                        </a:lnTo>
                        <a:lnTo>
                          <a:pt x="1531" y="808"/>
                        </a:lnTo>
                        <a:lnTo>
                          <a:pt x="1461" y="884"/>
                        </a:lnTo>
                        <a:lnTo>
                          <a:pt x="1410" y="958"/>
                        </a:lnTo>
                        <a:lnTo>
                          <a:pt x="1388" y="1037"/>
                        </a:lnTo>
                        <a:lnTo>
                          <a:pt x="1311" y="1121"/>
                        </a:lnTo>
                        <a:lnTo>
                          <a:pt x="1284" y="1262"/>
                        </a:lnTo>
                        <a:lnTo>
                          <a:pt x="1295" y="1276"/>
                        </a:lnTo>
                        <a:lnTo>
                          <a:pt x="1261" y="1351"/>
                        </a:lnTo>
                        <a:lnTo>
                          <a:pt x="1185" y="1431"/>
                        </a:lnTo>
                        <a:lnTo>
                          <a:pt x="1154" y="1498"/>
                        </a:lnTo>
                        <a:lnTo>
                          <a:pt x="1078" y="1551"/>
                        </a:lnTo>
                        <a:lnTo>
                          <a:pt x="1039" y="1626"/>
                        </a:lnTo>
                        <a:lnTo>
                          <a:pt x="1018" y="1704"/>
                        </a:lnTo>
                        <a:lnTo>
                          <a:pt x="961" y="1734"/>
                        </a:lnTo>
                        <a:lnTo>
                          <a:pt x="904" y="1806"/>
                        </a:lnTo>
                        <a:lnTo>
                          <a:pt x="840" y="1888"/>
                        </a:lnTo>
                        <a:lnTo>
                          <a:pt x="791" y="1987"/>
                        </a:lnTo>
                        <a:lnTo>
                          <a:pt x="755" y="2003"/>
                        </a:lnTo>
                        <a:lnTo>
                          <a:pt x="711" y="2096"/>
                        </a:lnTo>
                        <a:lnTo>
                          <a:pt x="721" y="2127"/>
                        </a:lnTo>
                        <a:lnTo>
                          <a:pt x="678" y="2159"/>
                        </a:lnTo>
                        <a:lnTo>
                          <a:pt x="696" y="2175"/>
                        </a:lnTo>
                        <a:lnTo>
                          <a:pt x="684" y="2205"/>
                        </a:lnTo>
                        <a:lnTo>
                          <a:pt x="645" y="2222"/>
                        </a:lnTo>
                        <a:lnTo>
                          <a:pt x="621" y="2268"/>
                        </a:lnTo>
                        <a:lnTo>
                          <a:pt x="526" y="2373"/>
                        </a:lnTo>
                        <a:lnTo>
                          <a:pt x="445" y="2442"/>
                        </a:lnTo>
                        <a:lnTo>
                          <a:pt x="424" y="2482"/>
                        </a:lnTo>
                        <a:lnTo>
                          <a:pt x="368" y="2532"/>
                        </a:lnTo>
                        <a:lnTo>
                          <a:pt x="294" y="2567"/>
                        </a:lnTo>
                        <a:lnTo>
                          <a:pt x="236" y="2649"/>
                        </a:lnTo>
                        <a:lnTo>
                          <a:pt x="236" y="2678"/>
                        </a:lnTo>
                        <a:lnTo>
                          <a:pt x="281" y="2673"/>
                        </a:lnTo>
                        <a:lnTo>
                          <a:pt x="234" y="2732"/>
                        </a:lnTo>
                        <a:lnTo>
                          <a:pt x="221" y="2777"/>
                        </a:lnTo>
                        <a:lnTo>
                          <a:pt x="361" y="2788"/>
                        </a:lnTo>
                        <a:lnTo>
                          <a:pt x="408" y="2799"/>
                        </a:lnTo>
                        <a:lnTo>
                          <a:pt x="354" y="2799"/>
                        </a:lnTo>
                        <a:lnTo>
                          <a:pt x="308" y="2818"/>
                        </a:lnTo>
                        <a:lnTo>
                          <a:pt x="229" y="2847"/>
                        </a:lnTo>
                        <a:lnTo>
                          <a:pt x="156" y="2919"/>
                        </a:lnTo>
                        <a:lnTo>
                          <a:pt x="129" y="2920"/>
                        </a:lnTo>
                        <a:lnTo>
                          <a:pt x="83" y="2895"/>
                        </a:lnTo>
                        <a:lnTo>
                          <a:pt x="59" y="2842"/>
                        </a:lnTo>
                        <a:lnTo>
                          <a:pt x="19" y="2797"/>
                        </a:lnTo>
                        <a:lnTo>
                          <a:pt x="40" y="2748"/>
                        </a:lnTo>
                        <a:lnTo>
                          <a:pt x="94" y="2702"/>
                        </a:lnTo>
                        <a:lnTo>
                          <a:pt x="103" y="2649"/>
                        </a:lnTo>
                        <a:lnTo>
                          <a:pt x="193" y="2515"/>
                        </a:lnTo>
                        <a:lnTo>
                          <a:pt x="274" y="2439"/>
                        </a:lnTo>
                        <a:lnTo>
                          <a:pt x="383" y="2378"/>
                        </a:lnTo>
                        <a:lnTo>
                          <a:pt x="301" y="2354"/>
                        </a:lnTo>
                        <a:lnTo>
                          <a:pt x="409" y="2284"/>
                        </a:lnTo>
                        <a:lnTo>
                          <a:pt x="518" y="2152"/>
                        </a:lnTo>
                        <a:lnTo>
                          <a:pt x="571" y="2179"/>
                        </a:lnTo>
                        <a:lnTo>
                          <a:pt x="711" y="2013"/>
                        </a:lnTo>
                        <a:lnTo>
                          <a:pt x="680" y="1992"/>
                        </a:lnTo>
                        <a:lnTo>
                          <a:pt x="598" y="2093"/>
                        </a:lnTo>
                        <a:lnTo>
                          <a:pt x="564" y="2080"/>
                        </a:lnTo>
                        <a:lnTo>
                          <a:pt x="655" y="1967"/>
                        </a:lnTo>
                        <a:lnTo>
                          <a:pt x="765" y="1817"/>
                        </a:lnTo>
                        <a:lnTo>
                          <a:pt x="826" y="1762"/>
                        </a:lnTo>
                        <a:lnTo>
                          <a:pt x="850" y="1683"/>
                        </a:lnTo>
                        <a:lnTo>
                          <a:pt x="891" y="1592"/>
                        </a:lnTo>
                        <a:lnTo>
                          <a:pt x="921" y="1589"/>
                        </a:lnTo>
                        <a:lnTo>
                          <a:pt x="1026" y="1458"/>
                        </a:lnTo>
                        <a:lnTo>
                          <a:pt x="1133" y="1328"/>
                        </a:lnTo>
                        <a:lnTo>
                          <a:pt x="1215" y="1207"/>
                        </a:lnTo>
                        <a:lnTo>
                          <a:pt x="1249" y="1084"/>
                        </a:lnTo>
                        <a:lnTo>
                          <a:pt x="1295" y="1018"/>
                        </a:lnTo>
                        <a:lnTo>
                          <a:pt x="1323" y="917"/>
                        </a:lnTo>
                        <a:lnTo>
                          <a:pt x="1396" y="818"/>
                        </a:lnTo>
                        <a:lnTo>
                          <a:pt x="1456" y="660"/>
                        </a:lnTo>
                        <a:lnTo>
                          <a:pt x="1523" y="492"/>
                        </a:lnTo>
                        <a:lnTo>
                          <a:pt x="1585" y="310"/>
                        </a:lnTo>
                        <a:lnTo>
                          <a:pt x="1608" y="177"/>
                        </a:lnTo>
                        <a:lnTo>
                          <a:pt x="1616" y="63"/>
                        </a:lnTo>
                        <a:lnTo>
                          <a:pt x="1658" y="42"/>
                        </a:lnTo>
                        <a:lnTo>
                          <a:pt x="1684" y="0"/>
                        </a:lnTo>
                        <a:lnTo>
                          <a:pt x="1708" y="55"/>
                        </a:lnTo>
                        <a:lnTo>
                          <a:pt x="1705" y="114"/>
                        </a:lnTo>
                        <a:lnTo>
                          <a:pt x="1735" y="149"/>
                        </a:lnTo>
                        <a:lnTo>
                          <a:pt x="1696" y="227"/>
                        </a:lnTo>
                        <a:lnTo>
                          <a:pt x="1715" y="318"/>
                        </a:lnTo>
                        <a:lnTo>
                          <a:pt x="1718" y="430"/>
                        </a:lnTo>
                        <a:lnTo>
                          <a:pt x="1771" y="41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7" name="Netherlands" descr="{&quot;Key&quot;:&quot;netherlands&quot;,&quot;Name&quot;:&quot;Netherlands&quot;,&quot;Value&quot;:1.0,&quot;Formula&quot;:&quot;&quot;,&quot;Text&quot;:&quot;&quot;,&quot;OfficeApplication&quot;:1,&quot;HasValue&quot;:true}">
                    <a:extLst>
                      <a:ext uri="{FF2B5EF4-FFF2-40B4-BE49-F238E27FC236}">
                        <a16:creationId xmlns:a16="http://schemas.microsoft.com/office/drawing/2014/main" id="{C09375D9-733C-D8DA-7AF1-32B4821587A0}"/>
                      </a:ext>
                    </a:extLst>
                  </p:cNvPr>
                  <p:cNvSpPr>
                    <a:spLocks/>
                  </p:cNvSpPr>
                  <p:nvPr/>
                </p:nvSpPr>
                <p:spPr bwMode="auto">
                  <a:xfrm>
                    <a:off x="1293" y="1579"/>
                    <a:ext cx="102" cy="59"/>
                  </a:xfrm>
                  <a:custGeom>
                    <a:avLst/>
                    <a:gdLst>
                      <a:gd name="T0" fmla="*/ 140 w 367"/>
                      <a:gd name="T1" fmla="*/ 210 h 210"/>
                      <a:gd name="T2" fmla="*/ 122 w 367"/>
                      <a:gd name="T3" fmla="*/ 193 h 210"/>
                      <a:gd name="T4" fmla="*/ 112 w 367"/>
                      <a:gd name="T5" fmla="*/ 158 h 210"/>
                      <a:gd name="T6" fmla="*/ 40 w 367"/>
                      <a:gd name="T7" fmla="*/ 174 h 210"/>
                      <a:gd name="T8" fmla="*/ 0 w 367"/>
                      <a:gd name="T9" fmla="*/ 168 h 210"/>
                      <a:gd name="T10" fmla="*/ 50 w 367"/>
                      <a:gd name="T11" fmla="*/ 147 h 210"/>
                      <a:gd name="T12" fmla="*/ 205 w 367"/>
                      <a:gd name="T13" fmla="*/ 33 h 210"/>
                      <a:gd name="T14" fmla="*/ 318 w 367"/>
                      <a:gd name="T15" fmla="*/ 0 h 210"/>
                      <a:gd name="T16" fmla="*/ 367 w 367"/>
                      <a:gd name="T17" fmla="*/ 2 h 210"/>
                      <a:gd name="T18" fmla="*/ 354 w 367"/>
                      <a:gd name="T19" fmla="*/ 28 h 210"/>
                      <a:gd name="T20" fmla="*/ 277 w 367"/>
                      <a:gd name="T21" fmla="*/ 99 h 210"/>
                      <a:gd name="T22" fmla="*/ 237 w 367"/>
                      <a:gd name="T23" fmla="*/ 129 h 210"/>
                      <a:gd name="T24" fmla="*/ 199 w 367"/>
                      <a:gd name="T25" fmla="*/ 129 h 210"/>
                      <a:gd name="T26" fmla="*/ 140 w 367"/>
                      <a:gd name="T2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7" h="210">
                        <a:moveTo>
                          <a:pt x="140" y="210"/>
                        </a:moveTo>
                        <a:lnTo>
                          <a:pt x="122" y="193"/>
                        </a:lnTo>
                        <a:lnTo>
                          <a:pt x="112" y="158"/>
                        </a:lnTo>
                        <a:lnTo>
                          <a:pt x="40" y="174"/>
                        </a:lnTo>
                        <a:lnTo>
                          <a:pt x="0" y="168"/>
                        </a:lnTo>
                        <a:lnTo>
                          <a:pt x="50" y="147"/>
                        </a:lnTo>
                        <a:lnTo>
                          <a:pt x="205" y="33"/>
                        </a:lnTo>
                        <a:lnTo>
                          <a:pt x="318" y="0"/>
                        </a:lnTo>
                        <a:lnTo>
                          <a:pt x="367" y="2"/>
                        </a:lnTo>
                        <a:lnTo>
                          <a:pt x="354" y="28"/>
                        </a:lnTo>
                        <a:lnTo>
                          <a:pt x="277" y="99"/>
                        </a:lnTo>
                        <a:lnTo>
                          <a:pt x="237" y="129"/>
                        </a:lnTo>
                        <a:lnTo>
                          <a:pt x="199" y="129"/>
                        </a:lnTo>
                        <a:lnTo>
                          <a:pt x="140" y="21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8" name="Portugal" descr="{&quot;Key&quot;:&quot;portugal&quot;,&quot;Name&quot;:&quot;Portugal&quot;,&quot;Value&quot;:1.0,&quot;Formula&quot;:&quot;&quot;,&quot;Text&quot;:&quot;&quot;,&quot;OfficeApplication&quot;:1,&quot;HasValue&quot;:true}">
                    <a:extLst>
                      <a:ext uri="{FF2B5EF4-FFF2-40B4-BE49-F238E27FC236}">
                        <a16:creationId xmlns:a16="http://schemas.microsoft.com/office/drawing/2014/main" id="{217BA1D2-2362-77DA-D8A1-9A2FA3735B1B}"/>
                      </a:ext>
                    </a:extLst>
                  </p:cNvPr>
                  <p:cNvSpPr>
                    <a:spLocks/>
                  </p:cNvSpPr>
                  <p:nvPr/>
                </p:nvSpPr>
                <p:spPr bwMode="auto">
                  <a:xfrm>
                    <a:off x="842" y="1827"/>
                    <a:ext cx="113" cy="123"/>
                  </a:xfrm>
                  <a:custGeom>
                    <a:avLst/>
                    <a:gdLst>
                      <a:gd name="T0" fmla="*/ 108 w 407"/>
                      <a:gd name="T1" fmla="*/ 418 h 439"/>
                      <a:gd name="T2" fmla="*/ 68 w 407"/>
                      <a:gd name="T3" fmla="*/ 439 h 439"/>
                      <a:gd name="T4" fmla="*/ 40 w 407"/>
                      <a:gd name="T5" fmla="*/ 428 h 439"/>
                      <a:gd name="T6" fmla="*/ 0 w 407"/>
                      <a:gd name="T7" fmla="*/ 436 h 439"/>
                      <a:gd name="T8" fmla="*/ 47 w 407"/>
                      <a:gd name="T9" fmla="*/ 374 h 439"/>
                      <a:gd name="T10" fmla="*/ 71 w 407"/>
                      <a:gd name="T11" fmla="*/ 324 h 439"/>
                      <a:gd name="T12" fmla="*/ 46 w 407"/>
                      <a:gd name="T13" fmla="*/ 316 h 439"/>
                      <a:gd name="T14" fmla="*/ 50 w 407"/>
                      <a:gd name="T15" fmla="*/ 285 h 439"/>
                      <a:gd name="T16" fmla="*/ 88 w 407"/>
                      <a:gd name="T17" fmla="*/ 233 h 439"/>
                      <a:gd name="T18" fmla="*/ 133 w 407"/>
                      <a:gd name="T19" fmla="*/ 203 h 439"/>
                      <a:gd name="T20" fmla="*/ 160 w 407"/>
                      <a:gd name="T21" fmla="*/ 170 h 439"/>
                      <a:gd name="T22" fmla="*/ 206 w 407"/>
                      <a:gd name="T23" fmla="*/ 121 h 439"/>
                      <a:gd name="T24" fmla="*/ 228 w 407"/>
                      <a:gd name="T25" fmla="*/ 88 h 439"/>
                      <a:gd name="T26" fmla="*/ 236 w 407"/>
                      <a:gd name="T27" fmla="*/ 59 h 439"/>
                      <a:gd name="T28" fmla="*/ 252 w 407"/>
                      <a:gd name="T29" fmla="*/ 31 h 439"/>
                      <a:gd name="T30" fmla="*/ 290 w 407"/>
                      <a:gd name="T31" fmla="*/ 11 h 439"/>
                      <a:gd name="T32" fmla="*/ 326 w 407"/>
                      <a:gd name="T33" fmla="*/ 0 h 439"/>
                      <a:gd name="T34" fmla="*/ 313 w 407"/>
                      <a:gd name="T35" fmla="*/ 39 h 439"/>
                      <a:gd name="T36" fmla="*/ 352 w 407"/>
                      <a:gd name="T37" fmla="*/ 39 h 439"/>
                      <a:gd name="T38" fmla="*/ 371 w 407"/>
                      <a:gd name="T39" fmla="*/ 29 h 439"/>
                      <a:gd name="T40" fmla="*/ 407 w 407"/>
                      <a:gd name="T41" fmla="*/ 31 h 439"/>
                      <a:gd name="T42" fmla="*/ 397 w 407"/>
                      <a:gd name="T43" fmla="*/ 71 h 439"/>
                      <a:gd name="T44" fmla="*/ 352 w 407"/>
                      <a:gd name="T45" fmla="*/ 94 h 439"/>
                      <a:gd name="T46" fmla="*/ 308 w 407"/>
                      <a:gd name="T47" fmla="*/ 156 h 439"/>
                      <a:gd name="T48" fmla="*/ 290 w 407"/>
                      <a:gd name="T49" fmla="*/ 169 h 439"/>
                      <a:gd name="T50" fmla="*/ 262 w 407"/>
                      <a:gd name="T51" fmla="*/ 206 h 439"/>
                      <a:gd name="T52" fmla="*/ 230 w 407"/>
                      <a:gd name="T53" fmla="*/ 214 h 439"/>
                      <a:gd name="T54" fmla="*/ 226 w 407"/>
                      <a:gd name="T55" fmla="*/ 261 h 439"/>
                      <a:gd name="T56" fmla="*/ 175 w 407"/>
                      <a:gd name="T57" fmla="*/ 315 h 439"/>
                      <a:gd name="T58" fmla="*/ 183 w 407"/>
                      <a:gd name="T59" fmla="*/ 339 h 439"/>
                      <a:gd name="T60" fmla="*/ 161 w 407"/>
                      <a:gd name="T61" fmla="*/ 361 h 439"/>
                      <a:gd name="T62" fmla="*/ 118 w 407"/>
                      <a:gd name="T63" fmla="*/ 391 h 439"/>
                      <a:gd name="T64" fmla="*/ 108 w 407"/>
                      <a:gd name="T65" fmla="*/ 418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7" h="439">
                        <a:moveTo>
                          <a:pt x="108" y="418"/>
                        </a:moveTo>
                        <a:lnTo>
                          <a:pt x="68" y="439"/>
                        </a:lnTo>
                        <a:lnTo>
                          <a:pt x="40" y="428"/>
                        </a:lnTo>
                        <a:lnTo>
                          <a:pt x="0" y="436"/>
                        </a:lnTo>
                        <a:lnTo>
                          <a:pt x="47" y="374"/>
                        </a:lnTo>
                        <a:lnTo>
                          <a:pt x="71" y="324"/>
                        </a:lnTo>
                        <a:lnTo>
                          <a:pt x="46" y="316"/>
                        </a:lnTo>
                        <a:lnTo>
                          <a:pt x="50" y="285"/>
                        </a:lnTo>
                        <a:lnTo>
                          <a:pt x="88" y="233"/>
                        </a:lnTo>
                        <a:lnTo>
                          <a:pt x="133" y="203"/>
                        </a:lnTo>
                        <a:lnTo>
                          <a:pt x="160" y="170"/>
                        </a:lnTo>
                        <a:lnTo>
                          <a:pt x="206" y="121"/>
                        </a:lnTo>
                        <a:lnTo>
                          <a:pt x="228" y="88"/>
                        </a:lnTo>
                        <a:lnTo>
                          <a:pt x="236" y="59"/>
                        </a:lnTo>
                        <a:lnTo>
                          <a:pt x="252" y="31"/>
                        </a:lnTo>
                        <a:lnTo>
                          <a:pt x="290" y="11"/>
                        </a:lnTo>
                        <a:lnTo>
                          <a:pt x="326" y="0"/>
                        </a:lnTo>
                        <a:lnTo>
                          <a:pt x="313" y="39"/>
                        </a:lnTo>
                        <a:lnTo>
                          <a:pt x="352" y="39"/>
                        </a:lnTo>
                        <a:lnTo>
                          <a:pt x="371" y="29"/>
                        </a:lnTo>
                        <a:lnTo>
                          <a:pt x="407" y="31"/>
                        </a:lnTo>
                        <a:lnTo>
                          <a:pt x="397" y="71"/>
                        </a:lnTo>
                        <a:lnTo>
                          <a:pt x="352" y="94"/>
                        </a:lnTo>
                        <a:lnTo>
                          <a:pt x="308" y="156"/>
                        </a:lnTo>
                        <a:lnTo>
                          <a:pt x="290" y="169"/>
                        </a:lnTo>
                        <a:lnTo>
                          <a:pt x="262" y="206"/>
                        </a:lnTo>
                        <a:lnTo>
                          <a:pt x="230" y="214"/>
                        </a:lnTo>
                        <a:lnTo>
                          <a:pt x="226" y="261"/>
                        </a:lnTo>
                        <a:lnTo>
                          <a:pt x="175" y="315"/>
                        </a:lnTo>
                        <a:lnTo>
                          <a:pt x="183" y="339"/>
                        </a:lnTo>
                        <a:lnTo>
                          <a:pt x="161" y="361"/>
                        </a:lnTo>
                        <a:lnTo>
                          <a:pt x="118" y="391"/>
                        </a:lnTo>
                        <a:lnTo>
                          <a:pt x="108" y="41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49" name="Russian Federation" descr="{&quot;Key&quot;:&quot;russian federation&quot;,&quot;Name&quot;:&quot;Russian Federation&quot;,&quot;Value&quot;:1.0,&quot;Formula&quot;:&quot;&quot;,&quot;Text&quot;:&quot;&quot;,&quot;OfficeApplication&quot;:1,&quot;HasValue&quot;:true}">
                    <a:extLst>
                      <a:ext uri="{FF2B5EF4-FFF2-40B4-BE49-F238E27FC236}">
                        <a16:creationId xmlns:a16="http://schemas.microsoft.com/office/drawing/2014/main" id="{65572256-3C11-9F54-A828-0514B3552497}"/>
                      </a:ext>
                    </a:extLst>
                  </p:cNvPr>
                  <p:cNvSpPr>
                    <a:spLocks noEditPoints="1"/>
                  </p:cNvSpPr>
                  <p:nvPr/>
                </p:nvSpPr>
                <p:spPr bwMode="auto">
                  <a:xfrm>
                    <a:off x="1628" y="1049"/>
                    <a:ext cx="2793" cy="803"/>
                  </a:xfrm>
                  <a:custGeom>
                    <a:avLst/>
                    <a:gdLst>
                      <a:gd name="T0" fmla="*/ 7347 w 10016"/>
                      <a:gd name="T1" fmla="*/ 2351 h 2881"/>
                      <a:gd name="T2" fmla="*/ 7439 w 10016"/>
                      <a:gd name="T3" fmla="*/ 1961 h 2881"/>
                      <a:gd name="T4" fmla="*/ 191 w 10016"/>
                      <a:gd name="T5" fmla="*/ 1820 h 2881"/>
                      <a:gd name="T6" fmla="*/ 7534 w 10016"/>
                      <a:gd name="T7" fmla="*/ 481 h 2881"/>
                      <a:gd name="T8" fmla="*/ 7753 w 10016"/>
                      <a:gd name="T9" fmla="*/ 381 h 2881"/>
                      <a:gd name="T10" fmla="*/ 7255 w 10016"/>
                      <a:gd name="T11" fmla="*/ 307 h 2881"/>
                      <a:gd name="T12" fmla="*/ 2956 w 10016"/>
                      <a:gd name="T13" fmla="*/ 546 h 2881"/>
                      <a:gd name="T14" fmla="*/ 4012 w 10016"/>
                      <a:gd name="T15" fmla="*/ 245 h 2881"/>
                      <a:gd name="T16" fmla="*/ 6594 w 10016"/>
                      <a:gd name="T17" fmla="*/ 2795 h 2881"/>
                      <a:gd name="T18" fmla="*/ 6869 w 10016"/>
                      <a:gd name="T19" fmla="*/ 2367 h 2881"/>
                      <a:gd name="T20" fmla="*/ 6409 w 10016"/>
                      <a:gd name="T21" fmla="*/ 2036 h 2881"/>
                      <a:gd name="T22" fmla="*/ 5944 w 10016"/>
                      <a:gd name="T23" fmla="*/ 2130 h 2881"/>
                      <a:gd name="T24" fmla="*/ 5309 w 10016"/>
                      <a:gd name="T25" fmla="*/ 2231 h 2881"/>
                      <a:gd name="T26" fmla="*/ 4772 w 10016"/>
                      <a:gd name="T27" fmla="*/ 2047 h 2881"/>
                      <a:gd name="T28" fmla="*/ 4165 w 10016"/>
                      <a:gd name="T29" fmla="*/ 2150 h 2881"/>
                      <a:gd name="T30" fmla="*/ 3635 w 10016"/>
                      <a:gd name="T31" fmla="*/ 2112 h 2881"/>
                      <a:gd name="T32" fmla="*/ 3092 w 10016"/>
                      <a:gd name="T33" fmla="*/ 1854 h 2881"/>
                      <a:gd name="T34" fmla="*/ 2400 w 10016"/>
                      <a:gd name="T35" fmla="*/ 1985 h 2881"/>
                      <a:gd name="T36" fmla="*/ 1840 w 10016"/>
                      <a:gd name="T37" fmla="*/ 2041 h 2881"/>
                      <a:gd name="T38" fmla="*/ 1415 w 10016"/>
                      <a:gd name="T39" fmla="*/ 2407 h 2881"/>
                      <a:gd name="T40" fmla="*/ 1130 w 10016"/>
                      <a:gd name="T41" fmla="*/ 2881 h 2881"/>
                      <a:gd name="T42" fmla="*/ 765 w 10016"/>
                      <a:gd name="T43" fmla="*/ 2702 h 2881"/>
                      <a:gd name="T44" fmla="*/ 815 w 10016"/>
                      <a:gd name="T45" fmla="*/ 2392 h 2881"/>
                      <a:gd name="T46" fmla="*/ 869 w 10016"/>
                      <a:gd name="T47" fmla="*/ 2182 h 2881"/>
                      <a:gd name="T48" fmla="*/ 662 w 10016"/>
                      <a:gd name="T49" fmla="*/ 2001 h 2881"/>
                      <a:gd name="T50" fmla="*/ 690 w 10016"/>
                      <a:gd name="T51" fmla="*/ 1880 h 2881"/>
                      <a:gd name="T52" fmla="*/ 638 w 10016"/>
                      <a:gd name="T53" fmla="*/ 1652 h 2881"/>
                      <a:gd name="T54" fmla="*/ 1190 w 10016"/>
                      <a:gd name="T55" fmla="*/ 1235 h 2881"/>
                      <a:gd name="T56" fmla="*/ 1567 w 10016"/>
                      <a:gd name="T57" fmla="*/ 752 h 2881"/>
                      <a:gd name="T58" fmla="*/ 1638 w 10016"/>
                      <a:gd name="T59" fmla="*/ 918 h 2881"/>
                      <a:gd name="T60" fmla="*/ 1799 w 10016"/>
                      <a:gd name="T61" fmla="*/ 1078 h 2881"/>
                      <a:gd name="T62" fmla="*/ 2389 w 10016"/>
                      <a:gd name="T63" fmla="*/ 815 h 2881"/>
                      <a:gd name="T64" fmla="*/ 2767 w 10016"/>
                      <a:gd name="T65" fmla="*/ 818 h 2881"/>
                      <a:gd name="T66" fmla="*/ 3421 w 10016"/>
                      <a:gd name="T67" fmla="*/ 747 h 2881"/>
                      <a:gd name="T68" fmla="*/ 3827 w 10016"/>
                      <a:gd name="T69" fmla="*/ 506 h 2881"/>
                      <a:gd name="T70" fmla="*/ 3618 w 10016"/>
                      <a:gd name="T71" fmla="*/ 950 h 2881"/>
                      <a:gd name="T72" fmla="*/ 3980 w 10016"/>
                      <a:gd name="T73" fmla="*/ 652 h 2881"/>
                      <a:gd name="T74" fmla="*/ 4324 w 10016"/>
                      <a:gd name="T75" fmla="*/ 540 h 2881"/>
                      <a:gd name="T76" fmla="*/ 4990 w 10016"/>
                      <a:gd name="T77" fmla="*/ 326 h 2881"/>
                      <a:gd name="T78" fmla="*/ 5804 w 10016"/>
                      <a:gd name="T79" fmla="*/ 218 h 2881"/>
                      <a:gd name="T80" fmla="*/ 5910 w 10016"/>
                      <a:gd name="T81" fmla="*/ 400 h 2881"/>
                      <a:gd name="T82" fmla="*/ 6519 w 10016"/>
                      <a:gd name="T83" fmla="*/ 497 h 2881"/>
                      <a:gd name="T84" fmla="*/ 7032 w 10016"/>
                      <a:gd name="T85" fmla="*/ 602 h 2881"/>
                      <a:gd name="T86" fmla="*/ 8208 w 10016"/>
                      <a:gd name="T87" fmla="*/ 626 h 2881"/>
                      <a:gd name="T88" fmla="*/ 8938 w 10016"/>
                      <a:gd name="T89" fmla="*/ 762 h 2881"/>
                      <a:gd name="T90" fmla="*/ 9768 w 10016"/>
                      <a:gd name="T91" fmla="*/ 948 h 2881"/>
                      <a:gd name="T92" fmla="*/ 9708 w 10016"/>
                      <a:gd name="T93" fmla="*/ 1050 h 2881"/>
                      <a:gd name="T94" fmla="*/ 9352 w 10016"/>
                      <a:gd name="T95" fmla="*/ 1072 h 2881"/>
                      <a:gd name="T96" fmla="*/ 9034 w 10016"/>
                      <a:gd name="T97" fmla="*/ 1383 h 2881"/>
                      <a:gd name="T98" fmla="*/ 8624 w 10016"/>
                      <a:gd name="T99" fmla="*/ 1587 h 2881"/>
                      <a:gd name="T100" fmla="*/ 8245 w 10016"/>
                      <a:gd name="T101" fmla="*/ 2042 h 2881"/>
                      <a:gd name="T102" fmla="*/ 8660 w 10016"/>
                      <a:gd name="T103" fmla="*/ 1221 h 2881"/>
                      <a:gd name="T104" fmla="*/ 7928 w 10016"/>
                      <a:gd name="T105" fmla="*/ 1446 h 2881"/>
                      <a:gd name="T106" fmla="*/ 7175 w 10016"/>
                      <a:gd name="T107" fmla="*/ 1845 h 2881"/>
                      <a:gd name="T108" fmla="*/ 6913 w 10016"/>
                      <a:gd name="T109" fmla="*/ 2654 h 2881"/>
                      <a:gd name="T110" fmla="*/ 5691 w 10016"/>
                      <a:gd name="T111" fmla="*/ 102 h 2881"/>
                      <a:gd name="T112" fmla="*/ 3303 w 10016"/>
                      <a:gd name="T113" fmla="*/ 36 h 2881"/>
                      <a:gd name="T114" fmla="*/ 5472 w 10016"/>
                      <a:gd name="T115" fmla="*/ 137 h 2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16" h="2881">
                        <a:moveTo>
                          <a:pt x="7457" y="2117"/>
                        </a:moveTo>
                        <a:lnTo>
                          <a:pt x="7516" y="2256"/>
                        </a:lnTo>
                        <a:lnTo>
                          <a:pt x="7423" y="2231"/>
                        </a:lnTo>
                        <a:lnTo>
                          <a:pt x="7381" y="2345"/>
                        </a:lnTo>
                        <a:lnTo>
                          <a:pt x="7439" y="2426"/>
                        </a:lnTo>
                        <a:lnTo>
                          <a:pt x="7436" y="2481"/>
                        </a:lnTo>
                        <a:lnTo>
                          <a:pt x="7389" y="2433"/>
                        </a:lnTo>
                        <a:lnTo>
                          <a:pt x="7346" y="2495"/>
                        </a:lnTo>
                        <a:lnTo>
                          <a:pt x="7336" y="2428"/>
                        </a:lnTo>
                        <a:lnTo>
                          <a:pt x="7347" y="2351"/>
                        </a:lnTo>
                        <a:lnTo>
                          <a:pt x="7343" y="2266"/>
                        </a:lnTo>
                        <a:lnTo>
                          <a:pt x="7359" y="2206"/>
                        </a:lnTo>
                        <a:lnTo>
                          <a:pt x="7367" y="2101"/>
                        </a:lnTo>
                        <a:lnTo>
                          <a:pt x="7334" y="2025"/>
                        </a:lnTo>
                        <a:lnTo>
                          <a:pt x="7346" y="1918"/>
                        </a:lnTo>
                        <a:lnTo>
                          <a:pt x="7403" y="1882"/>
                        </a:lnTo>
                        <a:lnTo>
                          <a:pt x="7381" y="1847"/>
                        </a:lnTo>
                        <a:lnTo>
                          <a:pt x="7408" y="1836"/>
                        </a:lnTo>
                        <a:lnTo>
                          <a:pt x="7422" y="1887"/>
                        </a:lnTo>
                        <a:lnTo>
                          <a:pt x="7439" y="1961"/>
                        </a:lnTo>
                        <a:lnTo>
                          <a:pt x="7434" y="2038"/>
                        </a:lnTo>
                        <a:lnTo>
                          <a:pt x="7457" y="2117"/>
                        </a:lnTo>
                        <a:close/>
                        <a:moveTo>
                          <a:pt x="179" y="1838"/>
                        </a:moveTo>
                        <a:lnTo>
                          <a:pt x="67" y="1840"/>
                        </a:lnTo>
                        <a:lnTo>
                          <a:pt x="0" y="1831"/>
                        </a:lnTo>
                        <a:lnTo>
                          <a:pt x="42" y="1797"/>
                        </a:lnTo>
                        <a:lnTo>
                          <a:pt x="146" y="1772"/>
                        </a:lnTo>
                        <a:lnTo>
                          <a:pt x="198" y="1786"/>
                        </a:lnTo>
                        <a:lnTo>
                          <a:pt x="214" y="1798"/>
                        </a:lnTo>
                        <a:lnTo>
                          <a:pt x="191" y="1820"/>
                        </a:lnTo>
                        <a:lnTo>
                          <a:pt x="179" y="1838"/>
                        </a:lnTo>
                        <a:close/>
                        <a:moveTo>
                          <a:pt x="9377" y="591"/>
                        </a:moveTo>
                        <a:lnTo>
                          <a:pt x="9419" y="591"/>
                        </a:lnTo>
                        <a:lnTo>
                          <a:pt x="9498" y="610"/>
                        </a:lnTo>
                        <a:lnTo>
                          <a:pt x="9497" y="618"/>
                        </a:lnTo>
                        <a:lnTo>
                          <a:pt x="9449" y="635"/>
                        </a:lnTo>
                        <a:lnTo>
                          <a:pt x="9328" y="642"/>
                        </a:lnTo>
                        <a:lnTo>
                          <a:pt x="9313" y="621"/>
                        </a:lnTo>
                        <a:lnTo>
                          <a:pt x="9377" y="591"/>
                        </a:lnTo>
                        <a:close/>
                        <a:moveTo>
                          <a:pt x="7534" y="481"/>
                        </a:moveTo>
                        <a:lnTo>
                          <a:pt x="7459" y="482"/>
                        </a:lnTo>
                        <a:lnTo>
                          <a:pt x="7358" y="475"/>
                        </a:lnTo>
                        <a:lnTo>
                          <a:pt x="7349" y="471"/>
                        </a:lnTo>
                        <a:lnTo>
                          <a:pt x="7399" y="446"/>
                        </a:lnTo>
                        <a:lnTo>
                          <a:pt x="7460" y="440"/>
                        </a:lnTo>
                        <a:lnTo>
                          <a:pt x="7529" y="465"/>
                        </a:lnTo>
                        <a:lnTo>
                          <a:pt x="7534" y="481"/>
                        </a:lnTo>
                        <a:close/>
                        <a:moveTo>
                          <a:pt x="7887" y="361"/>
                        </a:moveTo>
                        <a:lnTo>
                          <a:pt x="7831" y="386"/>
                        </a:lnTo>
                        <a:lnTo>
                          <a:pt x="7753" y="381"/>
                        </a:lnTo>
                        <a:lnTo>
                          <a:pt x="7664" y="356"/>
                        </a:lnTo>
                        <a:lnTo>
                          <a:pt x="7677" y="335"/>
                        </a:lnTo>
                        <a:lnTo>
                          <a:pt x="7766" y="345"/>
                        </a:lnTo>
                        <a:lnTo>
                          <a:pt x="7887" y="361"/>
                        </a:lnTo>
                        <a:close/>
                        <a:moveTo>
                          <a:pt x="7616" y="331"/>
                        </a:moveTo>
                        <a:lnTo>
                          <a:pt x="7574" y="378"/>
                        </a:lnTo>
                        <a:lnTo>
                          <a:pt x="7397" y="376"/>
                        </a:lnTo>
                        <a:lnTo>
                          <a:pt x="7314" y="391"/>
                        </a:lnTo>
                        <a:lnTo>
                          <a:pt x="7224" y="350"/>
                        </a:lnTo>
                        <a:lnTo>
                          <a:pt x="7255" y="307"/>
                        </a:lnTo>
                        <a:lnTo>
                          <a:pt x="7320" y="295"/>
                        </a:lnTo>
                        <a:lnTo>
                          <a:pt x="7445" y="297"/>
                        </a:lnTo>
                        <a:lnTo>
                          <a:pt x="7616" y="331"/>
                        </a:lnTo>
                        <a:close/>
                        <a:moveTo>
                          <a:pt x="3122" y="646"/>
                        </a:moveTo>
                        <a:lnTo>
                          <a:pt x="3087" y="652"/>
                        </a:lnTo>
                        <a:lnTo>
                          <a:pt x="2927" y="643"/>
                        </a:lnTo>
                        <a:lnTo>
                          <a:pt x="2941" y="613"/>
                        </a:lnTo>
                        <a:lnTo>
                          <a:pt x="2864" y="596"/>
                        </a:lnTo>
                        <a:lnTo>
                          <a:pt x="2891" y="560"/>
                        </a:lnTo>
                        <a:lnTo>
                          <a:pt x="2956" y="546"/>
                        </a:lnTo>
                        <a:lnTo>
                          <a:pt x="2988" y="510"/>
                        </a:lnTo>
                        <a:lnTo>
                          <a:pt x="3142" y="455"/>
                        </a:lnTo>
                        <a:lnTo>
                          <a:pt x="3104" y="447"/>
                        </a:lnTo>
                        <a:lnTo>
                          <a:pt x="3278" y="390"/>
                        </a:lnTo>
                        <a:lnTo>
                          <a:pt x="3296" y="361"/>
                        </a:lnTo>
                        <a:lnTo>
                          <a:pt x="3438" y="328"/>
                        </a:lnTo>
                        <a:lnTo>
                          <a:pt x="3638" y="287"/>
                        </a:lnTo>
                        <a:lnTo>
                          <a:pt x="3808" y="276"/>
                        </a:lnTo>
                        <a:lnTo>
                          <a:pt x="3912" y="253"/>
                        </a:lnTo>
                        <a:lnTo>
                          <a:pt x="4012" y="245"/>
                        </a:lnTo>
                        <a:lnTo>
                          <a:pt x="4021" y="270"/>
                        </a:lnTo>
                        <a:lnTo>
                          <a:pt x="3969" y="288"/>
                        </a:lnTo>
                        <a:lnTo>
                          <a:pt x="3771" y="320"/>
                        </a:lnTo>
                        <a:lnTo>
                          <a:pt x="3594" y="350"/>
                        </a:lnTo>
                        <a:lnTo>
                          <a:pt x="3383" y="411"/>
                        </a:lnTo>
                        <a:lnTo>
                          <a:pt x="3249" y="473"/>
                        </a:lnTo>
                        <a:lnTo>
                          <a:pt x="3112" y="536"/>
                        </a:lnTo>
                        <a:lnTo>
                          <a:pt x="3072" y="591"/>
                        </a:lnTo>
                        <a:lnTo>
                          <a:pt x="3122" y="646"/>
                        </a:lnTo>
                        <a:close/>
                        <a:moveTo>
                          <a:pt x="6594" y="2795"/>
                        </a:moveTo>
                        <a:lnTo>
                          <a:pt x="6587" y="2781"/>
                        </a:lnTo>
                        <a:lnTo>
                          <a:pt x="6589" y="2741"/>
                        </a:lnTo>
                        <a:lnTo>
                          <a:pt x="6623" y="2739"/>
                        </a:lnTo>
                        <a:lnTo>
                          <a:pt x="6641" y="2644"/>
                        </a:lnTo>
                        <a:lnTo>
                          <a:pt x="6629" y="2575"/>
                        </a:lnTo>
                        <a:lnTo>
                          <a:pt x="6688" y="2547"/>
                        </a:lnTo>
                        <a:lnTo>
                          <a:pt x="6764" y="2561"/>
                        </a:lnTo>
                        <a:lnTo>
                          <a:pt x="6814" y="2484"/>
                        </a:lnTo>
                        <a:lnTo>
                          <a:pt x="6843" y="2396"/>
                        </a:lnTo>
                        <a:lnTo>
                          <a:pt x="6869" y="2367"/>
                        </a:lnTo>
                        <a:lnTo>
                          <a:pt x="6908" y="2296"/>
                        </a:lnTo>
                        <a:lnTo>
                          <a:pt x="6802" y="2319"/>
                        </a:lnTo>
                        <a:lnTo>
                          <a:pt x="6744" y="2350"/>
                        </a:lnTo>
                        <a:lnTo>
                          <a:pt x="6648" y="2350"/>
                        </a:lnTo>
                        <a:lnTo>
                          <a:pt x="6631" y="2276"/>
                        </a:lnTo>
                        <a:lnTo>
                          <a:pt x="6562" y="2220"/>
                        </a:lnTo>
                        <a:lnTo>
                          <a:pt x="6457" y="2195"/>
                        </a:lnTo>
                        <a:lnTo>
                          <a:pt x="6443" y="2117"/>
                        </a:lnTo>
                        <a:lnTo>
                          <a:pt x="6428" y="2070"/>
                        </a:lnTo>
                        <a:lnTo>
                          <a:pt x="6409" y="2036"/>
                        </a:lnTo>
                        <a:lnTo>
                          <a:pt x="6383" y="1957"/>
                        </a:lnTo>
                        <a:lnTo>
                          <a:pt x="6334" y="1929"/>
                        </a:lnTo>
                        <a:lnTo>
                          <a:pt x="6247" y="1906"/>
                        </a:lnTo>
                        <a:lnTo>
                          <a:pt x="6166" y="1909"/>
                        </a:lnTo>
                        <a:lnTo>
                          <a:pt x="6088" y="1922"/>
                        </a:lnTo>
                        <a:lnTo>
                          <a:pt x="6031" y="1961"/>
                        </a:lnTo>
                        <a:lnTo>
                          <a:pt x="6061" y="1979"/>
                        </a:lnTo>
                        <a:lnTo>
                          <a:pt x="6054" y="2022"/>
                        </a:lnTo>
                        <a:lnTo>
                          <a:pt x="6016" y="2047"/>
                        </a:lnTo>
                        <a:lnTo>
                          <a:pt x="5944" y="2130"/>
                        </a:lnTo>
                        <a:lnTo>
                          <a:pt x="5939" y="2165"/>
                        </a:lnTo>
                        <a:lnTo>
                          <a:pt x="5843" y="2215"/>
                        </a:lnTo>
                        <a:lnTo>
                          <a:pt x="5773" y="2185"/>
                        </a:lnTo>
                        <a:lnTo>
                          <a:pt x="5698" y="2191"/>
                        </a:lnTo>
                        <a:lnTo>
                          <a:pt x="5670" y="2165"/>
                        </a:lnTo>
                        <a:lnTo>
                          <a:pt x="5634" y="2156"/>
                        </a:lnTo>
                        <a:lnTo>
                          <a:pt x="5532" y="2212"/>
                        </a:lnTo>
                        <a:lnTo>
                          <a:pt x="5447" y="2225"/>
                        </a:lnTo>
                        <a:lnTo>
                          <a:pt x="5385" y="2245"/>
                        </a:lnTo>
                        <a:lnTo>
                          <a:pt x="5309" y="2231"/>
                        </a:lnTo>
                        <a:lnTo>
                          <a:pt x="5250" y="2232"/>
                        </a:lnTo>
                        <a:lnTo>
                          <a:pt x="5222" y="2192"/>
                        </a:lnTo>
                        <a:lnTo>
                          <a:pt x="5170" y="2155"/>
                        </a:lnTo>
                        <a:lnTo>
                          <a:pt x="5110" y="2144"/>
                        </a:lnTo>
                        <a:lnTo>
                          <a:pt x="5029" y="2155"/>
                        </a:lnTo>
                        <a:lnTo>
                          <a:pt x="4967" y="2169"/>
                        </a:lnTo>
                        <a:lnTo>
                          <a:pt x="4887" y="2136"/>
                        </a:lnTo>
                        <a:lnTo>
                          <a:pt x="4892" y="2077"/>
                        </a:lnTo>
                        <a:lnTo>
                          <a:pt x="4824" y="2057"/>
                        </a:lnTo>
                        <a:lnTo>
                          <a:pt x="4772" y="2047"/>
                        </a:lnTo>
                        <a:lnTo>
                          <a:pt x="4712" y="2016"/>
                        </a:lnTo>
                        <a:lnTo>
                          <a:pt x="4623" y="2096"/>
                        </a:lnTo>
                        <a:lnTo>
                          <a:pt x="4635" y="2142"/>
                        </a:lnTo>
                        <a:lnTo>
                          <a:pt x="4558" y="2197"/>
                        </a:lnTo>
                        <a:lnTo>
                          <a:pt x="4474" y="2177"/>
                        </a:lnTo>
                        <a:lnTo>
                          <a:pt x="4413" y="2175"/>
                        </a:lnTo>
                        <a:lnTo>
                          <a:pt x="4383" y="2139"/>
                        </a:lnTo>
                        <a:lnTo>
                          <a:pt x="4318" y="2137"/>
                        </a:lnTo>
                        <a:lnTo>
                          <a:pt x="4272" y="2112"/>
                        </a:lnTo>
                        <a:lnTo>
                          <a:pt x="4165" y="2150"/>
                        </a:lnTo>
                        <a:lnTo>
                          <a:pt x="4024" y="2217"/>
                        </a:lnTo>
                        <a:lnTo>
                          <a:pt x="3953" y="2231"/>
                        </a:lnTo>
                        <a:lnTo>
                          <a:pt x="3927" y="2237"/>
                        </a:lnTo>
                        <a:lnTo>
                          <a:pt x="3910" y="2190"/>
                        </a:lnTo>
                        <a:lnTo>
                          <a:pt x="3825" y="2200"/>
                        </a:lnTo>
                        <a:lnTo>
                          <a:pt x="3812" y="2166"/>
                        </a:lnTo>
                        <a:lnTo>
                          <a:pt x="3773" y="2151"/>
                        </a:lnTo>
                        <a:lnTo>
                          <a:pt x="3760" y="2106"/>
                        </a:lnTo>
                        <a:lnTo>
                          <a:pt x="3732" y="2092"/>
                        </a:lnTo>
                        <a:lnTo>
                          <a:pt x="3635" y="2112"/>
                        </a:lnTo>
                        <a:lnTo>
                          <a:pt x="3568" y="2067"/>
                        </a:lnTo>
                        <a:lnTo>
                          <a:pt x="3518" y="2109"/>
                        </a:lnTo>
                        <a:lnTo>
                          <a:pt x="3465" y="1910"/>
                        </a:lnTo>
                        <a:lnTo>
                          <a:pt x="3417" y="1851"/>
                        </a:lnTo>
                        <a:lnTo>
                          <a:pt x="3449" y="1826"/>
                        </a:lnTo>
                        <a:lnTo>
                          <a:pt x="3264" y="1899"/>
                        </a:lnTo>
                        <a:lnTo>
                          <a:pt x="3203" y="1904"/>
                        </a:lnTo>
                        <a:lnTo>
                          <a:pt x="3229" y="1861"/>
                        </a:lnTo>
                        <a:lnTo>
                          <a:pt x="3164" y="1835"/>
                        </a:lnTo>
                        <a:lnTo>
                          <a:pt x="3092" y="1854"/>
                        </a:lnTo>
                        <a:lnTo>
                          <a:pt x="3114" y="1774"/>
                        </a:lnTo>
                        <a:lnTo>
                          <a:pt x="3015" y="1757"/>
                        </a:lnTo>
                        <a:lnTo>
                          <a:pt x="2944" y="1790"/>
                        </a:lnTo>
                        <a:lnTo>
                          <a:pt x="2778" y="1817"/>
                        </a:lnTo>
                        <a:lnTo>
                          <a:pt x="2739" y="1837"/>
                        </a:lnTo>
                        <a:lnTo>
                          <a:pt x="2498" y="1864"/>
                        </a:lnTo>
                        <a:lnTo>
                          <a:pt x="2455" y="1890"/>
                        </a:lnTo>
                        <a:lnTo>
                          <a:pt x="2470" y="1944"/>
                        </a:lnTo>
                        <a:lnTo>
                          <a:pt x="2400" y="1964"/>
                        </a:lnTo>
                        <a:lnTo>
                          <a:pt x="2400" y="1985"/>
                        </a:lnTo>
                        <a:lnTo>
                          <a:pt x="2320" y="2022"/>
                        </a:lnTo>
                        <a:lnTo>
                          <a:pt x="2393" y="2076"/>
                        </a:lnTo>
                        <a:lnTo>
                          <a:pt x="2358" y="2114"/>
                        </a:lnTo>
                        <a:lnTo>
                          <a:pt x="2273" y="2110"/>
                        </a:lnTo>
                        <a:lnTo>
                          <a:pt x="2243" y="2134"/>
                        </a:lnTo>
                        <a:lnTo>
                          <a:pt x="2184" y="2092"/>
                        </a:lnTo>
                        <a:lnTo>
                          <a:pt x="2085" y="2094"/>
                        </a:lnTo>
                        <a:lnTo>
                          <a:pt x="2002" y="2127"/>
                        </a:lnTo>
                        <a:lnTo>
                          <a:pt x="1945" y="2095"/>
                        </a:lnTo>
                        <a:lnTo>
                          <a:pt x="1840" y="2041"/>
                        </a:lnTo>
                        <a:lnTo>
                          <a:pt x="1743" y="2044"/>
                        </a:lnTo>
                        <a:lnTo>
                          <a:pt x="1567" y="2129"/>
                        </a:lnTo>
                        <a:lnTo>
                          <a:pt x="1525" y="2186"/>
                        </a:lnTo>
                        <a:lnTo>
                          <a:pt x="1488" y="2140"/>
                        </a:lnTo>
                        <a:lnTo>
                          <a:pt x="1389" y="2226"/>
                        </a:lnTo>
                        <a:lnTo>
                          <a:pt x="1398" y="2242"/>
                        </a:lnTo>
                        <a:lnTo>
                          <a:pt x="1329" y="2302"/>
                        </a:lnTo>
                        <a:lnTo>
                          <a:pt x="1354" y="2356"/>
                        </a:lnTo>
                        <a:lnTo>
                          <a:pt x="1402" y="2354"/>
                        </a:lnTo>
                        <a:lnTo>
                          <a:pt x="1415" y="2407"/>
                        </a:lnTo>
                        <a:lnTo>
                          <a:pt x="1388" y="2449"/>
                        </a:lnTo>
                        <a:lnTo>
                          <a:pt x="1414" y="2461"/>
                        </a:lnTo>
                        <a:lnTo>
                          <a:pt x="1362" y="2509"/>
                        </a:lnTo>
                        <a:lnTo>
                          <a:pt x="1293" y="2521"/>
                        </a:lnTo>
                        <a:lnTo>
                          <a:pt x="1188" y="2604"/>
                        </a:lnTo>
                        <a:lnTo>
                          <a:pt x="1209" y="2680"/>
                        </a:lnTo>
                        <a:lnTo>
                          <a:pt x="1177" y="2734"/>
                        </a:lnTo>
                        <a:lnTo>
                          <a:pt x="1204" y="2829"/>
                        </a:lnTo>
                        <a:lnTo>
                          <a:pt x="1150" y="2861"/>
                        </a:lnTo>
                        <a:lnTo>
                          <a:pt x="1130" y="2881"/>
                        </a:lnTo>
                        <a:lnTo>
                          <a:pt x="1104" y="2876"/>
                        </a:lnTo>
                        <a:lnTo>
                          <a:pt x="1080" y="2827"/>
                        </a:lnTo>
                        <a:lnTo>
                          <a:pt x="1064" y="2825"/>
                        </a:lnTo>
                        <a:lnTo>
                          <a:pt x="1032" y="2806"/>
                        </a:lnTo>
                        <a:lnTo>
                          <a:pt x="1027" y="2772"/>
                        </a:lnTo>
                        <a:lnTo>
                          <a:pt x="974" y="2756"/>
                        </a:lnTo>
                        <a:lnTo>
                          <a:pt x="928" y="2769"/>
                        </a:lnTo>
                        <a:lnTo>
                          <a:pt x="924" y="2754"/>
                        </a:lnTo>
                        <a:lnTo>
                          <a:pt x="854" y="2715"/>
                        </a:lnTo>
                        <a:lnTo>
                          <a:pt x="765" y="2702"/>
                        </a:lnTo>
                        <a:lnTo>
                          <a:pt x="718" y="2689"/>
                        </a:lnTo>
                        <a:lnTo>
                          <a:pt x="705" y="2697"/>
                        </a:lnTo>
                        <a:lnTo>
                          <a:pt x="658" y="2630"/>
                        </a:lnTo>
                        <a:lnTo>
                          <a:pt x="600" y="2600"/>
                        </a:lnTo>
                        <a:lnTo>
                          <a:pt x="570" y="2552"/>
                        </a:lnTo>
                        <a:lnTo>
                          <a:pt x="624" y="2540"/>
                        </a:lnTo>
                        <a:lnTo>
                          <a:pt x="713" y="2474"/>
                        </a:lnTo>
                        <a:lnTo>
                          <a:pt x="695" y="2442"/>
                        </a:lnTo>
                        <a:lnTo>
                          <a:pt x="807" y="2410"/>
                        </a:lnTo>
                        <a:lnTo>
                          <a:pt x="815" y="2392"/>
                        </a:lnTo>
                        <a:lnTo>
                          <a:pt x="750" y="2405"/>
                        </a:lnTo>
                        <a:lnTo>
                          <a:pt x="773" y="2370"/>
                        </a:lnTo>
                        <a:lnTo>
                          <a:pt x="818" y="2347"/>
                        </a:lnTo>
                        <a:lnTo>
                          <a:pt x="883" y="2342"/>
                        </a:lnTo>
                        <a:lnTo>
                          <a:pt x="908" y="2315"/>
                        </a:lnTo>
                        <a:lnTo>
                          <a:pt x="919" y="2272"/>
                        </a:lnTo>
                        <a:lnTo>
                          <a:pt x="969" y="2230"/>
                        </a:lnTo>
                        <a:lnTo>
                          <a:pt x="982" y="2207"/>
                        </a:lnTo>
                        <a:lnTo>
                          <a:pt x="905" y="2181"/>
                        </a:lnTo>
                        <a:lnTo>
                          <a:pt x="869" y="2182"/>
                        </a:lnTo>
                        <a:lnTo>
                          <a:pt x="853" y="2146"/>
                        </a:lnTo>
                        <a:lnTo>
                          <a:pt x="798" y="2159"/>
                        </a:lnTo>
                        <a:lnTo>
                          <a:pt x="737" y="2131"/>
                        </a:lnTo>
                        <a:lnTo>
                          <a:pt x="748" y="2115"/>
                        </a:lnTo>
                        <a:lnTo>
                          <a:pt x="749" y="2081"/>
                        </a:lnTo>
                        <a:lnTo>
                          <a:pt x="702" y="2077"/>
                        </a:lnTo>
                        <a:lnTo>
                          <a:pt x="713" y="2054"/>
                        </a:lnTo>
                        <a:lnTo>
                          <a:pt x="739" y="2037"/>
                        </a:lnTo>
                        <a:lnTo>
                          <a:pt x="732" y="1994"/>
                        </a:lnTo>
                        <a:lnTo>
                          <a:pt x="662" y="2001"/>
                        </a:lnTo>
                        <a:lnTo>
                          <a:pt x="647" y="1997"/>
                        </a:lnTo>
                        <a:lnTo>
                          <a:pt x="618" y="2015"/>
                        </a:lnTo>
                        <a:lnTo>
                          <a:pt x="598" y="2011"/>
                        </a:lnTo>
                        <a:lnTo>
                          <a:pt x="618" y="1961"/>
                        </a:lnTo>
                        <a:lnTo>
                          <a:pt x="623" y="1936"/>
                        </a:lnTo>
                        <a:lnTo>
                          <a:pt x="640" y="1929"/>
                        </a:lnTo>
                        <a:lnTo>
                          <a:pt x="687" y="1931"/>
                        </a:lnTo>
                        <a:lnTo>
                          <a:pt x="723" y="1915"/>
                        </a:lnTo>
                        <a:lnTo>
                          <a:pt x="720" y="1893"/>
                        </a:lnTo>
                        <a:lnTo>
                          <a:pt x="690" y="1880"/>
                        </a:lnTo>
                        <a:lnTo>
                          <a:pt x="704" y="1866"/>
                        </a:lnTo>
                        <a:lnTo>
                          <a:pt x="690" y="1852"/>
                        </a:lnTo>
                        <a:lnTo>
                          <a:pt x="692" y="1801"/>
                        </a:lnTo>
                        <a:lnTo>
                          <a:pt x="720" y="1781"/>
                        </a:lnTo>
                        <a:lnTo>
                          <a:pt x="743" y="1745"/>
                        </a:lnTo>
                        <a:lnTo>
                          <a:pt x="699" y="1726"/>
                        </a:lnTo>
                        <a:lnTo>
                          <a:pt x="660" y="1736"/>
                        </a:lnTo>
                        <a:lnTo>
                          <a:pt x="667" y="1717"/>
                        </a:lnTo>
                        <a:lnTo>
                          <a:pt x="620" y="1697"/>
                        </a:lnTo>
                        <a:lnTo>
                          <a:pt x="638" y="1652"/>
                        </a:lnTo>
                        <a:lnTo>
                          <a:pt x="664" y="1616"/>
                        </a:lnTo>
                        <a:lnTo>
                          <a:pt x="650" y="1599"/>
                        </a:lnTo>
                        <a:lnTo>
                          <a:pt x="695" y="1575"/>
                        </a:lnTo>
                        <a:lnTo>
                          <a:pt x="739" y="1505"/>
                        </a:lnTo>
                        <a:lnTo>
                          <a:pt x="818" y="1461"/>
                        </a:lnTo>
                        <a:lnTo>
                          <a:pt x="820" y="1449"/>
                        </a:lnTo>
                        <a:lnTo>
                          <a:pt x="922" y="1407"/>
                        </a:lnTo>
                        <a:lnTo>
                          <a:pt x="893" y="1371"/>
                        </a:lnTo>
                        <a:lnTo>
                          <a:pt x="1100" y="1277"/>
                        </a:lnTo>
                        <a:lnTo>
                          <a:pt x="1190" y="1235"/>
                        </a:lnTo>
                        <a:lnTo>
                          <a:pt x="1245" y="1197"/>
                        </a:lnTo>
                        <a:lnTo>
                          <a:pt x="1209" y="1147"/>
                        </a:lnTo>
                        <a:lnTo>
                          <a:pt x="1275" y="1101"/>
                        </a:lnTo>
                        <a:lnTo>
                          <a:pt x="1278" y="1047"/>
                        </a:lnTo>
                        <a:lnTo>
                          <a:pt x="1373" y="986"/>
                        </a:lnTo>
                        <a:lnTo>
                          <a:pt x="1390" y="906"/>
                        </a:lnTo>
                        <a:lnTo>
                          <a:pt x="1493" y="853"/>
                        </a:lnTo>
                        <a:lnTo>
                          <a:pt x="1460" y="807"/>
                        </a:lnTo>
                        <a:lnTo>
                          <a:pt x="1518" y="758"/>
                        </a:lnTo>
                        <a:lnTo>
                          <a:pt x="1567" y="752"/>
                        </a:lnTo>
                        <a:lnTo>
                          <a:pt x="1684" y="725"/>
                        </a:lnTo>
                        <a:lnTo>
                          <a:pt x="1763" y="701"/>
                        </a:lnTo>
                        <a:lnTo>
                          <a:pt x="1805" y="742"/>
                        </a:lnTo>
                        <a:lnTo>
                          <a:pt x="1932" y="758"/>
                        </a:lnTo>
                        <a:lnTo>
                          <a:pt x="2054" y="837"/>
                        </a:lnTo>
                        <a:lnTo>
                          <a:pt x="2064" y="870"/>
                        </a:lnTo>
                        <a:lnTo>
                          <a:pt x="2025" y="917"/>
                        </a:lnTo>
                        <a:lnTo>
                          <a:pt x="1933" y="953"/>
                        </a:lnTo>
                        <a:lnTo>
                          <a:pt x="1828" y="972"/>
                        </a:lnTo>
                        <a:lnTo>
                          <a:pt x="1638" y="918"/>
                        </a:lnTo>
                        <a:lnTo>
                          <a:pt x="1589" y="927"/>
                        </a:lnTo>
                        <a:lnTo>
                          <a:pt x="1628" y="980"/>
                        </a:lnTo>
                        <a:lnTo>
                          <a:pt x="1600" y="1012"/>
                        </a:lnTo>
                        <a:lnTo>
                          <a:pt x="1537" y="1086"/>
                        </a:lnTo>
                        <a:lnTo>
                          <a:pt x="1588" y="1107"/>
                        </a:lnTo>
                        <a:lnTo>
                          <a:pt x="1614" y="1126"/>
                        </a:lnTo>
                        <a:lnTo>
                          <a:pt x="1653" y="1091"/>
                        </a:lnTo>
                        <a:lnTo>
                          <a:pt x="1647" y="1061"/>
                        </a:lnTo>
                        <a:lnTo>
                          <a:pt x="1707" y="1033"/>
                        </a:lnTo>
                        <a:lnTo>
                          <a:pt x="1799" y="1078"/>
                        </a:lnTo>
                        <a:lnTo>
                          <a:pt x="1860" y="1061"/>
                        </a:lnTo>
                        <a:lnTo>
                          <a:pt x="1870" y="1008"/>
                        </a:lnTo>
                        <a:lnTo>
                          <a:pt x="2058" y="938"/>
                        </a:lnTo>
                        <a:lnTo>
                          <a:pt x="2103" y="943"/>
                        </a:lnTo>
                        <a:lnTo>
                          <a:pt x="2132" y="967"/>
                        </a:lnTo>
                        <a:lnTo>
                          <a:pt x="2205" y="918"/>
                        </a:lnTo>
                        <a:lnTo>
                          <a:pt x="2198" y="877"/>
                        </a:lnTo>
                        <a:lnTo>
                          <a:pt x="2262" y="836"/>
                        </a:lnTo>
                        <a:lnTo>
                          <a:pt x="2262" y="792"/>
                        </a:lnTo>
                        <a:lnTo>
                          <a:pt x="2389" y="815"/>
                        </a:lnTo>
                        <a:lnTo>
                          <a:pt x="2384" y="853"/>
                        </a:lnTo>
                        <a:lnTo>
                          <a:pt x="2310" y="862"/>
                        </a:lnTo>
                        <a:lnTo>
                          <a:pt x="2277" y="901"/>
                        </a:lnTo>
                        <a:lnTo>
                          <a:pt x="2298" y="925"/>
                        </a:lnTo>
                        <a:lnTo>
                          <a:pt x="2393" y="910"/>
                        </a:lnTo>
                        <a:lnTo>
                          <a:pt x="2444" y="866"/>
                        </a:lnTo>
                        <a:lnTo>
                          <a:pt x="2583" y="832"/>
                        </a:lnTo>
                        <a:lnTo>
                          <a:pt x="2817" y="773"/>
                        </a:lnTo>
                        <a:lnTo>
                          <a:pt x="2854" y="776"/>
                        </a:lnTo>
                        <a:lnTo>
                          <a:pt x="2767" y="818"/>
                        </a:lnTo>
                        <a:lnTo>
                          <a:pt x="2827" y="826"/>
                        </a:lnTo>
                        <a:lnTo>
                          <a:pt x="2883" y="802"/>
                        </a:lnTo>
                        <a:lnTo>
                          <a:pt x="2983" y="800"/>
                        </a:lnTo>
                        <a:lnTo>
                          <a:pt x="3084" y="771"/>
                        </a:lnTo>
                        <a:lnTo>
                          <a:pt x="3112" y="813"/>
                        </a:lnTo>
                        <a:lnTo>
                          <a:pt x="3207" y="767"/>
                        </a:lnTo>
                        <a:lnTo>
                          <a:pt x="3183" y="727"/>
                        </a:lnTo>
                        <a:lnTo>
                          <a:pt x="3228" y="705"/>
                        </a:lnTo>
                        <a:lnTo>
                          <a:pt x="3364" y="726"/>
                        </a:lnTo>
                        <a:lnTo>
                          <a:pt x="3421" y="747"/>
                        </a:lnTo>
                        <a:lnTo>
                          <a:pt x="3553" y="826"/>
                        </a:lnTo>
                        <a:lnTo>
                          <a:pt x="3614" y="790"/>
                        </a:lnTo>
                        <a:lnTo>
                          <a:pt x="3587" y="753"/>
                        </a:lnTo>
                        <a:lnTo>
                          <a:pt x="3596" y="738"/>
                        </a:lnTo>
                        <a:lnTo>
                          <a:pt x="3538" y="732"/>
                        </a:lnTo>
                        <a:lnTo>
                          <a:pt x="3579" y="700"/>
                        </a:lnTo>
                        <a:lnTo>
                          <a:pt x="3590" y="647"/>
                        </a:lnTo>
                        <a:lnTo>
                          <a:pt x="3606" y="626"/>
                        </a:lnTo>
                        <a:lnTo>
                          <a:pt x="3747" y="566"/>
                        </a:lnTo>
                        <a:lnTo>
                          <a:pt x="3827" y="506"/>
                        </a:lnTo>
                        <a:lnTo>
                          <a:pt x="3874" y="492"/>
                        </a:lnTo>
                        <a:lnTo>
                          <a:pt x="3993" y="510"/>
                        </a:lnTo>
                        <a:lnTo>
                          <a:pt x="3975" y="546"/>
                        </a:lnTo>
                        <a:lnTo>
                          <a:pt x="3887" y="600"/>
                        </a:lnTo>
                        <a:lnTo>
                          <a:pt x="3903" y="621"/>
                        </a:lnTo>
                        <a:lnTo>
                          <a:pt x="3887" y="668"/>
                        </a:lnTo>
                        <a:lnTo>
                          <a:pt x="3810" y="762"/>
                        </a:lnTo>
                        <a:lnTo>
                          <a:pt x="3839" y="803"/>
                        </a:lnTo>
                        <a:lnTo>
                          <a:pt x="3787" y="850"/>
                        </a:lnTo>
                        <a:lnTo>
                          <a:pt x="3618" y="950"/>
                        </a:lnTo>
                        <a:lnTo>
                          <a:pt x="3672" y="960"/>
                        </a:lnTo>
                        <a:lnTo>
                          <a:pt x="3709" y="935"/>
                        </a:lnTo>
                        <a:lnTo>
                          <a:pt x="3780" y="917"/>
                        </a:lnTo>
                        <a:lnTo>
                          <a:pt x="3817" y="882"/>
                        </a:lnTo>
                        <a:lnTo>
                          <a:pt x="3883" y="848"/>
                        </a:lnTo>
                        <a:lnTo>
                          <a:pt x="3878" y="810"/>
                        </a:lnTo>
                        <a:lnTo>
                          <a:pt x="3932" y="763"/>
                        </a:lnTo>
                        <a:lnTo>
                          <a:pt x="3879" y="758"/>
                        </a:lnTo>
                        <a:lnTo>
                          <a:pt x="3892" y="720"/>
                        </a:lnTo>
                        <a:lnTo>
                          <a:pt x="3980" y="652"/>
                        </a:lnTo>
                        <a:lnTo>
                          <a:pt x="3953" y="597"/>
                        </a:lnTo>
                        <a:lnTo>
                          <a:pt x="4075" y="553"/>
                        </a:lnTo>
                        <a:lnTo>
                          <a:pt x="4098" y="506"/>
                        </a:lnTo>
                        <a:lnTo>
                          <a:pt x="4124" y="505"/>
                        </a:lnTo>
                        <a:lnTo>
                          <a:pt x="4124" y="541"/>
                        </a:lnTo>
                        <a:lnTo>
                          <a:pt x="4058" y="605"/>
                        </a:lnTo>
                        <a:lnTo>
                          <a:pt x="4104" y="617"/>
                        </a:lnTo>
                        <a:lnTo>
                          <a:pt x="4114" y="570"/>
                        </a:lnTo>
                        <a:lnTo>
                          <a:pt x="4217" y="543"/>
                        </a:lnTo>
                        <a:lnTo>
                          <a:pt x="4324" y="540"/>
                        </a:lnTo>
                        <a:lnTo>
                          <a:pt x="4392" y="577"/>
                        </a:lnTo>
                        <a:lnTo>
                          <a:pt x="4384" y="522"/>
                        </a:lnTo>
                        <a:lnTo>
                          <a:pt x="4428" y="453"/>
                        </a:lnTo>
                        <a:lnTo>
                          <a:pt x="4523" y="440"/>
                        </a:lnTo>
                        <a:lnTo>
                          <a:pt x="4639" y="443"/>
                        </a:lnTo>
                        <a:lnTo>
                          <a:pt x="4750" y="435"/>
                        </a:lnTo>
                        <a:lnTo>
                          <a:pt x="4734" y="401"/>
                        </a:lnTo>
                        <a:lnTo>
                          <a:pt x="4819" y="360"/>
                        </a:lnTo>
                        <a:lnTo>
                          <a:pt x="4875" y="357"/>
                        </a:lnTo>
                        <a:lnTo>
                          <a:pt x="4990" y="326"/>
                        </a:lnTo>
                        <a:lnTo>
                          <a:pt x="5123" y="317"/>
                        </a:lnTo>
                        <a:lnTo>
                          <a:pt x="5150" y="301"/>
                        </a:lnTo>
                        <a:lnTo>
                          <a:pt x="5279" y="295"/>
                        </a:lnTo>
                        <a:lnTo>
                          <a:pt x="5309" y="308"/>
                        </a:lnTo>
                        <a:lnTo>
                          <a:pt x="5435" y="276"/>
                        </a:lnTo>
                        <a:lnTo>
                          <a:pt x="5522" y="277"/>
                        </a:lnTo>
                        <a:lnTo>
                          <a:pt x="5550" y="250"/>
                        </a:lnTo>
                        <a:lnTo>
                          <a:pt x="5612" y="223"/>
                        </a:lnTo>
                        <a:lnTo>
                          <a:pt x="5735" y="200"/>
                        </a:lnTo>
                        <a:lnTo>
                          <a:pt x="5804" y="218"/>
                        </a:lnTo>
                        <a:lnTo>
                          <a:pt x="5732" y="233"/>
                        </a:lnTo>
                        <a:lnTo>
                          <a:pt x="5833" y="243"/>
                        </a:lnTo>
                        <a:lnTo>
                          <a:pt x="5830" y="273"/>
                        </a:lnTo>
                        <a:lnTo>
                          <a:pt x="5880" y="258"/>
                        </a:lnTo>
                        <a:lnTo>
                          <a:pt x="6018" y="260"/>
                        </a:lnTo>
                        <a:lnTo>
                          <a:pt x="6112" y="290"/>
                        </a:lnTo>
                        <a:lnTo>
                          <a:pt x="6139" y="313"/>
                        </a:lnTo>
                        <a:lnTo>
                          <a:pt x="6114" y="346"/>
                        </a:lnTo>
                        <a:lnTo>
                          <a:pt x="6053" y="365"/>
                        </a:lnTo>
                        <a:lnTo>
                          <a:pt x="5910" y="400"/>
                        </a:lnTo>
                        <a:lnTo>
                          <a:pt x="5865" y="418"/>
                        </a:lnTo>
                        <a:lnTo>
                          <a:pt x="5923" y="428"/>
                        </a:lnTo>
                        <a:lnTo>
                          <a:pt x="5988" y="445"/>
                        </a:lnTo>
                        <a:lnTo>
                          <a:pt x="6038" y="432"/>
                        </a:lnTo>
                        <a:lnTo>
                          <a:pt x="6047" y="473"/>
                        </a:lnTo>
                        <a:lnTo>
                          <a:pt x="6074" y="457"/>
                        </a:lnTo>
                        <a:lnTo>
                          <a:pt x="6157" y="446"/>
                        </a:lnTo>
                        <a:lnTo>
                          <a:pt x="6312" y="457"/>
                        </a:lnTo>
                        <a:lnTo>
                          <a:pt x="6314" y="487"/>
                        </a:lnTo>
                        <a:lnTo>
                          <a:pt x="6519" y="497"/>
                        </a:lnTo>
                        <a:lnTo>
                          <a:pt x="6535" y="447"/>
                        </a:lnTo>
                        <a:lnTo>
                          <a:pt x="6637" y="458"/>
                        </a:lnTo>
                        <a:lnTo>
                          <a:pt x="6715" y="458"/>
                        </a:lnTo>
                        <a:lnTo>
                          <a:pt x="6788" y="492"/>
                        </a:lnTo>
                        <a:lnTo>
                          <a:pt x="6802" y="535"/>
                        </a:lnTo>
                        <a:lnTo>
                          <a:pt x="6767" y="562"/>
                        </a:lnTo>
                        <a:lnTo>
                          <a:pt x="6819" y="615"/>
                        </a:lnTo>
                        <a:lnTo>
                          <a:pt x="6894" y="642"/>
                        </a:lnTo>
                        <a:lnTo>
                          <a:pt x="6955" y="572"/>
                        </a:lnTo>
                        <a:lnTo>
                          <a:pt x="7032" y="602"/>
                        </a:lnTo>
                        <a:lnTo>
                          <a:pt x="7120" y="583"/>
                        </a:lnTo>
                        <a:lnTo>
                          <a:pt x="7217" y="605"/>
                        </a:lnTo>
                        <a:lnTo>
                          <a:pt x="7255" y="586"/>
                        </a:lnTo>
                        <a:lnTo>
                          <a:pt x="7338" y="595"/>
                        </a:lnTo>
                        <a:lnTo>
                          <a:pt x="7308" y="533"/>
                        </a:lnTo>
                        <a:lnTo>
                          <a:pt x="7377" y="505"/>
                        </a:lnTo>
                        <a:lnTo>
                          <a:pt x="7825" y="547"/>
                        </a:lnTo>
                        <a:lnTo>
                          <a:pt x="7869" y="587"/>
                        </a:lnTo>
                        <a:lnTo>
                          <a:pt x="8003" y="638"/>
                        </a:lnTo>
                        <a:lnTo>
                          <a:pt x="8208" y="626"/>
                        </a:lnTo>
                        <a:lnTo>
                          <a:pt x="8311" y="636"/>
                        </a:lnTo>
                        <a:lnTo>
                          <a:pt x="8355" y="665"/>
                        </a:lnTo>
                        <a:lnTo>
                          <a:pt x="8353" y="713"/>
                        </a:lnTo>
                        <a:lnTo>
                          <a:pt x="8419" y="733"/>
                        </a:lnTo>
                        <a:lnTo>
                          <a:pt x="8487" y="720"/>
                        </a:lnTo>
                        <a:lnTo>
                          <a:pt x="8579" y="717"/>
                        </a:lnTo>
                        <a:lnTo>
                          <a:pt x="8678" y="731"/>
                        </a:lnTo>
                        <a:lnTo>
                          <a:pt x="8776" y="723"/>
                        </a:lnTo>
                        <a:lnTo>
                          <a:pt x="8877" y="785"/>
                        </a:lnTo>
                        <a:lnTo>
                          <a:pt x="8938" y="762"/>
                        </a:lnTo>
                        <a:lnTo>
                          <a:pt x="8888" y="718"/>
                        </a:lnTo>
                        <a:lnTo>
                          <a:pt x="8906" y="688"/>
                        </a:lnTo>
                        <a:lnTo>
                          <a:pt x="9073" y="707"/>
                        </a:lnTo>
                        <a:lnTo>
                          <a:pt x="9181" y="703"/>
                        </a:lnTo>
                        <a:lnTo>
                          <a:pt x="9337" y="736"/>
                        </a:lnTo>
                        <a:lnTo>
                          <a:pt x="9418" y="766"/>
                        </a:lnTo>
                        <a:lnTo>
                          <a:pt x="9561" y="818"/>
                        </a:lnTo>
                        <a:lnTo>
                          <a:pt x="9719" y="887"/>
                        </a:lnTo>
                        <a:lnTo>
                          <a:pt x="9727" y="931"/>
                        </a:lnTo>
                        <a:lnTo>
                          <a:pt x="9768" y="948"/>
                        </a:lnTo>
                        <a:lnTo>
                          <a:pt x="9741" y="897"/>
                        </a:lnTo>
                        <a:lnTo>
                          <a:pt x="9889" y="908"/>
                        </a:lnTo>
                        <a:lnTo>
                          <a:pt x="10016" y="975"/>
                        </a:lnTo>
                        <a:lnTo>
                          <a:pt x="9972" y="1005"/>
                        </a:lnTo>
                        <a:lnTo>
                          <a:pt x="9886" y="1012"/>
                        </a:lnTo>
                        <a:lnTo>
                          <a:pt x="9904" y="1082"/>
                        </a:lnTo>
                        <a:lnTo>
                          <a:pt x="9887" y="1097"/>
                        </a:lnTo>
                        <a:lnTo>
                          <a:pt x="9836" y="1095"/>
                        </a:lnTo>
                        <a:lnTo>
                          <a:pt x="9787" y="1070"/>
                        </a:lnTo>
                        <a:lnTo>
                          <a:pt x="9708" y="1050"/>
                        </a:lnTo>
                        <a:lnTo>
                          <a:pt x="9687" y="1018"/>
                        </a:lnTo>
                        <a:lnTo>
                          <a:pt x="9628" y="1006"/>
                        </a:lnTo>
                        <a:lnTo>
                          <a:pt x="9569" y="1016"/>
                        </a:lnTo>
                        <a:lnTo>
                          <a:pt x="9534" y="991"/>
                        </a:lnTo>
                        <a:lnTo>
                          <a:pt x="9539" y="965"/>
                        </a:lnTo>
                        <a:lnTo>
                          <a:pt x="9478" y="981"/>
                        </a:lnTo>
                        <a:lnTo>
                          <a:pt x="9510" y="1015"/>
                        </a:lnTo>
                        <a:lnTo>
                          <a:pt x="9487" y="1046"/>
                        </a:lnTo>
                        <a:lnTo>
                          <a:pt x="9424" y="1077"/>
                        </a:lnTo>
                        <a:lnTo>
                          <a:pt x="9352" y="1072"/>
                        </a:lnTo>
                        <a:lnTo>
                          <a:pt x="9410" y="1110"/>
                        </a:lnTo>
                        <a:lnTo>
                          <a:pt x="9457" y="1170"/>
                        </a:lnTo>
                        <a:lnTo>
                          <a:pt x="9487" y="1190"/>
                        </a:lnTo>
                        <a:lnTo>
                          <a:pt x="9499" y="1220"/>
                        </a:lnTo>
                        <a:lnTo>
                          <a:pt x="9489" y="1238"/>
                        </a:lnTo>
                        <a:lnTo>
                          <a:pt x="9382" y="1222"/>
                        </a:lnTo>
                        <a:lnTo>
                          <a:pt x="9236" y="1278"/>
                        </a:lnTo>
                        <a:lnTo>
                          <a:pt x="9187" y="1286"/>
                        </a:lnTo>
                        <a:lnTo>
                          <a:pt x="9109" y="1338"/>
                        </a:lnTo>
                        <a:lnTo>
                          <a:pt x="9034" y="1383"/>
                        </a:lnTo>
                        <a:lnTo>
                          <a:pt x="9018" y="1417"/>
                        </a:lnTo>
                        <a:lnTo>
                          <a:pt x="8929" y="1366"/>
                        </a:lnTo>
                        <a:lnTo>
                          <a:pt x="8787" y="1425"/>
                        </a:lnTo>
                        <a:lnTo>
                          <a:pt x="8758" y="1397"/>
                        </a:lnTo>
                        <a:lnTo>
                          <a:pt x="8705" y="1428"/>
                        </a:lnTo>
                        <a:lnTo>
                          <a:pt x="8628" y="1418"/>
                        </a:lnTo>
                        <a:lnTo>
                          <a:pt x="8614" y="1467"/>
                        </a:lnTo>
                        <a:lnTo>
                          <a:pt x="8552" y="1540"/>
                        </a:lnTo>
                        <a:lnTo>
                          <a:pt x="8555" y="1571"/>
                        </a:lnTo>
                        <a:lnTo>
                          <a:pt x="8624" y="1587"/>
                        </a:lnTo>
                        <a:lnTo>
                          <a:pt x="8625" y="1699"/>
                        </a:lnTo>
                        <a:lnTo>
                          <a:pt x="8572" y="1701"/>
                        </a:lnTo>
                        <a:lnTo>
                          <a:pt x="8550" y="1765"/>
                        </a:lnTo>
                        <a:lnTo>
                          <a:pt x="8578" y="1798"/>
                        </a:lnTo>
                        <a:lnTo>
                          <a:pt x="8475" y="1837"/>
                        </a:lnTo>
                        <a:lnTo>
                          <a:pt x="8460" y="1926"/>
                        </a:lnTo>
                        <a:lnTo>
                          <a:pt x="8370" y="1945"/>
                        </a:lnTo>
                        <a:lnTo>
                          <a:pt x="8357" y="2024"/>
                        </a:lnTo>
                        <a:lnTo>
                          <a:pt x="8270" y="2096"/>
                        </a:lnTo>
                        <a:lnTo>
                          <a:pt x="8245" y="2042"/>
                        </a:lnTo>
                        <a:lnTo>
                          <a:pt x="8215" y="1929"/>
                        </a:lnTo>
                        <a:lnTo>
                          <a:pt x="8175" y="1757"/>
                        </a:lnTo>
                        <a:lnTo>
                          <a:pt x="8200" y="1652"/>
                        </a:lnTo>
                        <a:lnTo>
                          <a:pt x="8248" y="1607"/>
                        </a:lnTo>
                        <a:lnTo>
                          <a:pt x="8249" y="1571"/>
                        </a:lnTo>
                        <a:lnTo>
                          <a:pt x="8339" y="1555"/>
                        </a:lnTo>
                        <a:lnTo>
                          <a:pt x="8437" y="1460"/>
                        </a:lnTo>
                        <a:lnTo>
                          <a:pt x="8529" y="1384"/>
                        </a:lnTo>
                        <a:lnTo>
                          <a:pt x="8627" y="1325"/>
                        </a:lnTo>
                        <a:lnTo>
                          <a:pt x="8660" y="1221"/>
                        </a:lnTo>
                        <a:lnTo>
                          <a:pt x="8593" y="1227"/>
                        </a:lnTo>
                        <a:lnTo>
                          <a:pt x="8565" y="1287"/>
                        </a:lnTo>
                        <a:lnTo>
                          <a:pt x="8428" y="1369"/>
                        </a:lnTo>
                        <a:lnTo>
                          <a:pt x="8375" y="1277"/>
                        </a:lnTo>
                        <a:lnTo>
                          <a:pt x="8230" y="1302"/>
                        </a:lnTo>
                        <a:lnTo>
                          <a:pt x="8093" y="1427"/>
                        </a:lnTo>
                        <a:lnTo>
                          <a:pt x="8143" y="1472"/>
                        </a:lnTo>
                        <a:lnTo>
                          <a:pt x="8014" y="1492"/>
                        </a:lnTo>
                        <a:lnTo>
                          <a:pt x="7924" y="1500"/>
                        </a:lnTo>
                        <a:lnTo>
                          <a:pt x="7928" y="1446"/>
                        </a:lnTo>
                        <a:lnTo>
                          <a:pt x="7838" y="1435"/>
                        </a:lnTo>
                        <a:lnTo>
                          <a:pt x="7767" y="1471"/>
                        </a:lnTo>
                        <a:lnTo>
                          <a:pt x="7590" y="1458"/>
                        </a:lnTo>
                        <a:lnTo>
                          <a:pt x="7399" y="1481"/>
                        </a:lnTo>
                        <a:lnTo>
                          <a:pt x="7200" y="1627"/>
                        </a:lnTo>
                        <a:lnTo>
                          <a:pt x="6957" y="1807"/>
                        </a:lnTo>
                        <a:lnTo>
                          <a:pt x="7052" y="1817"/>
                        </a:lnTo>
                        <a:lnTo>
                          <a:pt x="7077" y="1866"/>
                        </a:lnTo>
                        <a:lnTo>
                          <a:pt x="7134" y="1884"/>
                        </a:lnTo>
                        <a:lnTo>
                          <a:pt x="7175" y="1845"/>
                        </a:lnTo>
                        <a:lnTo>
                          <a:pt x="7242" y="1850"/>
                        </a:lnTo>
                        <a:lnTo>
                          <a:pt x="7324" y="1935"/>
                        </a:lnTo>
                        <a:lnTo>
                          <a:pt x="7323" y="2001"/>
                        </a:lnTo>
                        <a:lnTo>
                          <a:pt x="7270" y="2079"/>
                        </a:lnTo>
                        <a:lnTo>
                          <a:pt x="7260" y="2172"/>
                        </a:lnTo>
                        <a:lnTo>
                          <a:pt x="7225" y="2299"/>
                        </a:lnTo>
                        <a:lnTo>
                          <a:pt x="7123" y="2414"/>
                        </a:lnTo>
                        <a:lnTo>
                          <a:pt x="7099" y="2469"/>
                        </a:lnTo>
                        <a:lnTo>
                          <a:pt x="7007" y="2561"/>
                        </a:lnTo>
                        <a:lnTo>
                          <a:pt x="6913" y="2654"/>
                        </a:lnTo>
                        <a:lnTo>
                          <a:pt x="6868" y="2701"/>
                        </a:lnTo>
                        <a:lnTo>
                          <a:pt x="6778" y="2747"/>
                        </a:lnTo>
                        <a:lnTo>
                          <a:pt x="6737" y="2749"/>
                        </a:lnTo>
                        <a:lnTo>
                          <a:pt x="6699" y="2710"/>
                        </a:lnTo>
                        <a:lnTo>
                          <a:pt x="6607" y="2769"/>
                        </a:lnTo>
                        <a:lnTo>
                          <a:pt x="6594" y="2795"/>
                        </a:lnTo>
                        <a:close/>
                        <a:moveTo>
                          <a:pt x="5789" y="163"/>
                        </a:moveTo>
                        <a:lnTo>
                          <a:pt x="5517" y="186"/>
                        </a:lnTo>
                        <a:lnTo>
                          <a:pt x="5649" y="110"/>
                        </a:lnTo>
                        <a:lnTo>
                          <a:pt x="5691" y="102"/>
                        </a:lnTo>
                        <a:lnTo>
                          <a:pt x="5722" y="106"/>
                        </a:lnTo>
                        <a:lnTo>
                          <a:pt x="5817" y="140"/>
                        </a:lnTo>
                        <a:lnTo>
                          <a:pt x="5789" y="163"/>
                        </a:lnTo>
                        <a:close/>
                        <a:moveTo>
                          <a:pt x="3482" y="36"/>
                        </a:moveTo>
                        <a:lnTo>
                          <a:pt x="3412" y="43"/>
                        </a:lnTo>
                        <a:lnTo>
                          <a:pt x="3367" y="47"/>
                        </a:lnTo>
                        <a:lnTo>
                          <a:pt x="3348" y="57"/>
                        </a:lnTo>
                        <a:lnTo>
                          <a:pt x="3283" y="66"/>
                        </a:lnTo>
                        <a:lnTo>
                          <a:pt x="3253" y="52"/>
                        </a:lnTo>
                        <a:lnTo>
                          <a:pt x="3303" y="36"/>
                        </a:lnTo>
                        <a:lnTo>
                          <a:pt x="3207" y="35"/>
                        </a:lnTo>
                        <a:lnTo>
                          <a:pt x="3307" y="25"/>
                        </a:lnTo>
                        <a:lnTo>
                          <a:pt x="3374" y="23"/>
                        </a:lnTo>
                        <a:lnTo>
                          <a:pt x="3363" y="38"/>
                        </a:lnTo>
                        <a:lnTo>
                          <a:pt x="3407" y="26"/>
                        </a:lnTo>
                        <a:lnTo>
                          <a:pt x="3460" y="17"/>
                        </a:lnTo>
                        <a:lnTo>
                          <a:pt x="3509" y="28"/>
                        </a:lnTo>
                        <a:lnTo>
                          <a:pt x="3482" y="36"/>
                        </a:lnTo>
                        <a:close/>
                        <a:moveTo>
                          <a:pt x="5576" y="130"/>
                        </a:moveTo>
                        <a:lnTo>
                          <a:pt x="5472" y="137"/>
                        </a:lnTo>
                        <a:lnTo>
                          <a:pt x="5357" y="120"/>
                        </a:lnTo>
                        <a:lnTo>
                          <a:pt x="5298" y="98"/>
                        </a:lnTo>
                        <a:lnTo>
                          <a:pt x="5294" y="58"/>
                        </a:lnTo>
                        <a:lnTo>
                          <a:pt x="5242" y="47"/>
                        </a:lnTo>
                        <a:lnTo>
                          <a:pt x="5386" y="11"/>
                        </a:lnTo>
                        <a:lnTo>
                          <a:pt x="5489" y="0"/>
                        </a:lnTo>
                        <a:lnTo>
                          <a:pt x="5555" y="26"/>
                        </a:lnTo>
                        <a:lnTo>
                          <a:pt x="5620" y="78"/>
                        </a:lnTo>
                        <a:lnTo>
                          <a:pt x="5576" y="13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0" name="Spain" descr="{&quot;Key&quot;:&quot;spain&quot;,&quot;Name&quot;:&quot;Spain&quot;,&quot;Value&quot;:1.0,&quot;Formula&quot;:&quot;&quot;,&quot;Text&quot;:&quot;&quot;,&quot;OfficeApplication&quot;:1,&quot;HasValue&quot;:true}">
                    <a:extLst>
                      <a:ext uri="{FF2B5EF4-FFF2-40B4-BE49-F238E27FC236}">
                        <a16:creationId xmlns:a16="http://schemas.microsoft.com/office/drawing/2014/main" id="{229DF127-56AE-6307-0707-D76459D74565}"/>
                      </a:ext>
                    </a:extLst>
                  </p:cNvPr>
                  <p:cNvSpPr>
                    <a:spLocks/>
                  </p:cNvSpPr>
                  <p:nvPr/>
                </p:nvSpPr>
                <p:spPr bwMode="auto">
                  <a:xfrm>
                    <a:off x="872" y="1794"/>
                    <a:ext cx="269" cy="176"/>
                  </a:xfrm>
                  <a:custGeom>
                    <a:avLst/>
                    <a:gdLst>
                      <a:gd name="T0" fmla="*/ 698 w 963"/>
                      <a:gd name="T1" fmla="*/ 27 h 630"/>
                      <a:gd name="T2" fmla="*/ 702 w 963"/>
                      <a:gd name="T3" fmla="*/ 58 h 630"/>
                      <a:gd name="T4" fmla="*/ 795 w 963"/>
                      <a:gd name="T5" fmla="*/ 94 h 630"/>
                      <a:gd name="T6" fmla="*/ 832 w 963"/>
                      <a:gd name="T7" fmla="*/ 77 h 630"/>
                      <a:gd name="T8" fmla="*/ 880 w 963"/>
                      <a:gd name="T9" fmla="*/ 114 h 630"/>
                      <a:gd name="T10" fmla="*/ 963 w 963"/>
                      <a:gd name="T11" fmla="*/ 103 h 630"/>
                      <a:gd name="T12" fmla="*/ 935 w 963"/>
                      <a:gd name="T13" fmla="*/ 150 h 630"/>
                      <a:gd name="T14" fmla="*/ 838 w 963"/>
                      <a:gd name="T15" fmla="*/ 203 h 630"/>
                      <a:gd name="T16" fmla="*/ 743 w 963"/>
                      <a:gd name="T17" fmla="*/ 220 h 630"/>
                      <a:gd name="T18" fmla="*/ 719 w 963"/>
                      <a:gd name="T19" fmla="*/ 248 h 630"/>
                      <a:gd name="T20" fmla="*/ 650 w 963"/>
                      <a:gd name="T21" fmla="*/ 293 h 630"/>
                      <a:gd name="T22" fmla="*/ 584 w 963"/>
                      <a:gd name="T23" fmla="*/ 358 h 630"/>
                      <a:gd name="T24" fmla="*/ 583 w 963"/>
                      <a:gd name="T25" fmla="*/ 404 h 630"/>
                      <a:gd name="T26" fmla="*/ 523 w 963"/>
                      <a:gd name="T27" fmla="*/ 440 h 630"/>
                      <a:gd name="T28" fmla="*/ 479 w 963"/>
                      <a:gd name="T29" fmla="*/ 493 h 630"/>
                      <a:gd name="T30" fmla="*/ 419 w 963"/>
                      <a:gd name="T31" fmla="*/ 509 h 630"/>
                      <a:gd name="T32" fmla="*/ 337 w 963"/>
                      <a:gd name="T33" fmla="*/ 571 h 630"/>
                      <a:gd name="T34" fmla="*/ 250 w 963"/>
                      <a:gd name="T35" fmla="*/ 573 h 630"/>
                      <a:gd name="T36" fmla="*/ 188 w 963"/>
                      <a:gd name="T37" fmla="*/ 571 h 630"/>
                      <a:gd name="T38" fmla="*/ 130 w 963"/>
                      <a:gd name="T39" fmla="*/ 600 h 630"/>
                      <a:gd name="T40" fmla="*/ 88 w 963"/>
                      <a:gd name="T41" fmla="*/ 630 h 630"/>
                      <a:gd name="T42" fmla="*/ 58 w 963"/>
                      <a:gd name="T43" fmla="*/ 624 h 630"/>
                      <a:gd name="T44" fmla="*/ 48 w 963"/>
                      <a:gd name="T45" fmla="*/ 596 h 630"/>
                      <a:gd name="T46" fmla="*/ 55 w 963"/>
                      <a:gd name="T47" fmla="*/ 550 h 630"/>
                      <a:gd name="T48" fmla="*/ 0 w 963"/>
                      <a:gd name="T49" fmla="*/ 536 h 630"/>
                      <a:gd name="T50" fmla="*/ 10 w 963"/>
                      <a:gd name="T51" fmla="*/ 510 h 630"/>
                      <a:gd name="T52" fmla="*/ 53 w 963"/>
                      <a:gd name="T53" fmla="*/ 480 h 630"/>
                      <a:gd name="T54" fmla="*/ 75 w 963"/>
                      <a:gd name="T55" fmla="*/ 458 h 630"/>
                      <a:gd name="T56" fmla="*/ 67 w 963"/>
                      <a:gd name="T57" fmla="*/ 434 h 630"/>
                      <a:gd name="T58" fmla="*/ 118 w 963"/>
                      <a:gd name="T59" fmla="*/ 380 h 630"/>
                      <a:gd name="T60" fmla="*/ 122 w 963"/>
                      <a:gd name="T61" fmla="*/ 333 h 630"/>
                      <a:gd name="T62" fmla="*/ 154 w 963"/>
                      <a:gd name="T63" fmla="*/ 325 h 630"/>
                      <a:gd name="T64" fmla="*/ 182 w 963"/>
                      <a:gd name="T65" fmla="*/ 288 h 630"/>
                      <a:gd name="T66" fmla="*/ 200 w 963"/>
                      <a:gd name="T67" fmla="*/ 275 h 630"/>
                      <a:gd name="T68" fmla="*/ 244 w 963"/>
                      <a:gd name="T69" fmla="*/ 213 h 630"/>
                      <a:gd name="T70" fmla="*/ 289 w 963"/>
                      <a:gd name="T71" fmla="*/ 190 h 630"/>
                      <a:gd name="T72" fmla="*/ 299 w 963"/>
                      <a:gd name="T73" fmla="*/ 150 h 630"/>
                      <a:gd name="T74" fmla="*/ 263 w 963"/>
                      <a:gd name="T75" fmla="*/ 148 h 630"/>
                      <a:gd name="T76" fmla="*/ 244 w 963"/>
                      <a:gd name="T77" fmla="*/ 158 h 630"/>
                      <a:gd name="T78" fmla="*/ 205 w 963"/>
                      <a:gd name="T79" fmla="*/ 158 h 630"/>
                      <a:gd name="T80" fmla="*/ 218 w 963"/>
                      <a:gd name="T81" fmla="*/ 119 h 630"/>
                      <a:gd name="T82" fmla="*/ 182 w 963"/>
                      <a:gd name="T83" fmla="*/ 130 h 630"/>
                      <a:gd name="T84" fmla="*/ 144 w 963"/>
                      <a:gd name="T85" fmla="*/ 150 h 630"/>
                      <a:gd name="T86" fmla="*/ 188 w 963"/>
                      <a:gd name="T87" fmla="*/ 93 h 630"/>
                      <a:gd name="T88" fmla="*/ 188 w 963"/>
                      <a:gd name="T89" fmla="*/ 59 h 630"/>
                      <a:gd name="T90" fmla="*/ 322 w 963"/>
                      <a:gd name="T91" fmla="*/ 0 h 630"/>
                      <a:gd name="T92" fmla="*/ 390 w 963"/>
                      <a:gd name="T93" fmla="*/ 15 h 630"/>
                      <a:gd name="T94" fmla="*/ 478 w 963"/>
                      <a:gd name="T95" fmla="*/ 14 h 630"/>
                      <a:gd name="T96" fmla="*/ 538 w 963"/>
                      <a:gd name="T97" fmla="*/ 28 h 630"/>
                      <a:gd name="T98" fmla="*/ 594 w 963"/>
                      <a:gd name="T99" fmla="*/ 24 h 630"/>
                      <a:gd name="T100" fmla="*/ 698 w 963"/>
                      <a:gd name="T101" fmla="*/ 27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3" h="630">
                        <a:moveTo>
                          <a:pt x="698" y="27"/>
                        </a:moveTo>
                        <a:lnTo>
                          <a:pt x="702" y="58"/>
                        </a:lnTo>
                        <a:lnTo>
                          <a:pt x="795" y="94"/>
                        </a:lnTo>
                        <a:lnTo>
                          <a:pt x="832" y="77"/>
                        </a:lnTo>
                        <a:lnTo>
                          <a:pt x="880" y="114"/>
                        </a:lnTo>
                        <a:lnTo>
                          <a:pt x="963" y="103"/>
                        </a:lnTo>
                        <a:lnTo>
                          <a:pt x="935" y="150"/>
                        </a:lnTo>
                        <a:lnTo>
                          <a:pt x="838" y="203"/>
                        </a:lnTo>
                        <a:lnTo>
                          <a:pt x="743" y="220"/>
                        </a:lnTo>
                        <a:lnTo>
                          <a:pt x="719" y="248"/>
                        </a:lnTo>
                        <a:lnTo>
                          <a:pt x="650" y="293"/>
                        </a:lnTo>
                        <a:lnTo>
                          <a:pt x="584" y="358"/>
                        </a:lnTo>
                        <a:lnTo>
                          <a:pt x="583" y="404"/>
                        </a:lnTo>
                        <a:lnTo>
                          <a:pt x="523" y="440"/>
                        </a:lnTo>
                        <a:lnTo>
                          <a:pt x="479" y="493"/>
                        </a:lnTo>
                        <a:lnTo>
                          <a:pt x="419" y="509"/>
                        </a:lnTo>
                        <a:lnTo>
                          <a:pt x="337" y="571"/>
                        </a:lnTo>
                        <a:lnTo>
                          <a:pt x="250" y="573"/>
                        </a:lnTo>
                        <a:lnTo>
                          <a:pt x="188" y="571"/>
                        </a:lnTo>
                        <a:lnTo>
                          <a:pt x="130" y="600"/>
                        </a:lnTo>
                        <a:lnTo>
                          <a:pt x="88" y="630"/>
                        </a:lnTo>
                        <a:lnTo>
                          <a:pt x="58" y="624"/>
                        </a:lnTo>
                        <a:lnTo>
                          <a:pt x="48" y="596"/>
                        </a:lnTo>
                        <a:lnTo>
                          <a:pt x="55" y="550"/>
                        </a:lnTo>
                        <a:lnTo>
                          <a:pt x="0" y="536"/>
                        </a:lnTo>
                        <a:lnTo>
                          <a:pt x="10" y="510"/>
                        </a:lnTo>
                        <a:lnTo>
                          <a:pt x="53" y="480"/>
                        </a:lnTo>
                        <a:lnTo>
                          <a:pt x="75" y="458"/>
                        </a:lnTo>
                        <a:lnTo>
                          <a:pt x="67" y="434"/>
                        </a:lnTo>
                        <a:lnTo>
                          <a:pt x="118" y="380"/>
                        </a:lnTo>
                        <a:lnTo>
                          <a:pt x="122" y="333"/>
                        </a:lnTo>
                        <a:lnTo>
                          <a:pt x="154" y="325"/>
                        </a:lnTo>
                        <a:lnTo>
                          <a:pt x="182" y="288"/>
                        </a:lnTo>
                        <a:lnTo>
                          <a:pt x="200" y="275"/>
                        </a:lnTo>
                        <a:lnTo>
                          <a:pt x="244" y="213"/>
                        </a:lnTo>
                        <a:lnTo>
                          <a:pt x="289" y="190"/>
                        </a:lnTo>
                        <a:lnTo>
                          <a:pt x="299" y="150"/>
                        </a:lnTo>
                        <a:lnTo>
                          <a:pt x="263" y="148"/>
                        </a:lnTo>
                        <a:lnTo>
                          <a:pt x="244" y="158"/>
                        </a:lnTo>
                        <a:lnTo>
                          <a:pt x="205" y="158"/>
                        </a:lnTo>
                        <a:lnTo>
                          <a:pt x="218" y="119"/>
                        </a:lnTo>
                        <a:lnTo>
                          <a:pt x="182" y="130"/>
                        </a:lnTo>
                        <a:lnTo>
                          <a:pt x="144" y="150"/>
                        </a:lnTo>
                        <a:lnTo>
                          <a:pt x="188" y="93"/>
                        </a:lnTo>
                        <a:lnTo>
                          <a:pt x="188" y="59"/>
                        </a:lnTo>
                        <a:lnTo>
                          <a:pt x="322" y="0"/>
                        </a:lnTo>
                        <a:lnTo>
                          <a:pt x="390" y="15"/>
                        </a:lnTo>
                        <a:lnTo>
                          <a:pt x="478" y="14"/>
                        </a:lnTo>
                        <a:lnTo>
                          <a:pt x="538" y="28"/>
                        </a:lnTo>
                        <a:lnTo>
                          <a:pt x="594" y="24"/>
                        </a:lnTo>
                        <a:lnTo>
                          <a:pt x="698" y="2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1" name="France" descr="{&quot;Key&quot;:&quot;france&quot;,&quot;Name&quot;:&quot;France&quot;,&quot;Value&quot;:1.0,&quot;Formula&quot;:&quot;&quot;,&quot;Text&quot;:&quot;&quot;,&quot;OfficeApplication&quot;:1,&quot;HasValue&quot;:true}">
                    <a:extLst>
                      <a:ext uri="{FF2B5EF4-FFF2-40B4-BE49-F238E27FC236}">
                        <a16:creationId xmlns:a16="http://schemas.microsoft.com/office/drawing/2014/main" id="{BB42DF6F-4EB1-E52B-8E40-83B6FB9FF205}"/>
                      </a:ext>
                    </a:extLst>
                  </p:cNvPr>
                  <p:cNvSpPr>
                    <a:spLocks noEditPoints="1"/>
                  </p:cNvSpPr>
                  <p:nvPr/>
                </p:nvSpPr>
                <p:spPr bwMode="auto">
                  <a:xfrm>
                    <a:off x="1067" y="1631"/>
                    <a:ext cx="268" cy="217"/>
                  </a:xfrm>
                  <a:custGeom>
                    <a:avLst/>
                    <a:gdLst>
                      <a:gd name="T0" fmla="*/ 677 w 962"/>
                      <a:gd name="T1" fmla="*/ 715 h 778"/>
                      <a:gd name="T2" fmla="*/ 617 w 962"/>
                      <a:gd name="T3" fmla="*/ 778 h 778"/>
                      <a:gd name="T4" fmla="*/ 597 w 962"/>
                      <a:gd name="T5" fmla="*/ 760 h 778"/>
                      <a:gd name="T6" fmla="*/ 616 w 962"/>
                      <a:gd name="T7" fmla="*/ 706 h 778"/>
                      <a:gd name="T8" fmla="*/ 649 w 962"/>
                      <a:gd name="T9" fmla="*/ 676 h 778"/>
                      <a:gd name="T10" fmla="*/ 711 w 962"/>
                      <a:gd name="T11" fmla="*/ 646 h 778"/>
                      <a:gd name="T12" fmla="*/ 677 w 962"/>
                      <a:gd name="T13" fmla="*/ 715 h 778"/>
                      <a:gd name="T14" fmla="*/ 265 w 962"/>
                      <a:gd name="T15" fmla="*/ 689 h 778"/>
                      <a:gd name="T16" fmla="*/ 182 w 962"/>
                      <a:gd name="T17" fmla="*/ 700 h 778"/>
                      <a:gd name="T18" fmla="*/ 134 w 962"/>
                      <a:gd name="T19" fmla="*/ 663 h 778"/>
                      <a:gd name="T20" fmla="*/ 97 w 962"/>
                      <a:gd name="T21" fmla="*/ 680 h 778"/>
                      <a:gd name="T22" fmla="*/ 4 w 962"/>
                      <a:gd name="T23" fmla="*/ 644 h 778"/>
                      <a:gd name="T24" fmla="*/ 0 w 962"/>
                      <a:gd name="T25" fmla="*/ 613 h 778"/>
                      <a:gd name="T26" fmla="*/ 67 w 962"/>
                      <a:gd name="T27" fmla="*/ 565 h 778"/>
                      <a:gd name="T28" fmla="*/ 196 w 962"/>
                      <a:gd name="T29" fmla="*/ 405 h 778"/>
                      <a:gd name="T30" fmla="*/ 192 w 962"/>
                      <a:gd name="T31" fmla="*/ 321 h 778"/>
                      <a:gd name="T32" fmla="*/ 177 w 962"/>
                      <a:gd name="T33" fmla="*/ 281 h 778"/>
                      <a:gd name="T34" fmla="*/ 105 w 962"/>
                      <a:gd name="T35" fmla="*/ 251 h 778"/>
                      <a:gd name="T36" fmla="*/ 145 w 962"/>
                      <a:gd name="T37" fmla="*/ 194 h 778"/>
                      <a:gd name="T38" fmla="*/ 240 w 962"/>
                      <a:gd name="T39" fmla="*/ 176 h 778"/>
                      <a:gd name="T40" fmla="*/ 329 w 962"/>
                      <a:gd name="T41" fmla="*/ 196 h 778"/>
                      <a:gd name="T42" fmla="*/ 382 w 962"/>
                      <a:gd name="T43" fmla="*/ 108 h 778"/>
                      <a:gd name="T44" fmla="*/ 414 w 962"/>
                      <a:gd name="T45" fmla="*/ 141 h 778"/>
                      <a:gd name="T46" fmla="*/ 610 w 962"/>
                      <a:gd name="T47" fmla="*/ 80 h 778"/>
                      <a:gd name="T48" fmla="*/ 682 w 962"/>
                      <a:gd name="T49" fmla="*/ 15 h 778"/>
                      <a:gd name="T50" fmla="*/ 750 w 962"/>
                      <a:gd name="T51" fmla="*/ 0 h 778"/>
                      <a:gd name="T52" fmla="*/ 735 w 962"/>
                      <a:gd name="T53" fmla="*/ 28 h 778"/>
                      <a:gd name="T54" fmla="*/ 764 w 962"/>
                      <a:gd name="T55" fmla="*/ 29 h 778"/>
                      <a:gd name="T56" fmla="*/ 766 w 962"/>
                      <a:gd name="T57" fmla="*/ 60 h 778"/>
                      <a:gd name="T58" fmla="*/ 779 w 962"/>
                      <a:gd name="T59" fmla="*/ 98 h 778"/>
                      <a:gd name="T60" fmla="*/ 816 w 962"/>
                      <a:gd name="T61" fmla="*/ 91 h 778"/>
                      <a:gd name="T62" fmla="*/ 841 w 962"/>
                      <a:gd name="T63" fmla="*/ 126 h 778"/>
                      <a:gd name="T64" fmla="*/ 850 w 962"/>
                      <a:gd name="T65" fmla="*/ 134 h 778"/>
                      <a:gd name="T66" fmla="*/ 870 w 962"/>
                      <a:gd name="T67" fmla="*/ 133 h 778"/>
                      <a:gd name="T68" fmla="*/ 884 w 962"/>
                      <a:gd name="T69" fmla="*/ 153 h 778"/>
                      <a:gd name="T70" fmla="*/ 962 w 962"/>
                      <a:gd name="T71" fmla="*/ 168 h 778"/>
                      <a:gd name="T72" fmla="*/ 890 w 962"/>
                      <a:gd name="T73" fmla="*/ 221 h 778"/>
                      <a:gd name="T74" fmla="*/ 840 w 962"/>
                      <a:gd name="T75" fmla="*/ 278 h 778"/>
                      <a:gd name="T76" fmla="*/ 814 w 962"/>
                      <a:gd name="T77" fmla="*/ 291 h 778"/>
                      <a:gd name="T78" fmla="*/ 790 w 962"/>
                      <a:gd name="T79" fmla="*/ 284 h 778"/>
                      <a:gd name="T80" fmla="*/ 777 w 962"/>
                      <a:gd name="T81" fmla="*/ 304 h 778"/>
                      <a:gd name="T82" fmla="*/ 699 w 962"/>
                      <a:gd name="T83" fmla="*/ 349 h 778"/>
                      <a:gd name="T84" fmla="*/ 671 w 962"/>
                      <a:gd name="T85" fmla="*/ 385 h 778"/>
                      <a:gd name="T86" fmla="*/ 711 w 962"/>
                      <a:gd name="T87" fmla="*/ 373 h 778"/>
                      <a:gd name="T88" fmla="*/ 709 w 962"/>
                      <a:gd name="T89" fmla="*/ 408 h 778"/>
                      <a:gd name="T90" fmla="*/ 690 w 962"/>
                      <a:gd name="T91" fmla="*/ 430 h 778"/>
                      <a:gd name="T92" fmla="*/ 687 w 962"/>
                      <a:gd name="T93" fmla="*/ 460 h 778"/>
                      <a:gd name="T94" fmla="*/ 649 w 962"/>
                      <a:gd name="T95" fmla="*/ 484 h 778"/>
                      <a:gd name="T96" fmla="*/ 622 w 962"/>
                      <a:gd name="T97" fmla="*/ 546 h 778"/>
                      <a:gd name="T98" fmla="*/ 651 w 962"/>
                      <a:gd name="T99" fmla="*/ 556 h 778"/>
                      <a:gd name="T100" fmla="*/ 620 w 962"/>
                      <a:gd name="T101" fmla="*/ 591 h 778"/>
                      <a:gd name="T102" fmla="*/ 531 w 962"/>
                      <a:gd name="T103" fmla="*/ 636 h 778"/>
                      <a:gd name="T104" fmla="*/ 417 w 962"/>
                      <a:gd name="T105" fmla="*/ 615 h 778"/>
                      <a:gd name="T106" fmla="*/ 305 w 962"/>
                      <a:gd name="T107" fmla="*/ 640 h 778"/>
                      <a:gd name="T108" fmla="*/ 265 w 962"/>
                      <a:gd name="T109" fmla="*/ 68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2" h="778">
                        <a:moveTo>
                          <a:pt x="677" y="715"/>
                        </a:moveTo>
                        <a:lnTo>
                          <a:pt x="617" y="778"/>
                        </a:lnTo>
                        <a:lnTo>
                          <a:pt x="597" y="760"/>
                        </a:lnTo>
                        <a:lnTo>
                          <a:pt x="616" y="706"/>
                        </a:lnTo>
                        <a:lnTo>
                          <a:pt x="649" y="676"/>
                        </a:lnTo>
                        <a:lnTo>
                          <a:pt x="711" y="646"/>
                        </a:lnTo>
                        <a:lnTo>
                          <a:pt x="677" y="715"/>
                        </a:lnTo>
                        <a:close/>
                        <a:moveTo>
                          <a:pt x="265" y="689"/>
                        </a:moveTo>
                        <a:lnTo>
                          <a:pt x="182" y="700"/>
                        </a:lnTo>
                        <a:lnTo>
                          <a:pt x="134" y="663"/>
                        </a:lnTo>
                        <a:lnTo>
                          <a:pt x="97" y="680"/>
                        </a:lnTo>
                        <a:lnTo>
                          <a:pt x="4" y="644"/>
                        </a:lnTo>
                        <a:lnTo>
                          <a:pt x="0" y="613"/>
                        </a:lnTo>
                        <a:lnTo>
                          <a:pt x="67" y="565"/>
                        </a:lnTo>
                        <a:lnTo>
                          <a:pt x="196" y="405"/>
                        </a:lnTo>
                        <a:lnTo>
                          <a:pt x="192" y="321"/>
                        </a:lnTo>
                        <a:lnTo>
                          <a:pt x="177" y="281"/>
                        </a:lnTo>
                        <a:lnTo>
                          <a:pt x="105" y="251"/>
                        </a:lnTo>
                        <a:lnTo>
                          <a:pt x="145" y="194"/>
                        </a:lnTo>
                        <a:lnTo>
                          <a:pt x="240" y="176"/>
                        </a:lnTo>
                        <a:lnTo>
                          <a:pt x="329" y="196"/>
                        </a:lnTo>
                        <a:lnTo>
                          <a:pt x="382" y="108"/>
                        </a:lnTo>
                        <a:lnTo>
                          <a:pt x="414" y="141"/>
                        </a:lnTo>
                        <a:lnTo>
                          <a:pt x="610" y="80"/>
                        </a:lnTo>
                        <a:lnTo>
                          <a:pt x="682" y="15"/>
                        </a:lnTo>
                        <a:lnTo>
                          <a:pt x="750" y="0"/>
                        </a:lnTo>
                        <a:lnTo>
                          <a:pt x="735" y="28"/>
                        </a:lnTo>
                        <a:lnTo>
                          <a:pt x="764" y="29"/>
                        </a:lnTo>
                        <a:lnTo>
                          <a:pt x="766" y="60"/>
                        </a:lnTo>
                        <a:lnTo>
                          <a:pt x="779" y="98"/>
                        </a:lnTo>
                        <a:lnTo>
                          <a:pt x="816" y="91"/>
                        </a:lnTo>
                        <a:lnTo>
                          <a:pt x="841" y="126"/>
                        </a:lnTo>
                        <a:lnTo>
                          <a:pt x="850" y="134"/>
                        </a:lnTo>
                        <a:lnTo>
                          <a:pt x="870" y="133"/>
                        </a:lnTo>
                        <a:lnTo>
                          <a:pt x="884" y="153"/>
                        </a:lnTo>
                        <a:lnTo>
                          <a:pt x="962" y="168"/>
                        </a:lnTo>
                        <a:lnTo>
                          <a:pt x="890" y="221"/>
                        </a:lnTo>
                        <a:lnTo>
                          <a:pt x="840" y="278"/>
                        </a:lnTo>
                        <a:lnTo>
                          <a:pt x="814" y="291"/>
                        </a:lnTo>
                        <a:lnTo>
                          <a:pt x="790" y="284"/>
                        </a:lnTo>
                        <a:lnTo>
                          <a:pt x="777" y="304"/>
                        </a:lnTo>
                        <a:lnTo>
                          <a:pt x="699" y="349"/>
                        </a:lnTo>
                        <a:lnTo>
                          <a:pt x="671" y="385"/>
                        </a:lnTo>
                        <a:lnTo>
                          <a:pt x="711" y="373"/>
                        </a:lnTo>
                        <a:lnTo>
                          <a:pt x="709" y="408"/>
                        </a:lnTo>
                        <a:lnTo>
                          <a:pt x="690" y="430"/>
                        </a:lnTo>
                        <a:lnTo>
                          <a:pt x="687" y="460"/>
                        </a:lnTo>
                        <a:lnTo>
                          <a:pt x="649" y="484"/>
                        </a:lnTo>
                        <a:lnTo>
                          <a:pt x="622" y="546"/>
                        </a:lnTo>
                        <a:lnTo>
                          <a:pt x="651" y="556"/>
                        </a:lnTo>
                        <a:lnTo>
                          <a:pt x="620" y="591"/>
                        </a:lnTo>
                        <a:lnTo>
                          <a:pt x="531" y="636"/>
                        </a:lnTo>
                        <a:lnTo>
                          <a:pt x="417" y="615"/>
                        </a:lnTo>
                        <a:lnTo>
                          <a:pt x="305" y="640"/>
                        </a:lnTo>
                        <a:lnTo>
                          <a:pt x="265" y="68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2" name="United States of America" descr="{&quot;Key&quot;:&quot;united states of america&quot;,&quot;Name&quot;:&quot;United States of America&quot;,&quot;Value&quot;:1.0,&quot;Formula&quot;:&quot;&quot;,&quot;Text&quot;:&quot;&quot;,&quot;OfficeApplication&quot;:1,&quot;HasValue&quot;:true}">
                    <a:extLst>
                      <a:ext uri="{FF2B5EF4-FFF2-40B4-BE49-F238E27FC236}">
                        <a16:creationId xmlns:a16="http://schemas.microsoft.com/office/drawing/2014/main" id="{0F775521-37BC-42C3-F263-20F4967663B4}"/>
                      </a:ext>
                    </a:extLst>
                  </p:cNvPr>
                  <p:cNvSpPr>
                    <a:spLocks noEditPoints="1"/>
                  </p:cNvSpPr>
                  <p:nvPr/>
                </p:nvSpPr>
                <p:spPr bwMode="auto">
                  <a:xfrm>
                    <a:off x="4406" y="1217"/>
                    <a:ext cx="1980" cy="1139"/>
                  </a:xfrm>
                  <a:custGeom>
                    <a:avLst/>
                    <a:gdLst>
                      <a:gd name="T0" fmla="*/ 1699 w 7100"/>
                      <a:gd name="T1" fmla="*/ 3981 h 4083"/>
                      <a:gd name="T2" fmla="*/ 1755 w 7100"/>
                      <a:gd name="T3" fmla="*/ 4057 h 4083"/>
                      <a:gd name="T4" fmla="*/ 1670 w 7100"/>
                      <a:gd name="T5" fmla="*/ 3920 h 4083"/>
                      <a:gd name="T6" fmla="*/ 1570 w 7100"/>
                      <a:gd name="T7" fmla="*/ 3887 h 4083"/>
                      <a:gd name="T8" fmla="*/ 1570 w 7100"/>
                      <a:gd name="T9" fmla="*/ 3887 h 4083"/>
                      <a:gd name="T10" fmla="*/ 5490 w 7100"/>
                      <a:gd name="T11" fmla="*/ 1728 h 4083"/>
                      <a:gd name="T12" fmla="*/ 5582 w 7100"/>
                      <a:gd name="T13" fmla="*/ 1797 h 4083"/>
                      <a:gd name="T14" fmla="*/ 5885 w 7100"/>
                      <a:gd name="T15" fmla="*/ 1853 h 4083"/>
                      <a:gd name="T16" fmla="*/ 5758 w 7100"/>
                      <a:gd name="T17" fmla="*/ 1961 h 4083"/>
                      <a:gd name="T18" fmla="*/ 5855 w 7100"/>
                      <a:gd name="T19" fmla="*/ 2150 h 4083"/>
                      <a:gd name="T20" fmla="*/ 5974 w 7100"/>
                      <a:gd name="T21" fmla="*/ 2178 h 4083"/>
                      <a:gd name="T22" fmla="*/ 5896 w 7100"/>
                      <a:gd name="T23" fmla="*/ 1943 h 4083"/>
                      <a:gd name="T24" fmla="*/ 6069 w 7100"/>
                      <a:gd name="T25" fmla="*/ 2077 h 4083"/>
                      <a:gd name="T26" fmla="*/ 6185 w 7100"/>
                      <a:gd name="T27" fmla="*/ 2233 h 4083"/>
                      <a:gd name="T28" fmla="*/ 6421 w 7100"/>
                      <a:gd name="T29" fmla="*/ 2132 h 4083"/>
                      <a:gd name="T30" fmla="*/ 6561 w 7100"/>
                      <a:gd name="T31" fmla="*/ 1983 h 4083"/>
                      <a:gd name="T32" fmla="*/ 6803 w 7100"/>
                      <a:gd name="T33" fmla="*/ 1833 h 4083"/>
                      <a:gd name="T34" fmla="*/ 7058 w 7100"/>
                      <a:gd name="T35" fmla="*/ 2022 h 4083"/>
                      <a:gd name="T36" fmla="*/ 7033 w 7100"/>
                      <a:gd name="T37" fmla="*/ 2197 h 4083"/>
                      <a:gd name="T38" fmla="*/ 6861 w 7100"/>
                      <a:gd name="T39" fmla="*/ 2295 h 4083"/>
                      <a:gd name="T40" fmla="*/ 6886 w 7100"/>
                      <a:gd name="T41" fmla="*/ 2393 h 4083"/>
                      <a:gd name="T42" fmla="*/ 6880 w 7100"/>
                      <a:gd name="T43" fmla="*/ 2531 h 4083"/>
                      <a:gd name="T44" fmla="*/ 6763 w 7100"/>
                      <a:gd name="T45" fmla="*/ 2512 h 4083"/>
                      <a:gd name="T46" fmla="*/ 6855 w 7100"/>
                      <a:gd name="T47" fmla="*/ 2863 h 4083"/>
                      <a:gd name="T48" fmla="*/ 6755 w 7100"/>
                      <a:gd name="T49" fmla="*/ 3180 h 4083"/>
                      <a:gd name="T50" fmla="*/ 6919 w 7100"/>
                      <a:gd name="T51" fmla="*/ 3582 h 4083"/>
                      <a:gd name="T52" fmla="*/ 6669 w 7100"/>
                      <a:gd name="T53" fmla="*/ 3255 h 4083"/>
                      <a:gd name="T54" fmla="*/ 6257 w 7100"/>
                      <a:gd name="T55" fmla="*/ 3151 h 4083"/>
                      <a:gd name="T56" fmla="*/ 6169 w 7100"/>
                      <a:gd name="T57" fmla="*/ 3253 h 4083"/>
                      <a:gd name="T58" fmla="*/ 5743 w 7100"/>
                      <a:gd name="T59" fmla="*/ 3320 h 4083"/>
                      <a:gd name="T60" fmla="*/ 5615 w 7100"/>
                      <a:gd name="T61" fmla="*/ 3477 h 4083"/>
                      <a:gd name="T62" fmla="*/ 5278 w 7100"/>
                      <a:gd name="T63" fmla="*/ 3266 h 4083"/>
                      <a:gd name="T64" fmla="*/ 4859 w 7100"/>
                      <a:gd name="T65" fmla="*/ 3040 h 4083"/>
                      <a:gd name="T66" fmla="*/ 4233 w 7100"/>
                      <a:gd name="T67" fmla="*/ 2976 h 4083"/>
                      <a:gd name="T68" fmla="*/ 3945 w 7100"/>
                      <a:gd name="T69" fmla="*/ 2807 h 4083"/>
                      <a:gd name="T70" fmla="*/ 3542 w 7100"/>
                      <a:gd name="T71" fmla="*/ 2345 h 4083"/>
                      <a:gd name="T72" fmla="*/ 3303 w 7100"/>
                      <a:gd name="T73" fmla="*/ 1752 h 4083"/>
                      <a:gd name="T74" fmla="*/ 3534 w 7100"/>
                      <a:gd name="T75" fmla="*/ 1651 h 4083"/>
                      <a:gd name="T76" fmla="*/ 4963 w 7100"/>
                      <a:gd name="T77" fmla="*/ 1651 h 4083"/>
                      <a:gd name="T78" fmla="*/ 5355 w 7100"/>
                      <a:gd name="T79" fmla="*/ 1718 h 4083"/>
                      <a:gd name="T80" fmla="*/ 1204 w 7100"/>
                      <a:gd name="T81" fmla="*/ 957 h 4083"/>
                      <a:gd name="T82" fmla="*/ 374 w 7100"/>
                      <a:gd name="T83" fmla="*/ 776 h 4083"/>
                      <a:gd name="T84" fmla="*/ 178 w 7100"/>
                      <a:gd name="T85" fmla="*/ 571 h 4083"/>
                      <a:gd name="T86" fmla="*/ 1612 w 7100"/>
                      <a:gd name="T87" fmla="*/ 368 h 4083"/>
                      <a:gd name="T88" fmla="*/ 2220 w 7100"/>
                      <a:gd name="T89" fmla="*/ 860 h 4083"/>
                      <a:gd name="T90" fmla="*/ 2610 w 7100"/>
                      <a:gd name="T91" fmla="*/ 1170 h 4083"/>
                      <a:gd name="T92" fmla="*/ 1925 w 7100"/>
                      <a:gd name="T93" fmla="*/ 840 h 4083"/>
                      <a:gd name="T94" fmla="*/ 1411 w 7100"/>
                      <a:gd name="T95" fmla="*/ 811 h 4083"/>
                      <a:gd name="T96" fmla="*/ 1195 w 7100"/>
                      <a:gd name="T97" fmla="*/ 751 h 4083"/>
                      <a:gd name="T98" fmla="*/ 959 w 7100"/>
                      <a:gd name="T99" fmla="*/ 1071 h 4083"/>
                      <a:gd name="T100" fmla="*/ 598 w 7100"/>
                      <a:gd name="T101" fmla="*/ 1216 h 4083"/>
                      <a:gd name="T102" fmla="*/ 951 w 7100"/>
                      <a:gd name="T103" fmla="*/ 987 h 4083"/>
                      <a:gd name="T104" fmla="*/ 758 w 7100"/>
                      <a:gd name="T105" fmla="*/ 875 h 4083"/>
                      <a:gd name="T106" fmla="*/ 435 w 7100"/>
                      <a:gd name="T107" fmla="*/ 767 h 4083"/>
                      <a:gd name="T108" fmla="*/ 530 w 7100"/>
                      <a:gd name="T109" fmla="*/ 545 h 4083"/>
                      <a:gd name="T110" fmla="*/ 481 w 7100"/>
                      <a:gd name="T111" fmla="*/ 487 h 4083"/>
                      <a:gd name="T112" fmla="*/ 373 w 7100"/>
                      <a:gd name="T113" fmla="*/ 328 h 4083"/>
                      <a:gd name="T114" fmla="*/ 176 w 7100"/>
                      <a:gd name="T115" fmla="*/ 167 h 4083"/>
                      <a:gd name="T116" fmla="*/ 598 w 7100"/>
                      <a:gd name="T117" fmla="*/ 0 h 4083"/>
                      <a:gd name="T118" fmla="*/ 1098 w 7100"/>
                      <a:gd name="T119" fmla="*/ 77 h 4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100" h="4083">
                        <a:moveTo>
                          <a:pt x="1733" y="4070"/>
                        </a:moveTo>
                        <a:lnTo>
                          <a:pt x="1724" y="4083"/>
                        </a:lnTo>
                        <a:lnTo>
                          <a:pt x="1705" y="4071"/>
                        </a:lnTo>
                        <a:lnTo>
                          <a:pt x="1705" y="4048"/>
                        </a:lnTo>
                        <a:lnTo>
                          <a:pt x="1692" y="4018"/>
                        </a:lnTo>
                        <a:lnTo>
                          <a:pt x="1694" y="4010"/>
                        </a:lnTo>
                        <a:lnTo>
                          <a:pt x="1705" y="3997"/>
                        </a:lnTo>
                        <a:lnTo>
                          <a:pt x="1699" y="3981"/>
                        </a:lnTo>
                        <a:lnTo>
                          <a:pt x="1703" y="3973"/>
                        </a:lnTo>
                        <a:lnTo>
                          <a:pt x="1708" y="3975"/>
                        </a:lnTo>
                        <a:lnTo>
                          <a:pt x="1737" y="3988"/>
                        </a:lnTo>
                        <a:lnTo>
                          <a:pt x="1749" y="3996"/>
                        </a:lnTo>
                        <a:lnTo>
                          <a:pt x="1762" y="4006"/>
                        </a:lnTo>
                        <a:lnTo>
                          <a:pt x="1783" y="4035"/>
                        </a:lnTo>
                        <a:lnTo>
                          <a:pt x="1780" y="4040"/>
                        </a:lnTo>
                        <a:lnTo>
                          <a:pt x="1755" y="4057"/>
                        </a:lnTo>
                        <a:lnTo>
                          <a:pt x="1733" y="4070"/>
                        </a:lnTo>
                        <a:close/>
                        <a:moveTo>
                          <a:pt x="1685" y="3942"/>
                        </a:moveTo>
                        <a:lnTo>
                          <a:pt x="1662" y="3948"/>
                        </a:lnTo>
                        <a:lnTo>
                          <a:pt x="1649" y="3931"/>
                        </a:lnTo>
                        <a:lnTo>
                          <a:pt x="1640" y="3925"/>
                        </a:lnTo>
                        <a:lnTo>
                          <a:pt x="1639" y="3920"/>
                        </a:lnTo>
                        <a:lnTo>
                          <a:pt x="1645" y="3912"/>
                        </a:lnTo>
                        <a:lnTo>
                          <a:pt x="1670" y="3920"/>
                        </a:lnTo>
                        <a:lnTo>
                          <a:pt x="1690" y="3932"/>
                        </a:lnTo>
                        <a:lnTo>
                          <a:pt x="1685" y="3942"/>
                        </a:lnTo>
                        <a:close/>
                        <a:moveTo>
                          <a:pt x="1634" y="3900"/>
                        </a:moveTo>
                        <a:lnTo>
                          <a:pt x="1633" y="3908"/>
                        </a:lnTo>
                        <a:lnTo>
                          <a:pt x="1594" y="3906"/>
                        </a:lnTo>
                        <a:lnTo>
                          <a:pt x="1599" y="3896"/>
                        </a:lnTo>
                        <a:lnTo>
                          <a:pt x="1634" y="3900"/>
                        </a:lnTo>
                        <a:close/>
                        <a:moveTo>
                          <a:pt x="1570" y="3887"/>
                        </a:moveTo>
                        <a:lnTo>
                          <a:pt x="1567" y="3892"/>
                        </a:lnTo>
                        <a:lnTo>
                          <a:pt x="1562" y="3891"/>
                        </a:lnTo>
                        <a:lnTo>
                          <a:pt x="1537" y="3888"/>
                        </a:lnTo>
                        <a:lnTo>
                          <a:pt x="1527" y="3870"/>
                        </a:lnTo>
                        <a:lnTo>
                          <a:pt x="1523" y="3866"/>
                        </a:lnTo>
                        <a:lnTo>
                          <a:pt x="1542" y="3855"/>
                        </a:lnTo>
                        <a:lnTo>
                          <a:pt x="1548" y="3861"/>
                        </a:lnTo>
                        <a:lnTo>
                          <a:pt x="1570" y="3887"/>
                        </a:lnTo>
                        <a:close/>
                        <a:moveTo>
                          <a:pt x="1447" y="3833"/>
                        </a:moveTo>
                        <a:lnTo>
                          <a:pt x="1439" y="3842"/>
                        </a:lnTo>
                        <a:lnTo>
                          <a:pt x="1414" y="3827"/>
                        </a:lnTo>
                        <a:lnTo>
                          <a:pt x="1418" y="3821"/>
                        </a:lnTo>
                        <a:lnTo>
                          <a:pt x="1428" y="3813"/>
                        </a:lnTo>
                        <a:lnTo>
                          <a:pt x="1444" y="3815"/>
                        </a:lnTo>
                        <a:lnTo>
                          <a:pt x="1447" y="3833"/>
                        </a:lnTo>
                        <a:close/>
                        <a:moveTo>
                          <a:pt x="5490" y="1728"/>
                        </a:moveTo>
                        <a:lnTo>
                          <a:pt x="5442" y="1755"/>
                        </a:lnTo>
                        <a:lnTo>
                          <a:pt x="5417" y="1787"/>
                        </a:lnTo>
                        <a:lnTo>
                          <a:pt x="5393" y="1821"/>
                        </a:lnTo>
                        <a:lnTo>
                          <a:pt x="5400" y="1832"/>
                        </a:lnTo>
                        <a:lnTo>
                          <a:pt x="5454" y="1816"/>
                        </a:lnTo>
                        <a:lnTo>
                          <a:pt x="5509" y="1843"/>
                        </a:lnTo>
                        <a:lnTo>
                          <a:pt x="5547" y="1822"/>
                        </a:lnTo>
                        <a:lnTo>
                          <a:pt x="5582" y="1797"/>
                        </a:lnTo>
                        <a:lnTo>
                          <a:pt x="5622" y="1771"/>
                        </a:lnTo>
                        <a:lnTo>
                          <a:pt x="5627" y="1812"/>
                        </a:lnTo>
                        <a:lnTo>
                          <a:pt x="5669" y="1822"/>
                        </a:lnTo>
                        <a:lnTo>
                          <a:pt x="5733" y="1853"/>
                        </a:lnTo>
                        <a:lnTo>
                          <a:pt x="5778" y="1835"/>
                        </a:lnTo>
                        <a:lnTo>
                          <a:pt x="5837" y="1828"/>
                        </a:lnTo>
                        <a:lnTo>
                          <a:pt x="5864" y="1851"/>
                        </a:lnTo>
                        <a:lnTo>
                          <a:pt x="5885" y="1853"/>
                        </a:lnTo>
                        <a:lnTo>
                          <a:pt x="5904" y="1856"/>
                        </a:lnTo>
                        <a:lnTo>
                          <a:pt x="5955" y="1888"/>
                        </a:lnTo>
                        <a:lnTo>
                          <a:pt x="5903" y="1895"/>
                        </a:lnTo>
                        <a:lnTo>
                          <a:pt x="5900" y="1895"/>
                        </a:lnTo>
                        <a:lnTo>
                          <a:pt x="5845" y="1886"/>
                        </a:lnTo>
                        <a:lnTo>
                          <a:pt x="5805" y="1902"/>
                        </a:lnTo>
                        <a:lnTo>
                          <a:pt x="5765" y="1910"/>
                        </a:lnTo>
                        <a:lnTo>
                          <a:pt x="5758" y="1961"/>
                        </a:lnTo>
                        <a:lnTo>
                          <a:pt x="5750" y="1990"/>
                        </a:lnTo>
                        <a:lnTo>
                          <a:pt x="5764" y="2000"/>
                        </a:lnTo>
                        <a:lnTo>
                          <a:pt x="5782" y="1948"/>
                        </a:lnTo>
                        <a:lnTo>
                          <a:pt x="5790" y="1947"/>
                        </a:lnTo>
                        <a:lnTo>
                          <a:pt x="5794" y="2010"/>
                        </a:lnTo>
                        <a:lnTo>
                          <a:pt x="5812" y="2065"/>
                        </a:lnTo>
                        <a:lnTo>
                          <a:pt x="5825" y="2110"/>
                        </a:lnTo>
                        <a:lnTo>
                          <a:pt x="5855" y="2150"/>
                        </a:lnTo>
                        <a:lnTo>
                          <a:pt x="5865" y="2170"/>
                        </a:lnTo>
                        <a:lnTo>
                          <a:pt x="5877" y="2191"/>
                        </a:lnTo>
                        <a:lnTo>
                          <a:pt x="5918" y="2232"/>
                        </a:lnTo>
                        <a:lnTo>
                          <a:pt x="5927" y="2238"/>
                        </a:lnTo>
                        <a:lnTo>
                          <a:pt x="5949" y="2237"/>
                        </a:lnTo>
                        <a:lnTo>
                          <a:pt x="5962" y="2228"/>
                        </a:lnTo>
                        <a:lnTo>
                          <a:pt x="5969" y="2217"/>
                        </a:lnTo>
                        <a:lnTo>
                          <a:pt x="5974" y="2178"/>
                        </a:lnTo>
                        <a:lnTo>
                          <a:pt x="5945" y="2126"/>
                        </a:lnTo>
                        <a:lnTo>
                          <a:pt x="5895" y="2076"/>
                        </a:lnTo>
                        <a:lnTo>
                          <a:pt x="5878" y="2042"/>
                        </a:lnTo>
                        <a:lnTo>
                          <a:pt x="5872" y="2002"/>
                        </a:lnTo>
                        <a:lnTo>
                          <a:pt x="5873" y="1976"/>
                        </a:lnTo>
                        <a:lnTo>
                          <a:pt x="5886" y="1957"/>
                        </a:lnTo>
                        <a:lnTo>
                          <a:pt x="5909" y="1983"/>
                        </a:lnTo>
                        <a:lnTo>
                          <a:pt x="5896" y="1943"/>
                        </a:lnTo>
                        <a:lnTo>
                          <a:pt x="5905" y="1936"/>
                        </a:lnTo>
                        <a:lnTo>
                          <a:pt x="5896" y="1906"/>
                        </a:lnTo>
                        <a:lnTo>
                          <a:pt x="5960" y="1921"/>
                        </a:lnTo>
                        <a:lnTo>
                          <a:pt x="6026" y="1952"/>
                        </a:lnTo>
                        <a:lnTo>
                          <a:pt x="6054" y="1988"/>
                        </a:lnTo>
                        <a:lnTo>
                          <a:pt x="6070" y="2026"/>
                        </a:lnTo>
                        <a:lnTo>
                          <a:pt x="6054" y="2057"/>
                        </a:lnTo>
                        <a:lnTo>
                          <a:pt x="6069" y="2077"/>
                        </a:lnTo>
                        <a:lnTo>
                          <a:pt x="6083" y="2078"/>
                        </a:lnTo>
                        <a:lnTo>
                          <a:pt x="6101" y="2043"/>
                        </a:lnTo>
                        <a:lnTo>
                          <a:pt x="6130" y="2051"/>
                        </a:lnTo>
                        <a:lnTo>
                          <a:pt x="6170" y="2097"/>
                        </a:lnTo>
                        <a:lnTo>
                          <a:pt x="6193" y="2131"/>
                        </a:lnTo>
                        <a:lnTo>
                          <a:pt x="6188" y="2175"/>
                        </a:lnTo>
                        <a:lnTo>
                          <a:pt x="6190" y="2202"/>
                        </a:lnTo>
                        <a:lnTo>
                          <a:pt x="6185" y="2233"/>
                        </a:lnTo>
                        <a:lnTo>
                          <a:pt x="6235" y="2251"/>
                        </a:lnTo>
                        <a:lnTo>
                          <a:pt x="6270" y="2255"/>
                        </a:lnTo>
                        <a:lnTo>
                          <a:pt x="6311" y="2243"/>
                        </a:lnTo>
                        <a:lnTo>
                          <a:pt x="6338" y="2222"/>
                        </a:lnTo>
                        <a:lnTo>
                          <a:pt x="6365" y="2211"/>
                        </a:lnTo>
                        <a:lnTo>
                          <a:pt x="6400" y="2187"/>
                        </a:lnTo>
                        <a:lnTo>
                          <a:pt x="6428" y="2140"/>
                        </a:lnTo>
                        <a:lnTo>
                          <a:pt x="6421" y="2132"/>
                        </a:lnTo>
                        <a:lnTo>
                          <a:pt x="6401" y="2107"/>
                        </a:lnTo>
                        <a:lnTo>
                          <a:pt x="6426" y="2098"/>
                        </a:lnTo>
                        <a:lnTo>
                          <a:pt x="6479" y="2101"/>
                        </a:lnTo>
                        <a:lnTo>
                          <a:pt x="6536" y="2108"/>
                        </a:lnTo>
                        <a:lnTo>
                          <a:pt x="6569" y="2081"/>
                        </a:lnTo>
                        <a:lnTo>
                          <a:pt x="6545" y="2050"/>
                        </a:lnTo>
                        <a:lnTo>
                          <a:pt x="6531" y="2038"/>
                        </a:lnTo>
                        <a:lnTo>
                          <a:pt x="6561" y="1983"/>
                        </a:lnTo>
                        <a:lnTo>
                          <a:pt x="6581" y="1968"/>
                        </a:lnTo>
                        <a:lnTo>
                          <a:pt x="6679" y="1968"/>
                        </a:lnTo>
                        <a:lnTo>
                          <a:pt x="6798" y="1968"/>
                        </a:lnTo>
                        <a:lnTo>
                          <a:pt x="6790" y="1948"/>
                        </a:lnTo>
                        <a:lnTo>
                          <a:pt x="6809" y="1945"/>
                        </a:lnTo>
                        <a:lnTo>
                          <a:pt x="6828" y="1932"/>
                        </a:lnTo>
                        <a:lnTo>
                          <a:pt x="6825" y="1896"/>
                        </a:lnTo>
                        <a:lnTo>
                          <a:pt x="6803" y="1833"/>
                        </a:lnTo>
                        <a:lnTo>
                          <a:pt x="6809" y="1773"/>
                        </a:lnTo>
                        <a:lnTo>
                          <a:pt x="6844" y="1795"/>
                        </a:lnTo>
                        <a:lnTo>
                          <a:pt x="6878" y="1781"/>
                        </a:lnTo>
                        <a:lnTo>
                          <a:pt x="6921" y="1803"/>
                        </a:lnTo>
                        <a:lnTo>
                          <a:pt x="6998" y="1912"/>
                        </a:lnTo>
                        <a:lnTo>
                          <a:pt x="7071" y="1957"/>
                        </a:lnTo>
                        <a:lnTo>
                          <a:pt x="7100" y="1983"/>
                        </a:lnTo>
                        <a:lnTo>
                          <a:pt x="7058" y="2022"/>
                        </a:lnTo>
                        <a:lnTo>
                          <a:pt x="7010" y="2049"/>
                        </a:lnTo>
                        <a:lnTo>
                          <a:pt x="6958" y="2073"/>
                        </a:lnTo>
                        <a:lnTo>
                          <a:pt x="6954" y="2121"/>
                        </a:lnTo>
                        <a:lnTo>
                          <a:pt x="6955" y="2140"/>
                        </a:lnTo>
                        <a:lnTo>
                          <a:pt x="6981" y="2182"/>
                        </a:lnTo>
                        <a:lnTo>
                          <a:pt x="7030" y="2225"/>
                        </a:lnTo>
                        <a:lnTo>
                          <a:pt x="7058" y="2227"/>
                        </a:lnTo>
                        <a:lnTo>
                          <a:pt x="7033" y="2197"/>
                        </a:lnTo>
                        <a:lnTo>
                          <a:pt x="7064" y="2216"/>
                        </a:lnTo>
                        <a:lnTo>
                          <a:pt x="7073" y="2238"/>
                        </a:lnTo>
                        <a:lnTo>
                          <a:pt x="7036" y="2251"/>
                        </a:lnTo>
                        <a:lnTo>
                          <a:pt x="7004" y="2250"/>
                        </a:lnTo>
                        <a:lnTo>
                          <a:pt x="6964" y="2263"/>
                        </a:lnTo>
                        <a:lnTo>
                          <a:pt x="6938" y="2268"/>
                        </a:lnTo>
                        <a:lnTo>
                          <a:pt x="6901" y="2272"/>
                        </a:lnTo>
                        <a:lnTo>
                          <a:pt x="6861" y="2295"/>
                        </a:lnTo>
                        <a:lnTo>
                          <a:pt x="6949" y="2280"/>
                        </a:lnTo>
                        <a:lnTo>
                          <a:pt x="6978" y="2296"/>
                        </a:lnTo>
                        <a:lnTo>
                          <a:pt x="6899" y="2320"/>
                        </a:lnTo>
                        <a:lnTo>
                          <a:pt x="6858" y="2320"/>
                        </a:lnTo>
                        <a:lnTo>
                          <a:pt x="6854" y="2310"/>
                        </a:lnTo>
                        <a:lnTo>
                          <a:pt x="6846" y="2332"/>
                        </a:lnTo>
                        <a:lnTo>
                          <a:pt x="6868" y="2336"/>
                        </a:lnTo>
                        <a:lnTo>
                          <a:pt x="6886" y="2393"/>
                        </a:lnTo>
                        <a:lnTo>
                          <a:pt x="6873" y="2456"/>
                        </a:lnTo>
                        <a:lnTo>
                          <a:pt x="6856" y="2436"/>
                        </a:lnTo>
                        <a:lnTo>
                          <a:pt x="6839" y="2431"/>
                        </a:lnTo>
                        <a:lnTo>
                          <a:pt x="6806" y="2411"/>
                        </a:lnTo>
                        <a:lnTo>
                          <a:pt x="6844" y="2455"/>
                        </a:lnTo>
                        <a:lnTo>
                          <a:pt x="6868" y="2468"/>
                        </a:lnTo>
                        <a:lnTo>
                          <a:pt x="6885" y="2500"/>
                        </a:lnTo>
                        <a:lnTo>
                          <a:pt x="6880" y="2531"/>
                        </a:lnTo>
                        <a:lnTo>
                          <a:pt x="6875" y="2596"/>
                        </a:lnTo>
                        <a:lnTo>
                          <a:pt x="6868" y="2592"/>
                        </a:lnTo>
                        <a:lnTo>
                          <a:pt x="6860" y="2537"/>
                        </a:lnTo>
                        <a:lnTo>
                          <a:pt x="6810" y="2506"/>
                        </a:lnTo>
                        <a:lnTo>
                          <a:pt x="6768" y="2440"/>
                        </a:lnTo>
                        <a:lnTo>
                          <a:pt x="6773" y="2475"/>
                        </a:lnTo>
                        <a:lnTo>
                          <a:pt x="6814" y="2526"/>
                        </a:lnTo>
                        <a:lnTo>
                          <a:pt x="6763" y="2512"/>
                        </a:lnTo>
                        <a:lnTo>
                          <a:pt x="6823" y="2538"/>
                        </a:lnTo>
                        <a:lnTo>
                          <a:pt x="6864" y="2616"/>
                        </a:lnTo>
                        <a:lnTo>
                          <a:pt x="6885" y="2621"/>
                        </a:lnTo>
                        <a:lnTo>
                          <a:pt x="6906" y="2650"/>
                        </a:lnTo>
                        <a:lnTo>
                          <a:pt x="6954" y="2731"/>
                        </a:lnTo>
                        <a:lnTo>
                          <a:pt x="6939" y="2791"/>
                        </a:lnTo>
                        <a:lnTo>
                          <a:pt x="6879" y="2815"/>
                        </a:lnTo>
                        <a:lnTo>
                          <a:pt x="6855" y="2863"/>
                        </a:lnTo>
                        <a:lnTo>
                          <a:pt x="6824" y="2868"/>
                        </a:lnTo>
                        <a:lnTo>
                          <a:pt x="6801" y="2898"/>
                        </a:lnTo>
                        <a:lnTo>
                          <a:pt x="6803" y="2925"/>
                        </a:lnTo>
                        <a:lnTo>
                          <a:pt x="6750" y="2978"/>
                        </a:lnTo>
                        <a:lnTo>
                          <a:pt x="6726" y="3017"/>
                        </a:lnTo>
                        <a:lnTo>
                          <a:pt x="6713" y="3065"/>
                        </a:lnTo>
                        <a:lnTo>
                          <a:pt x="6723" y="3122"/>
                        </a:lnTo>
                        <a:lnTo>
                          <a:pt x="6755" y="3180"/>
                        </a:lnTo>
                        <a:lnTo>
                          <a:pt x="6801" y="3248"/>
                        </a:lnTo>
                        <a:lnTo>
                          <a:pt x="6851" y="3306"/>
                        </a:lnTo>
                        <a:lnTo>
                          <a:pt x="6863" y="3341"/>
                        </a:lnTo>
                        <a:lnTo>
                          <a:pt x="6924" y="3436"/>
                        </a:lnTo>
                        <a:lnTo>
                          <a:pt x="6936" y="3491"/>
                        </a:lnTo>
                        <a:lnTo>
                          <a:pt x="6941" y="3522"/>
                        </a:lnTo>
                        <a:lnTo>
                          <a:pt x="6938" y="3572"/>
                        </a:lnTo>
                        <a:lnTo>
                          <a:pt x="6919" y="3582"/>
                        </a:lnTo>
                        <a:lnTo>
                          <a:pt x="6883" y="3572"/>
                        </a:lnTo>
                        <a:lnTo>
                          <a:pt x="6863" y="3536"/>
                        </a:lnTo>
                        <a:lnTo>
                          <a:pt x="6830" y="3517"/>
                        </a:lnTo>
                        <a:lnTo>
                          <a:pt x="6775" y="3447"/>
                        </a:lnTo>
                        <a:lnTo>
                          <a:pt x="6725" y="3386"/>
                        </a:lnTo>
                        <a:lnTo>
                          <a:pt x="6705" y="3353"/>
                        </a:lnTo>
                        <a:lnTo>
                          <a:pt x="6703" y="3300"/>
                        </a:lnTo>
                        <a:lnTo>
                          <a:pt x="6669" y="3255"/>
                        </a:lnTo>
                        <a:lnTo>
                          <a:pt x="6593" y="3187"/>
                        </a:lnTo>
                        <a:lnTo>
                          <a:pt x="6561" y="3175"/>
                        </a:lnTo>
                        <a:lnTo>
                          <a:pt x="6504" y="3211"/>
                        </a:lnTo>
                        <a:lnTo>
                          <a:pt x="6492" y="3207"/>
                        </a:lnTo>
                        <a:lnTo>
                          <a:pt x="6445" y="3170"/>
                        </a:lnTo>
                        <a:lnTo>
                          <a:pt x="6395" y="3150"/>
                        </a:lnTo>
                        <a:lnTo>
                          <a:pt x="6320" y="3160"/>
                        </a:lnTo>
                        <a:lnTo>
                          <a:pt x="6257" y="3151"/>
                        </a:lnTo>
                        <a:lnTo>
                          <a:pt x="6205" y="3156"/>
                        </a:lnTo>
                        <a:lnTo>
                          <a:pt x="6182" y="3168"/>
                        </a:lnTo>
                        <a:lnTo>
                          <a:pt x="6200" y="3191"/>
                        </a:lnTo>
                        <a:lnTo>
                          <a:pt x="6210" y="3223"/>
                        </a:lnTo>
                        <a:lnTo>
                          <a:pt x="6230" y="3240"/>
                        </a:lnTo>
                        <a:lnTo>
                          <a:pt x="6220" y="3250"/>
                        </a:lnTo>
                        <a:lnTo>
                          <a:pt x="6190" y="3238"/>
                        </a:lnTo>
                        <a:lnTo>
                          <a:pt x="6169" y="3253"/>
                        </a:lnTo>
                        <a:lnTo>
                          <a:pt x="6119" y="3251"/>
                        </a:lnTo>
                        <a:lnTo>
                          <a:pt x="6054" y="3208"/>
                        </a:lnTo>
                        <a:lnTo>
                          <a:pt x="5996" y="3218"/>
                        </a:lnTo>
                        <a:lnTo>
                          <a:pt x="5940" y="3200"/>
                        </a:lnTo>
                        <a:lnTo>
                          <a:pt x="5899" y="3205"/>
                        </a:lnTo>
                        <a:lnTo>
                          <a:pt x="5848" y="3225"/>
                        </a:lnTo>
                        <a:lnTo>
                          <a:pt x="5801" y="3285"/>
                        </a:lnTo>
                        <a:lnTo>
                          <a:pt x="5743" y="3320"/>
                        </a:lnTo>
                        <a:lnTo>
                          <a:pt x="5715" y="3358"/>
                        </a:lnTo>
                        <a:lnTo>
                          <a:pt x="5709" y="3395"/>
                        </a:lnTo>
                        <a:lnTo>
                          <a:pt x="5723" y="3451"/>
                        </a:lnTo>
                        <a:lnTo>
                          <a:pt x="5735" y="3490"/>
                        </a:lnTo>
                        <a:lnTo>
                          <a:pt x="5755" y="3517"/>
                        </a:lnTo>
                        <a:lnTo>
                          <a:pt x="5729" y="3520"/>
                        </a:lnTo>
                        <a:lnTo>
                          <a:pt x="5675" y="3502"/>
                        </a:lnTo>
                        <a:lnTo>
                          <a:pt x="5615" y="3477"/>
                        </a:lnTo>
                        <a:lnTo>
                          <a:pt x="5586" y="3438"/>
                        </a:lnTo>
                        <a:lnTo>
                          <a:pt x="5556" y="3382"/>
                        </a:lnTo>
                        <a:lnTo>
                          <a:pt x="5504" y="3336"/>
                        </a:lnTo>
                        <a:lnTo>
                          <a:pt x="5466" y="3288"/>
                        </a:lnTo>
                        <a:lnTo>
                          <a:pt x="5416" y="3232"/>
                        </a:lnTo>
                        <a:lnTo>
                          <a:pt x="5359" y="3200"/>
                        </a:lnTo>
                        <a:lnTo>
                          <a:pt x="5303" y="3201"/>
                        </a:lnTo>
                        <a:lnTo>
                          <a:pt x="5278" y="3266"/>
                        </a:lnTo>
                        <a:lnTo>
                          <a:pt x="5214" y="3241"/>
                        </a:lnTo>
                        <a:lnTo>
                          <a:pt x="5171" y="3217"/>
                        </a:lnTo>
                        <a:lnTo>
                          <a:pt x="5141" y="3172"/>
                        </a:lnTo>
                        <a:lnTo>
                          <a:pt x="5106" y="3130"/>
                        </a:lnTo>
                        <a:lnTo>
                          <a:pt x="5055" y="3093"/>
                        </a:lnTo>
                        <a:lnTo>
                          <a:pt x="5011" y="3068"/>
                        </a:lnTo>
                        <a:lnTo>
                          <a:pt x="4978" y="3040"/>
                        </a:lnTo>
                        <a:lnTo>
                          <a:pt x="4859" y="3040"/>
                        </a:lnTo>
                        <a:lnTo>
                          <a:pt x="4869" y="3073"/>
                        </a:lnTo>
                        <a:lnTo>
                          <a:pt x="4815" y="3073"/>
                        </a:lnTo>
                        <a:lnTo>
                          <a:pt x="4679" y="3073"/>
                        </a:lnTo>
                        <a:lnTo>
                          <a:pt x="4505" y="3016"/>
                        </a:lnTo>
                        <a:lnTo>
                          <a:pt x="4391" y="2977"/>
                        </a:lnTo>
                        <a:lnTo>
                          <a:pt x="4393" y="2961"/>
                        </a:lnTo>
                        <a:lnTo>
                          <a:pt x="4309" y="2970"/>
                        </a:lnTo>
                        <a:lnTo>
                          <a:pt x="4233" y="2976"/>
                        </a:lnTo>
                        <a:lnTo>
                          <a:pt x="4209" y="2935"/>
                        </a:lnTo>
                        <a:lnTo>
                          <a:pt x="4151" y="2887"/>
                        </a:lnTo>
                        <a:lnTo>
                          <a:pt x="4116" y="2878"/>
                        </a:lnTo>
                        <a:lnTo>
                          <a:pt x="4103" y="2855"/>
                        </a:lnTo>
                        <a:lnTo>
                          <a:pt x="4063" y="2851"/>
                        </a:lnTo>
                        <a:lnTo>
                          <a:pt x="4033" y="2828"/>
                        </a:lnTo>
                        <a:lnTo>
                          <a:pt x="3966" y="2821"/>
                        </a:lnTo>
                        <a:lnTo>
                          <a:pt x="3945" y="2807"/>
                        </a:lnTo>
                        <a:lnTo>
                          <a:pt x="3924" y="2762"/>
                        </a:lnTo>
                        <a:lnTo>
                          <a:pt x="3833" y="2681"/>
                        </a:lnTo>
                        <a:lnTo>
                          <a:pt x="3741" y="2568"/>
                        </a:lnTo>
                        <a:lnTo>
                          <a:pt x="3738" y="2550"/>
                        </a:lnTo>
                        <a:lnTo>
                          <a:pt x="3699" y="2523"/>
                        </a:lnTo>
                        <a:lnTo>
                          <a:pt x="3625" y="2455"/>
                        </a:lnTo>
                        <a:lnTo>
                          <a:pt x="3593" y="2390"/>
                        </a:lnTo>
                        <a:lnTo>
                          <a:pt x="3542" y="2345"/>
                        </a:lnTo>
                        <a:lnTo>
                          <a:pt x="3532" y="2278"/>
                        </a:lnTo>
                        <a:lnTo>
                          <a:pt x="3503" y="2210"/>
                        </a:lnTo>
                        <a:lnTo>
                          <a:pt x="3458" y="2147"/>
                        </a:lnTo>
                        <a:lnTo>
                          <a:pt x="3454" y="2072"/>
                        </a:lnTo>
                        <a:lnTo>
                          <a:pt x="3432" y="2000"/>
                        </a:lnTo>
                        <a:lnTo>
                          <a:pt x="3409" y="1927"/>
                        </a:lnTo>
                        <a:lnTo>
                          <a:pt x="3353" y="1820"/>
                        </a:lnTo>
                        <a:lnTo>
                          <a:pt x="3303" y="1752"/>
                        </a:lnTo>
                        <a:lnTo>
                          <a:pt x="3269" y="1715"/>
                        </a:lnTo>
                        <a:lnTo>
                          <a:pt x="3269" y="1700"/>
                        </a:lnTo>
                        <a:lnTo>
                          <a:pt x="3373" y="1727"/>
                        </a:lnTo>
                        <a:lnTo>
                          <a:pt x="3439" y="1801"/>
                        </a:lnTo>
                        <a:lnTo>
                          <a:pt x="3447" y="1781"/>
                        </a:lnTo>
                        <a:lnTo>
                          <a:pt x="3407" y="1716"/>
                        </a:lnTo>
                        <a:lnTo>
                          <a:pt x="3355" y="1651"/>
                        </a:lnTo>
                        <a:lnTo>
                          <a:pt x="3534" y="1651"/>
                        </a:lnTo>
                        <a:lnTo>
                          <a:pt x="3720" y="1651"/>
                        </a:lnTo>
                        <a:lnTo>
                          <a:pt x="3782" y="1651"/>
                        </a:lnTo>
                        <a:lnTo>
                          <a:pt x="3973" y="1651"/>
                        </a:lnTo>
                        <a:lnTo>
                          <a:pt x="4158" y="1651"/>
                        </a:lnTo>
                        <a:lnTo>
                          <a:pt x="4347" y="1651"/>
                        </a:lnTo>
                        <a:lnTo>
                          <a:pt x="4534" y="1651"/>
                        </a:lnTo>
                        <a:lnTo>
                          <a:pt x="4748" y="1651"/>
                        </a:lnTo>
                        <a:lnTo>
                          <a:pt x="4963" y="1651"/>
                        </a:lnTo>
                        <a:lnTo>
                          <a:pt x="5092" y="1651"/>
                        </a:lnTo>
                        <a:lnTo>
                          <a:pt x="5074" y="1621"/>
                        </a:lnTo>
                        <a:lnTo>
                          <a:pt x="5094" y="1620"/>
                        </a:lnTo>
                        <a:lnTo>
                          <a:pt x="5133" y="1663"/>
                        </a:lnTo>
                        <a:lnTo>
                          <a:pt x="5160" y="1677"/>
                        </a:lnTo>
                        <a:lnTo>
                          <a:pt x="5206" y="1682"/>
                        </a:lnTo>
                        <a:lnTo>
                          <a:pt x="5279" y="1695"/>
                        </a:lnTo>
                        <a:lnTo>
                          <a:pt x="5355" y="1718"/>
                        </a:lnTo>
                        <a:lnTo>
                          <a:pt x="5400" y="1708"/>
                        </a:lnTo>
                        <a:lnTo>
                          <a:pt x="5490" y="1728"/>
                        </a:lnTo>
                        <a:close/>
                        <a:moveTo>
                          <a:pt x="1242" y="1022"/>
                        </a:moveTo>
                        <a:lnTo>
                          <a:pt x="1194" y="1051"/>
                        </a:lnTo>
                        <a:lnTo>
                          <a:pt x="1157" y="1031"/>
                        </a:lnTo>
                        <a:lnTo>
                          <a:pt x="1134" y="996"/>
                        </a:lnTo>
                        <a:lnTo>
                          <a:pt x="1177" y="968"/>
                        </a:lnTo>
                        <a:lnTo>
                          <a:pt x="1204" y="957"/>
                        </a:lnTo>
                        <a:lnTo>
                          <a:pt x="1244" y="962"/>
                        </a:lnTo>
                        <a:lnTo>
                          <a:pt x="1279" y="986"/>
                        </a:lnTo>
                        <a:lnTo>
                          <a:pt x="1242" y="1022"/>
                        </a:lnTo>
                        <a:close/>
                        <a:moveTo>
                          <a:pt x="437" y="812"/>
                        </a:moveTo>
                        <a:lnTo>
                          <a:pt x="404" y="823"/>
                        </a:lnTo>
                        <a:lnTo>
                          <a:pt x="363" y="810"/>
                        </a:lnTo>
                        <a:lnTo>
                          <a:pt x="322" y="790"/>
                        </a:lnTo>
                        <a:lnTo>
                          <a:pt x="374" y="776"/>
                        </a:lnTo>
                        <a:lnTo>
                          <a:pt x="422" y="783"/>
                        </a:lnTo>
                        <a:lnTo>
                          <a:pt x="437" y="812"/>
                        </a:lnTo>
                        <a:close/>
                        <a:moveTo>
                          <a:pt x="0" y="527"/>
                        </a:moveTo>
                        <a:lnTo>
                          <a:pt x="39" y="541"/>
                        </a:lnTo>
                        <a:lnTo>
                          <a:pt x="71" y="533"/>
                        </a:lnTo>
                        <a:lnTo>
                          <a:pt x="121" y="553"/>
                        </a:lnTo>
                        <a:lnTo>
                          <a:pt x="180" y="562"/>
                        </a:lnTo>
                        <a:lnTo>
                          <a:pt x="178" y="571"/>
                        </a:lnTo>
                        <a:lnTo>
                          <a:pt x="140" y="586"/>
                        </a:lnTo>
                        <a:lnTo>
                          <a:pt x="94" y="570"/>
                        </a:lnTo>
                        <a:lnTo>
                          <a:pt x="68" y="557"/>
                        </a:lnTo>
                        <a:lnTo>
                          <a:pt x="20" y="561"/>
                        </a:lnTo>
                        <a:lnTo>
                          <a:pt x="5" y="555"/>
                        </a:lnTo>
                        <a:lnTo>
                          <a:pt x="0" y="527"/>
                        </a:lnTo>
                        <a:close/>
                        <a:moveTo>
                          <a:pt x="1459" y="111"/>
                        </a:moveTo>
                        <a:lnTo>
                          <a:pt x="1612" y="368"/>
                        </a:lnTo>
                        <a:lnTo>
                          <a:pt x="1831" y="782"/>
                        </a:lnTo>
                        <a:lnTo>
                          <a:pt x="1889" y="785"/>
                        </a:lnTo>
                        <a:lnTo>
                          <a:pt x="1955" y="805"/>
                        </a:lnTo>
                        <a:lnTo>
                          <a:pt x="2013" y="837"/>
                        </a:lnTo>
                        <a:lnTo>
                          <a:pt x="2089" y="887"/>
                        </a:lnTo>
                        <a:lnTo>
                          <a:pt x="2124" y="845"/>
                        </a:lnTo>
                        <a:lnTo>
                          <a:pt x="2168" y="821"/>
                        </a:lnTo>
                        <a:lnTo>
                          <a:pt x="2220" y="860"/>
                        </a:lnTo>
                        <a:lnTo>
                          <a:pt x="2275" y="890"/>
                        </a:lnTo>
                        <a:lnTo>
                          <a:pt x="2346" y="923"/>
                        </a:lnTo>
                        <a:lnTo>
                          <a:pt x="2413" y="978"/>
                        </a:lnTo>
                        <a:lnTo>
                          <a:pt x="2519" y="1065"/>
                        </a:lnTo>
                        <a:lnTo>
                          <a:pt x="2645" y="1113"/>
                        </a:lnTo>
                        <a:lnTo>
                          <a:pt x="2673" y="1161"/>
                        </a:lnTo>
                        <a:lnTo>
                          <a:pt x="2659" y="1198"/>
                        </a:lnTo>
                        <a:lnTo>
                          <a:pt x="2610" y="1170"/>
                        </a:lnTo>
                        <a:lnTo>
                          <a:pt x="2545" y="1145"/>
                        </a:lnTo>
                        <a:lnTo>
                          <a:pt x="2494" y="1078"/>
                        </a:lnTo>
                        <a:lnTo>
                          <a:pt x="2385" y="1017"/>
                        </a:lnTo>
                        <a:lnTo>
                          <a:pt x="2316" y="946"/>
                        </a:lnTo>
                        <a:lnTo>
                          <a:pt x="2258" y="941"/>
                        </a:lnTo>
                        <a:lnTo>
                          <a:pt x="2164" y="938"/>
                        </a:lnTo>
                        <a:lnTo>
                          <a:pt x="2085" y="917"/>
                        </a:lnTo>
                        <a:lnTo>
                          <a:pt x="1925" y="840"/>
                        </a:lnTo>
                        <a:lnTo>
                          <a:pt x="1863" y="826"/>
                        </a:lnTo>
                        <a:lnTo>
                          <a:pt x="1750" y="798"/>
                        </a:lnTo>
                        <a:lnTo>
                          <a:pt x="1674" y="805"/>
                        </a:lnTo>
                        <a:lnTo>
                          <a:pt x="1545" y="771"/>
                        </a:lnTo>
                        <a:lnTo>
                          <a:pt x="1463" y="740"/>
                        </a:lnTo>
                        <a:lnTo>
                          <a:pt x="1406" y="755"/>
                        </a:lnTo>
                        <a:lnTo>
                          <a:pt x="1441" y="807"/>
                        </a:lnTo>
                        <a:lnTo>
                          <a:pt x="1411" y="811"/>
                        </a:lnTo>
                        <a:lnTo>
                          <a:pt x="1353" y="827"/>
                        </a:lnTo>
                        <a:lnTo>
                          <a:pt x="1313" y="852"/>
                        </a:lnTo>
                        <a:lnTo>
                          <a:pt x="1255" y="868"/>
                        </a:lnTo>
                        <a:lnTo>
                          <a:pt x="1229" y="823"/>
                        </a:lnTo>
                        <a:lnTo>
                          <a:pt x="1223" y="751"/>
                        </a:lnTo>
                        <a:lnTo>
                          <a:pt x="1274" y="728"/>
                        </a:lnTo>
                        <a:lnTo>
                          <a:pt x="1250" y="710"/>
                        </a:lnTo>
                        <a:lnTo>
                          <a:pt x="1195" y="751"/>
                        </a:lnTo>
                        <a:lnTo>
                          <a:pt x="1178" y="801"/>
                        </a:lnTo>
                        <a:lnTo>
                          <a:pt x="1116" y="853"/>
                        </a:lnTo>
                        <a:lnTo>
                          <a:pt x="1173" y="890"/>
                        </a:lnTo>
                        <a:lnTo>
                          <a:pt x="1140" y="943"/>
                        </a:lnTo>
                        <a:lnTo>
                          <a:pt x="1089" y="976"/>
                        </a:lnTo>
                        <a:lnTo>
                          <a:pt x="1039" y="998"/>
                        </a:lnTo>
                        <a:lnTo>
                          <a:pt x="1036" y="1032"/>
                        </a:lnTo>
                        <a:lnTo>
                          <a:pt x="959" y="1071"/>
                        </a:lnTo>
                        <a:lnTo>
                          <a:pt x="953" y="1107"/>
                        </a:lnTo>
                        <a:lnTo>
                          <a:pt x="894" y="1140"/>
                        </a:lnTo>
                        <a:lnTo>
                          <a:pt x="850" y="1133"/>
                        </a:lnTo>
                        <a:lnTo>
                          <a:pt x="801" y="1155"/>
                        </a:lnTo>
                        <a:lnTo>
                          <a:pt x="750" y="1181"/>
                        </a:lnTo>
                        <a:lnTo>
                          <a:pt x="708" y="1207"/>
                        </a:lnTo>
                        <a:lnTo>
                          <a:pt x="611" y="1230"/>
                        </a:lnTo>
                        <a:lnTo>
                          <a:pt x="598" y="1216"/>
                        </a:lnTo>
                        <a:lnTo>
                          <a:pt x="653" y="1180"/>
                        </a:lnTo>
                        <a:lnTo>
                          <a:pt x="704" y="1156"/>
                        </a:lnTo>
                        <a:lnTo>
                          <a:pt x="754" y="1115"/>
                        </a:lnTo>
                        <a:lnTo>
                          <a:pt x="825" y="1106"/>
                        </a:lnTo>
                        <a:lnTo>
                          <a:pt x="844" y="1075"/>
                        </a:lnTo>
                        <a:lnTo>
                          <a:pt x="910" y="1030"/>
                        </a:lnTo>
                        <a:lnTo>
                          <a:pt x="918" y="1015"/>
                        </a:lnTo>
                        <a:lnTo>
                          <a:pt x="951" y="987"/>
                        </a:lnTo>
                        <a:lnTo>
                          <a:pt x="941" y="930"/>
                        </a:lnTo>
                        <a:lnTo>
                          <a:pt x="954" y="886"/>
                        </a:lnTo>
                        <a:lnTo>
                          <a:pt x="895" y="908"/>
                        </a:lnTo>
                        <a:lnTo>
                          <a:pt x="873" y="896"/>
                        </a:lnTo>
                        <a:lnTo>
                          <a:pt x="850" y="923"/>
                        </a:lnTo>
                        <a:lnTo>
                          <a:pt x="799" y="885"/>
                        </a:lnTo>
                        <a:lnTo>
                          <a:pt x="793" y="912"/>
                        </a:lnTo>
                        <a:lnTo>
                          <a:pt x="758" y="875"/>
                        </a:lnTo>
                        <a:lnTo>
                          <a:pt x="710" y="905"/>
                        </a:lnTo>
                        <a:lnTo>
                          <a:pt x="675" y="905"/>
                        </a:lnTo>
                        <a:lnTo>
                          <a:pt x="655" y="860"/>
                        </a:lnTo>
                        <a:lnTo>
                          <a:pt x="655" y="832"/>
                        </a:lnTo>
                        <a:lnTo>
                          <a:pt x="609" y="806"/>
                        </a:lnTo>
                        <a:lnTo>
                          <a:pt x="540" y="820"/>
                        </a:lnTo>
                        <a:lnTo>
                          <a:pt x="480" y="785"/>
                        </a:lnTo>
                        <a:lnTo>
                          <a:pt x="435" y="767"/>
                        </a:lnTo>
                        <a:lnTo>
                          <a:pt x="420" y="726"/>
                        </a:lnTo>
                        <a:lnTo>
                          <a:pt x="366" y="693"/>
                        </a:lnTo>
                        <a:lnTo>
                          <a:pt x="374" y="652"/>
                        </a:lnTo>
                        <a:lnTo>
                          <a:pt x="406" y="611"/>
                        </a:lnTo>
                        <a:lnTo>
                          <a:pt x="413" y="573"/>
                        </a:lnTo>
                        <a:lnTo>
                          <a:pt x="456" y="568"/>
                        </a:lnTo>
                        <a:lnTo>
                          <a:pt x="499" y="580"/>
                        </a:lnTo>
                        <a:lnTo>
                          <a:pt x="530" y="545"/>
                        </a:lnTo>
                        <a:lnTo>
                          <a:pt x="573" y="551"/>
                        </a:lnTo>
                        <a:lnTo>
                          <a:pt x="606" y="528"/>
                        </a:lnTo>
                        <a:lnTo>
                          <a:pt x="584" y="496"/>
                        </a:lnTo>
                        <a:lnTo>
                          <a:pt x="548" y="482"/>
                        </a:lnTo>
                        <a:lnTo>
                          <a:pt x="578" y="455"/>
                        </a:lnTo>
                        <a:lnTo>
                          <a:pt x="544" y="456"/>
                        </a:lnTo>
                        <a:lnTo>
                          <a:pt x="493" y="471"/>
                        </a:lnTo>
                        <a:lnTo>
                          <a:pt x="481" y="487"/>
                        </a:lnTo>
                        <a:lnTo>
                          <a:pt x="433" y="471"/>
                        </a:lnTo>
                        <a:lnTo>
                          <a:pt x="358" y="480"/>
                        </a:lnTo>
                        <a:lnTo>
                          <a:pt x="271" y="462"/>
                        </a:lnTo>
                        <a:lnTo>
                          <a:pt x="239" y="433"/>
                        </a:lnTo>
                        <a:lnTo>
                          <a:pt x="155" y="392"/>
                        </a:lnTo>
                        <a:lnTo>
                          <a:pt x="221" y="362"/>
                        </a:lnTo>
                        <a:lnTo>
                          <a:pt x="329" y="328"/>
                        </a:lnTo>
                        <a:lnTo>
                          <a:pt x="373" y="328"/>
                        </a:lnTo>
                        <a:lnTo>
                          <a:pt x="379" y="363"/>
                        </a:lnTo>
                        <a:lnTo>
                          <a:pt x="491" y="361"/>
                        </a:lnTo>
                        <a:lnTo>
                          <a:pt x="430" y="317"/>
                        </a:lnTo>
                        <a:lnTo>
                          <a:pt x="354" y="290"/>
                        </a:lnTo>
                        <a:lnTo>
                          <a:pt x="303" y="255"/>
                        </a:lnTo>
                        <a:lnTo>
                          <a:pt x="241" y="226"/>
                        </a:lnTo>
                        <a:lnTo>
                          <a:pt x="160" y="203"/>
                        </a:lnTo>
                        <a:lnTo>
                          <a:pt x="176" y="167"/>
                        </a:lnTo>
                        <a:lnTo>
                          <a:pt x="268" y="165"/>
                        </a:lnTo>
                        <a:lnTo>
                          <a:pt x="321" y="133"/>
                        </a:lnTo>
                        <a:lnTo>
                          <a:pt x="319" y="101"/>
                        </a:lnTo>
                        <a:lnTo>
                          <a:pt x="358" y="68"/>
                        </a:lnTo>
                        <a:lnTo>
                          <a:pt x="405" y="61"/>
                        </a:lnTo>
                        <a:lnTo>
                          <a:pt x="488" y="31"/>
                        </a:lnTo>
                        <a:lnTo>
                          <a:pt x="538" y="36"/>
                        </a:lnTo>
                        <a:lnTo>
                          <a:pt x="598" y="0"/>
                        </a:lnTo>
                        <a:lnTo>
                          <a:pt x="681" y="13"/>
                        </a:lnTo>
                        <a:lnTo>
                          <a:pt x="734" y="45"/>
                        </a:lnTo>
                        <a:lnTo>
                          <a:pt x="750" y="31"/>
                        </a:lnTo>
                        <a:lnTo>
                          <a:pt x="839" y="35"/>
                        </a:lnTo>
                        <a:lnTo>
                          <a:pt x="844" y="51"/>
                        </a:lnTo>
                        <a:lnTo>
                          <a:pt x="929" y="62"/>
                        </a:lnTo>
                        <a:lnTo>
                          <a:pt x="978" y="56"/>
                        </a:lnTo>
                        <a:lnTo>
                          <a:pt x="1098" y="77"/>
                        </a:lnTo>
                        <a:lnTo>
                          <a:pt x="1200" y="83"/>
                        </a:lnTo>
                        <a:lnTo>
                          <a:pt x="1245" y="92"/>
                        </a:lnTo>
                        <a:lnTo>
                          <a:pt x="1306" y="81"/>
                        </a:lnTo>
                        <a:lnTo>
                          <a:pt x="1398" y="101"/>
                        </a:lnTo>
                        <a:lnTo>
                          <a:pt x="1459" y="11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3" name="French Guyana" descr="{&quot;Key&quot;:&quot;french guyana&quot;,&quot;Name&quot;:&quot;French Guyana&quot;,&quot;Value&quot;:1.0,&quot;Formula&quot;:&quot;&quot;,&quot;Text&quot;:&quot;&quot;,&quot;OfficeApplication&quot;:1,&quot;HasValue&quot;:true}">
                    <a:extLst>
                      <a:ext uri="{FF2B5EF4-FFF2-40B4-BE49-F238E27FC236}">
                        <a16:creationId xmlns:a16="http://schemas.microsoft.com/office/drawing/2014/main" id="{D4B05DE2-49B4-A78A-D83F-7BE0ABB054E8}"/>
                      </a:ext>
                    </a:extLst>
                  </p:cNvPr>
                  <p:cNvSpPr>
                    <a:spLocks/>
                  </p:cNvSpPr>
                  <p:nvPr/>
                </p:nvSpPr>
                <p:spPr bwMode="auto">
                  <a:xfrm>
                    <a:off x="6927" y="2654"/>
                    <a:ext cx="57" cy="84"/>
                  </a:xfrm>
                  <a:custGeom>
                    <a:avLst/>
                    <a:gdLst>
                      <a:gd name="T0" fmla="*/ 7 w 206"/>
                      <a:gd name="T1" fmla="*/ 280 h 301"/>
                      <a:gd name="T2" fmla="*/ 24 w 206"/>
                      <a:gd name="T3" fmla="*/ 246 h 301"/>
                      <a:gd name="T4" fmla="*/ 29 w 206"/>
                      <a:gd name="T5" fmla="*/ 209 h 301"/>
                      <a:gd name="T6" fmla="*/ 39 w 206"/>
                      <a:gd name="T7" fmla="*/ 174 h 301"/>
                      <a:gd name="T8" fmla="*/ 9 w 206"/>
                      <a:gd name="T9" fmla="*/ 126 h 301"/>
                      <a:gd name="T10" fmla="*/ 0 w 206"/>
                      <a:gd name="T11" fmla="*/ 70 h 301"/>
                      <a:gd name="T12" fmla="*/ 32 w 206"/>
                      <a:gd name="T13" fmla="*/ 0 h 301"/>
                      <a:gd name="T14" fmla="*/ 57 w 206"/>
                      <a:gd name="T15" fmla="*/ 9 h 301"/>
                      <a:gd name="T16" fmla="*/ 111 w 206"/>
                      <a:gd name="T17" fmla="*/ 29 h 301"/>
                      <a:gd name="T18" fmla="*/ 191 w 206"/>
                      <a:gd name="T19" fmla="*/ 98 h 301"/>
                      <a:gd name="T20" fmla="*/ 206 w 206"/>
                      <a:gd name="T21" fmla="*/ 130 h 301"/>
                      <a:gd name="T22" fmla="*/ 167 w 206"/>
                      <a:gd name="T23" fmla="*/ 205 h 301"/>
                      <a:gd name="T24" fmla="*/ 149 w 206"/>
                      <a:gd name="T25" fmla="*/ 265 h 301"/>
                      <a:gd name="T26" fmla="*/ 121 w 206"/>
                      <a:gd name="T27" fmla="*/ 295 h 301"/>
                      <a:gd name="T28" fmla="*/ 87 w 206"/>
                      <a:gd name="T29" fmla="*/ 301 h 301"/>
                      <a:gd name="T30" fmla="*/ 77 w 206"/>
                      <a:gd name="T31" fmla="*/ 279 h 301"/>
                      <a:gd name="T32" fmla="*/ 61 w 206"/>
                      <a:gd name="T33" fmla="*/ 275 h 301"/>
                      <a:gd name="T34" fmla="*/ 40 w 206"/>
                      <a:gd name="T35" fmla="*/ 298 h 301"/>
                      <a:gd name="T36" fmla="*/ 7 w 206"/>
                      <a:gd name="T37" fmla="*/ 28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301">
                        <a:moveTo>
                          <a:pt x="7" y="280"/>
                        </a:moveTo>
                        <a:lnTo>
                          <a:pt x="24" y="246"/>
                        </a:lnTo>
                        <a:lnTo>
                          <a:pt x="29" y="209"/>
                        </a:lnTo>
                        <a:lnTo>
                          <a:pt x="39" y="174"/>
                        </a:lnTo>
                        <a:lnTo>
                          <a:pt x="9" y="126"/>
                        </a:lnTo>
                        <a:lnTo>
                          <a:pt x="0" y="70"/>
                        </a:lnTo>
                        <a:lnTo>
                          <a:pt x="32" y="0"/>
                        </a:lnTo>
                        <a:lnTo>
                          <a:pt x="57" y="9"/>
                        </a:lnTo>
                        <a:lnTo>
                          <a:pt x="111" y="29"/>
                        </a:lnTo>
                        <a:lnTo>
                          <a:pt x="191" y="98"/>
                        </a:lnTo>
                        <a:lnTo>
                          <a:pt x="206" y="130"/>
                        </a:lnTo>
                        <a:lnTo>
                          <a:pt x="167" y="205"/>
                        </a:lnTo>
                        <a:lnTo>
                          <a:pt x="149" y="265"/>
                        </a:lnTo>
                        <a:lnTo>
                          <a:pt x="121" y="295"/>
                        </a:lnTo>
                        <a:lnTo>
                          <a:pt x="87" y="301"/>
                        </a:lnTo>
                        <a:lnTo>
                          <a:pt x="77" y="279"/>
                        </a:lnTo>
                        <a:lnTo>
                          <a:pt x="61" y="275"/>
                        </a:lnTo>
                        <a:lnTo>
                          <a:pt x="40" y="298"/>
                        </a:lnTo>
                        <a:lnTo>
                          <a:pt x="7" y="28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4" name="Aruba" descr="{&quot;Key&quot;:&quot;aruba&quot;,&quot;Name&quot;:&quot;Aruba&quot;,&quot;Value&quot;:1.0,&quot;Formula&quot;:&quot;&quot;,&quot;Text&quot;:&quot;&quot;,&quot;OfficeApplication&quot;:1,&quot;HasValue&quot;:true}">
                    <a:extLst>
                      <a:ext uri="{FF2B5EF4-FFF2-40B4-BE49-F238E27FC236}">
                        <a16:creationId xmlns:a16="http://schemas.microsoft.com/office/drawing/2014/main" id="{6E5DF53C-B886-6FBE-AAA8-7DA5DBA20140}"/>
                      </a:ext>
                    </a:extLst>
                  </p:cNvPr>
                  <p:cNvSpPr>
                    <a:spLocks/>
                  </p:cNvSpPr>
                  <p:nvPr/>
                </p:nvSpPr>
                <p:spPr bwMode="auto">
                  <a:xfrm>
                    <a:off x="6599" y="2498"/>
                    <a:ext cx="4" cy="5"/>
                  </a:xfrm>
                  <a:custGeom>
                    <a:avLst/>
                    <a:gdLst>
                      <a:gd name="T0" fmla="*/ 15 w 15"/>
                      <a:gd name="T1" fmla="*/ 18 h 18"/>
                      <a:gd name="T2" fmla="*/ 9 w 15"/>
                      <a:gd name="T3" fmla="*/ 14 h 18"/>
                      <a:gd name="T4" fmla="*/ 1 w 15"/>
                      <a:gd name="T5" fmla="*/ 8 h 18"/>
                      <a:gd name="T6" fmla="*/ 0 w 15"/>
                      <a:gd name="T7" fmla="*/ 0 h 18"/>
                      <a:gd name="T8" fmla="*/ 10 w 15"/>
                      <a:gd name="T9" fmla="*/ 9 h 18"/>
                      <a:gd name="T10" fmla="*/ 15 w 15"/>
                      <a:gd name="T11" fmla="*/ 18 h 18"/>
                    </a:gdLst>
                    <a:ahLst/>
                    <a:cxnLst>
                      <a:cxn ang="0">
                        <a:pos x="T0" y="T1"/>
                      </a:cxn>
                      <a:cxn ang="0">
                        <a:pos x="T2" y="T3"/>
                      </a:cxn>
                      <a:cxn ang="0">
                        <a:pos x="T4" y="T5"/>
                      </a:cxn>
                      <a:cxn ang="0">
                        <a:pos x="T6" y="T7"/>
                      </a:cxn>
                      <a:cxn ang="0">
                        <a:pos x="T8" y="T9"/>
                      </a:cxn>
                      <a:cxn ang="0">
                        <a:pos x="T10" y="T11"/>
                      </a:cxn>
                    </a:cxnLst>
                    <a:rect l="0" t="0" r="r" b="b"/>
                    <a:pathLst>
                      <a:path w="15" h="18">
                        <a:moveTo>
                          <a:pt x="15" y="18"/>
                        </a:moveTo>
                        <a:lnTo>
                          <a:pt x="9" y="14"/>
                        </a:lnTo>
                        <a:lnTo>
                          <a:pt x="1" y="8"/>
                        </a:lnTo>
                        <a:lnTo>
                          <a:pt x="0" y="0"/>
                        </a:lnTo>
                        <a:lnTo>
                          <a:pt x="10" y="9"/>
                        </a:lnTo>
                        <a:lnTo>
                          <a:pt x="15" y="1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5" name="Anguilla" descr="{&quot;Key&quot;:&quot;anguilla&quot;,&quot;Name&quot;:&quot;Anguilla&quot;,&quot;Value&quot;:1.0,&quot;Formula&quot;:&quot;&quot;,&quot;Text&quot;:&quot;&quot;,&quot;OfficeApplication&quot;:1,&quot;HasValue&quot;:true}">
                    <a:extLst>
                      <a:ext uri="{FF2B5EF4-FFF2-40B4-BE49-F238E27FC236}">
                        <a16:creationId xmlns:a16="http://schemas.microsoft.com/office/drawing/2014/main" id="{A0E4433E-6A79-00B2-C2AC-8943AEBD68DF}"/>
                      </a:ext>
                    </a:extLst>
                  </p:cNvPr>
                  <p:cNvSpPr>
                    <a:spLocks/>
                  </p:cNvSpPr>
                  <p:nvPr/>
                </p:nvSpPr>
                <p:spPr bwMode="auto">
                  <a:xfrm>
                    <a:off x="6715" y="2371"/>
                    <a:ext cx="2" cy="1"/>
                  </a:xfrm>
                  <a:custGeom>
                    <a:avLst/>
                    <a:gdLst>
                      <a:gd name="T0" fmla="*/ 2 w 5"/>
                      <a:gd name="T1" fmla="*/ 4 h 4"/>
                      <a:gd name="T2" fmla="*/ 0 w 5"/>
                      <a:gd name="T3" fmla="*/ 0 h 4"/>
                      <a:gd name="T4" fmla="*/ 5 w 5"/>
                      <a:gd name="T5" fmla="*/ 0 h 4"/>
                      <a:gd name="T6" fmla="*/ 2 w 5"/>
                      <a:gd name="T7" fmla="*/ 4 h 4"/>
                    </a:gdLst>
                    <a:ahLst/>
                    <a:cxnLst>
                      <a:cxn ang="0">
                        <a:pos x="T0" y="T1"/>
                      </a:cxn>
                      <a:cxn ang="0">
                        <a:pos x="T2" y="T3"/>
                      </a:cxn>
                      <a:cxn ang="0">
                        <a:pos x="T4" y="T5"/>
                      </a:cxn>
                      <a:cxn ang="0">
                        <a:pos x="T6" y="T7"/>
                      </a:cxn>
                    </a:cxnLst>
                    <a:rect l="0" t="0" r="r" b="b"/>
                    <a:pathLst>
                      <a:path w="5" h="4">
                        <a:moveTo>
                          <a:pt x="2" y="4"/>
                        </a:moveTo>
                        <a:lnTo>
                          <a:pt x="0" y="0"/>
                        </a:lnTo>
                        <a:lnTo>
                          <a:pt x="5" y="0"/>
                        </a:lnTo>
                        <a:lnTo>
                          <a:pt x="2" y="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6" name="American Samoa" descr="{&quot;Key&quot;:&quot;american samoa&quot;,&quot;Name&quot;:&quot;American Samoa&quot;,&quot;Value&quot;:1.0,&quot;Formula&quot;:&quot;&quot;,&quot;Text&quot;:&quot;&quot;,&quot;OfficeApplication&quot;:1,&quot;HasValue&quot;:true}">
                    <a:extLst>
                      <a:ext uri="{FF2B5EF4-FFF2-40B4-BE49-F238E27FC236}">
                        <a16:creationId xmlns:a16="http://schemas.microsoft.com/office/drawing/2014/main" id="{06C51C4C-55E9-1563-AD03-AEBF988517BD}"/>
                      </a:ext>
                    </a:extLst>
                  </p:cNvPr>
                  <p:cNvSpPr>
                    <a:spLocks/>
                  </p:cNvSpPr>
                  <p:nvPr/>
                </p:nvSpPr>
                <p:spPr bwMode="auto">
                  <a:xfrm>
                    <a:off x="4594" y="3108"/>
                    <a:ext cx="5" cy="2"/>
                  </a:xfrm>
                  <a:custGeom>
                    <a:avLst/>
                    <a:gdLst>
                      <a:gd name="T0" fmla="*/ 15 w 15"/>
                      <a:gd name="T1" fmla="*/ 0 h 8"/>
                      <a:gd name="T2" fmla="*/ 5 w 15"/>
                      <a:gd name="T3" fmla="*/ 8 h 8"/>
                      <a:gd name="T4" fmla="*/ 0 w 15"/>
                      <a:gd name="T5" fmla="*/ 5 h 8"/>
                      <a:gd name="T6" fmla="*/ 15 w 15"/>
                      <a:gd name="T7" fmla="*/ 0 h 8"/>
                    </a:gdLst>
                    <a:ahLst/>
                    <a:cxnLst>
                      <a:cxn ang="0">
                        <a:pos x="T0" y="T1"/>
                      </a:cxn>
                      <a:cxn ang="0">
                        <a:pos x="T2" y="T3"/>
                      </a:cxn>
                      <a:cxn ang="0">
                        <a:pos x="T4" y="T5"/>
                      </a:cxn>
                      <a:cxn ang="0">
                        <a:pos x="T6" y="T7"/>
                      </a:cxn>
                    </a:cxnLst>
                    <a:rect l="0" t="0" r="r" b="b"/>
                    <a:pathLst>
                      <a:path w="15" h="8">
                        <a:moveTo>
                          <a:pt x="15" y="0"/>
                        </a:moveTo>
                        <a:lnTo>
                          <a:pt x="5" y="8"/>
                        </a:lnTo>
                        <a:lnTo>
                          <a:pt x="0" y="5"/>
                        </a:lnTo>
                        <a:lnTo>
                          <a:pt x="15"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7" name="Antigua and Barbuda" descr="{&quot;Key&quot;:&quot;antigua and barbuda&quot;,&quot;Name&quot;:&quot;Antigua and Barbuda&quot;,&quot;Value&quot;:1.0,&quot;Formula&quot;:&quot;&quot;,&quot;Text&quot;:&quot;&quot;,&quot;OfficeApplication&quot;:1,&quot;HasValue&quot;:true}">
                    <a:extLst>
                      <a:ext uri="{FF2B5EF4-FFF2-40B4-BE49-F238E27FC236}">
                        <a16:creationId xmlns:a16="http://schemas.microsoft.com/office/drawing/2014/main" id="{B0309D63-73CF-36A2-23BB-F1AC9A00FB33}"/>
                      </a:ext>
                    </a:extLst>
                  </p:cNvPr>
                  <p:cNvSpPr>
                    <a:spLocks noEditPoints="1"/>
                  </p:cNvSpPr>
                  <p:nvPr/>
                </p:nvSpPr>
                <p:spPr bwMode="auto">
                  <a:xfrm>
                    <a:off x="6742" y="2384"/>
                    <a:ext cx="6" cy="15"/>
                  </a:xfrm>
                  <a:custGeom>
                    <a:avLst/>
                    <a:gdLst>
                      <a:gd name="T0" fmla="*/ 14 w 23"/>
                      <a:gd name="T1" fmla="*/ 46 h 56"/>
                      <a:gd name="T2" fmla="*/ 23 w 23"/>
                      <a:gd name="T3" fmla="*/ 50 h 56"/>
                      <a:gd name="T4" fmla="*/ 19 w 23"/>
                      <a:gd name="T5" fmla="*/ 54 h 56"/>
                      <a:gd name="T6" fmla="*/ 10 w 23"/>
                      <a:gd name="T7" fmla="*/ 56 h 56"/>
                      <a:gd name="T8" fmla="*/ 7 w 23"/>
                      <a:gd name="T9" fmla="*/ 49 h 56"/>
                      <a:gd name="T10" fmla="*/ 13 w 23"/>
                      <a:gd name="T11" fmla="*/ 43 h 56"/>
                      <a:gd name="T12" fmla="*/ 14 w 23"/>
                      <a:gd name="T13" fmla="*/ 46 h 56"/>
                      <a:gd name="T14" fmla="*/ 0 w 23"/>
                      <a:gd name="T15" fmla="*/ 0 h 56"/>
                      <a:gd name="T16" fmla="*/ 7 w 23"/>
                      <a:gd name="T17" fmla="*/ 3 h 56"/>
                      <a:gd name="T18" fmla="*/ 10 w 23"/>
                      <a:gd name="T19" fmla="*/ 11 h 56"/>
                      <a:gd name="T20" fmla="*/ 0 w 23"/>
                      <a:gd name="T21" fmla="*/ 7 h 56"/>
                      <a:gd name="T22" fmla="*/ 0 w 23"/>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56">
                        <a:moveTo>
                          <a:pt x="14" y="46"/>
                        </a:moveTo>
                        <a:lnTo>
                          <a:pt x="23" y="50"/>
                        </a:lnTo>
                        <a:lnTo>
                          <a:pt x="19" y="54"/>
                        </a:lnTo>
                        <a:lnTo>
                          <a:pt x="10" y="56"/>
                        </a:lnTo>
                        <a:lnTo>
                          <a:pt x="7" y="49"/>
                        </a:lnTo>
                        <a:lnTo>
                          <a:pt x="13" y="43"/>
                        </a:lnTo>
                        <a:lnTo>
                          <a:pt x="14" y="46"/>
                        </a:lnTo>
                        <a:close/>
                        <a:moveTo>
                          <a:pt x="0" y="0"/>
                        </a:moveTo>
                        <a:lnTo>
                          <a:pt x="7" y="3"/>
                        </a:lnTo>
                        <a:lnTo>
                          <a:pt x="10" y="11"/>
                        </a:lnTo>
                        <a:lnTo>
                          <a:pt x="0" y="7"/>
                        </a:lnTo>
                        <a:lnTo>
                          <a:pt x="0"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8" name="Bahrein" descr="{&quot;Key&quot;:&quot;bahrein&quot;,&quot;Name&quot;:&quot;Bahrein&quot;,&quot;Value&quot;:1.0,&quot;Formula&quot;:&quot;&quot;,&quot;Text&quot;:&quot;&quot;,&quot;OfficeApplication&quot;:1,&quot;HasValue&quot;:true}">
                    <a:extLst>
                      <a:ext uri="{FF2B5EF4-FFF2-40B4-BE49-F238E27FC236}">
                        <a16:creationId xmlns:a16="http://schemas.microsoft.com/office/drawing/2014/main" id="{9BDFF4E1-6CBE-35C6-0ADC-58B967052ED9}"/>
                      </a:ext>
                    </a:extLst>
                  </p:cNvPr>
                  <p:cNvSpPr>
                    <a:spLocks/>
                  </p:cNvSpPr>
                  <p:nvPr/>
                </p:nvSpPr>
                <p:spPr bwMode="auto">
                  <a:xfrm>
                    <a:off x="1883" y="2190"/>
                    <a:ext cx="4" cy="9"/>
                  </a:xfrm>
                  <a:custGeom>
                    <a:avLst/>
                    <a:gdLst>
                      <a:gd name="T0" fmla="*/ 6 w 15"/>
                      <a:gd name="T1" fmla="*/ 0 h 33"/>
                      <a:gd name="T2" fmla="*/ 14 w 15"/>
                      <a:gd name="T3" fmla="*/ 0 h 33"/>
                      <a:gd name="T4" fmla="*/ 15 w 15"/>
                      <a:gd name="T5" fmla="*/ 9 h 33"/>
                      <a:gd name="T6" fmla="*/ 14 w 15"/>
                      <a:gd name="T7" fmla="*/ 11 h 33"/>
                      <a:gd name="T8" fmla="*/ 11 w 15"/>
                      <a:gd name="T9" fmla="*/ 23 h 33"/>
                      <a:gd name="T10" fmla="*/ 9 w 15"/>
                      <a:gd name="T11" fmla="*/ 31 h 33"/>
                      <a:gd name="T12" fmla="*/ 4 w 15"/>
                      <a:gd name="T13" fmla="*/ 33 h 33"/>
                      <a:gd name="T14" fmla="*/ 0 w 15"/>
                      <a:gd name="T15" fmla="*/ 21 h 33"/>
                      <a:gd name="T16" fmla="*/ 4 w 15"/>
                      <a:gd name="T17" fmla="*/ 16 h 33"/>
                      <a:gd name="T18" fmla="*/ 3 w 15"/>
                      <a:gd name="T19" fmla="*/ 8 h 33"/>
                      <a:gd name="T20" fmla="*/ 6 w 15"/>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3">
                        <a:moveTo>
                          <a:pt x="6" y="0"/>
                        </a:moveTo>
                        <a:lnTo>
                          <a:pt x="14" y="0"/>
                        </a:lnTo>
                        <a:lnTo>
                          <a:pt x="15" y="9"/>
                        </a:lnTo>
                        <a:lnTo>
                          <a:pt x="14" y="11"/>
                        </a:lnTo>
                        <a:lnTo>
                          <a:pt x="11" y="23"/>
                        </a:lnTo>
                        <a:lnTo>
                          <a:pt x="9" y="31"/>
                        </a:lnTo>
                        <a:lnTo>
                          <a:pt x="4" y="33"/>
                        </a:lnTo>
                        <a:lnTo>
                          <a:pt x="0" y="21"/>
                        </a:lnTo>
                        <a:lnTo>
                          <a:pt x="4" y="16"/>
                        </a:lnTo>
                        <a:lnTo>
                          <a:pt x="3" y="8"/>
                        </a:lnTo>
                        <a:lnTo>
                          <a:pt x="6"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59" name="Bahamas" descr="{&quot;Key&quot;:&quot;bahamas&quot;,&quot;Name&quot;:&quot;Bahamas&quot;,&quot;Value&quot;:1.0,&quot;Formula&quot;:&quot;&quot;,&quot;Text&quot;:&quot;&quot;,&quot;OfficeApplication&quot;:1,&quot;HasValue&quot;:true}">
                    <a:extLst>
                      <a:ext uri="{FF2B5EF4-FFF2-40B4-BE49-F238E27FC236}">
                        <a16:creationId xmlns:a16="http://schemas.microsoft.com/office/drawing/2014/main" id="{3D71FE22-5379-589E-D52E-FA7C6F830173}"/>
                      </a:ext>
                    </a:extLst>
                  </p:cNvPr>
                  <p:cNvSpPr>
                    <a:spLocks noEditPoints="1"/>
                  </p:cNvSpPr>
                  <p:nvPr/>
                </p:nvSpPr>
                <p:spPr bwMode="auto">
                  <a:xfrm>
                    <a:off x="6365" y="2174"/>
                    <a:ext cx="140" cy="137"/>
                  </a:xfrm>
                  <a:custGeom>
                    <a:avLst/>
                    <a:gdLst>
                      <a:gd name="T0" fmla="*/ 493 w 504"/>
                      <a:gd name="T1" fmla="*/ 485 h 488"/>
                      <a:gd name="T2" fmla="*/ 460 w 504"/>
                      <a:gd name="T3" fmla="*/ 486 h 488"/>
                      <a:gd name="T4" fmla="*/ 468 w 504"/>
                      <a:gd name="T5" fmla="*/ 466 h 488"/>
                      <a:gd name="T6" fmla="*/ 498 w 504"/>
                      <a:gd name="T7" fmla="*/ 455 h 488"/>
                      <a:gd name="T8" fmla="*/ 494 w 504"/>
                      <a:gd name="T9" fmla="*/ 440 h 488"/>
                      <a:gd name="T10" fmla="*/ 475 w 504"/>
                      <a:gd name="T11" fmla="*/ 365 h 488"/>
                      <a:gd name="T12" fmla="*/ 501 w 504"/>
                      <a:gd name="T13" fmla="*/ 371 h 488"/>
                      <a:gd name="T14" fmla="*/ 479 w 504"/>
                      <a:gd name="T15" fmla="*/ 372 h 488"/>
                      <a:gd name="T16" fmla="*/ 421 w 504"/>
                      <a:gd name="T17" fmla="*/ 356 h 488"/>
                      <a:gd name="T18" fmla="*/ 413 w 504"/>
                      <a:gd name="T19" fmla="*/ 363 h 488"/>
                      <a:gd name="T20" fmla="*/ 406 w 504"/>
                      <a:gd name="T21" fmla="*/ 349 h 488"/>
                      <a:gd name="T22" fmla="*/ 406 w 504"/>
                      <a:gd name="T23" fmla="*/ 341 h 488"/>
                      <a:gd name="T24" fmla="*/ 381 w 504"/>
                      <a:gd name="T25" fmla="*/ 334 h 488"/>
                      <a:gd name="T26" fmla="*/ 309 w 504"/>
                      <a:gd name="T27" fmla="*/ 278 h 488"/>
                      <a:gd name="T28" fmla="*/ 328 w 504"/>
                      <a:gd name="T29" fmla="*/ 309 h 488"/>
                      <a:gd name="T30" fmla="*/ 331 w 504"/>
                      <a:gd name="T31" fmla="*/ 313 h 488"/>
                      <a:gd name="T32" fmla="*/ 305 w 504"/>
                      <a:gd name="T33" fmla="*/ 279 h 488"/>
                      <a:gd name="T34" fmla="*/ 345 w 504"/>
                      <a:gd name="T35" fmla="*/ 229 h 488"/>
                      <a:gd name="T36" fmla="*/ 124 w 504"/>
                      <a:gd name="T37" fmla="*/ 229 h 488"/>
                      <a:gd name="T38" fmla="*/ 140 w 504"/>
                      <a:gd name="T39" fmla="*/ 249 h 488"/>
                      <a:gd name="T40" fmla="*/ 115 w 504"/>
                      <a:gd name="T41" fmla="*/ 236 h 488"/>
                      <a:gd name="T42" fmla="*/ 124 w 504"/>
                      <a:gd name="T43" fmla="*/ 219 h 488"/>
                      <a:gd name="T44" fmla="*/ 288 w 504"/>
                      <a:gd name="T45" fmla="*/ 225 h 488"/>
                      <a:gd name="T46" fmla="*/ 274 w 504"/>
                      <a:gd name="T47" fmla="*/ 213 h 488"/>
                      <a:gd name="T48" fmla="*/ 250 w 504"/>
                      <a:gd name="T49" fmla="*/ 180 h 488"/>
                      <a:gd name="T50" fmla="*/ 279 w 504"/>
                      <a:gd name="T51" fmla="*/ 211 h 488"/>
                      <a:gd name="T52" fmla="*/ 115 w 504"/>
                      <a:gd name="T53" fmla="*/ 156 h 488"/>
                      <a:gd name="T54" fmla="*/ 73 w 504"/>
                      <a:gd name="T55" fmla="*/ 143 h 488"/>
                      <a:gd name="T56" fmla="*/ 89 w 504"/>
                      <a:gd name="T57" fmla="*/ 159 h 488"/>
                      <a:gd name="T58" fmla="*/ 114 w 504"/>
                      <a:gd name="T59" fmla="*/ 196 h 488"/>
                      <a:gd name="T60" fmla="*/ 90 w 504"/>
                      <a:gd name="T61" fmla="*/ 206 h 488"/>
                      <a:gd name="T62" fmla="*/ 69 w 504"/>
                      <a:gd name="T63" fmla="*/ 194 h 488"/>
                      <a:gd name="T64" fmla="*/ 75 w 504"/>
                      <a:gd name="T65" fmla="*/ 184 h 488"/>
                      <a:gd name="T66" fmla="*/ 73 w 504"/>
                      <a:gd name="T67" fmla="*/ 156 h 488"/>
                      <a:gd name="T68" fmla="*/ 163 w 504"/>
                      <a:gd name="T69" fmla="*/ 110 h 488"/>
                      <a:gd name="T70" fmla="*/ 204 w 504"/>
                      <a:gd name="T71" fmla="*/ 139 h 488"/>
                      <a:gd name="T72" fmla="*/ 213 w 504"/>
                      <a:gd name="T73" fmla="*/ 156 h 488"/>
                      <a:gd name="T74" fmla="*/ 179 w 504"/>
                      <a:gd name="T75" fmla="*/ 126 h 488"/>
                      <a:gd name="T76" fmla="*/ 10 w 504"/>
                      <a:gd name="T77" fmla="*/ 16 h 488"/>
                      <a:gd name="T78" fmla="*/ 54 w 504"/>
                      <a:gd name="T79" fmla="*/ 20 h 488"/>
                      <a:gd name="T80" fmla="*/ 6 w 504"/>
                      <a:gd name="T81" fmla="*/ 35 h 488"/>
                      <a:gd name="T82" fmla="*/ 6 w 504"/>
                      <a:gd name="T83" fmla="*/ 19 h 488"/>
                      <a:gd name="T84" fmla="*/ 58 w 504"/>
                      <a:gd name="T85" fmla="*/ 0 h 488"/>
                      <a:gd name="T86" fmla="*/ 106 w 504"/>
                      <a:gd name="T87" fmla="*/ 26 h 488"/>
                      <a:gd name="T88" fmla="*/ 120 w 504"/>
                      <a:gd name="T89" fmla="*/ 50 h 488"/>
                      <a:gd name="T90" fmla="*/ 119 w 504"/>
                      <a:gd name="T91" fmla="*/ 84 h 488"/>
                      <a:gd name="T92" fmla="*/ 114 w 504"/>
                      <a:gd name="T93" fmla="*/ 62 h 488"/>
                      <a:gd name="T94" fmla="*/ 98 w 504"/>
                      <a:gd name="T95" fmla="*/ 26 h 488"/>
                      <a:gd name="T96" fmla="*/ 76 w 504"/>
                      <a:gd name="T97" fmla="*/ 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4" h="488">
                        <a:moveTo>
                          <a:pt x="503" y="469"/>
                        </a:moveTo>
                        <a:lnTo>
                          <a:pt x="499" y="475"/>
                        </a:lnTo>
                        <a:lnTo>
                          <a:pt x="498" y="481"/>
                        </a:lnTo>
                        <a:lnTo>
                          <a:pt x="493" y="485"/>
                        </a:lnTo>
                        <a:lnTo>
                          <a:pt x="484" y="484"/>
                        </a:lnTo>
                        <a:lnTo>
                          <a:pt x="474" y="488"/>
                        </a:lnTo>
                        <a:lnTo>
                          <a:pt x="466" y="486"/>
                        </a:lnTo>
                        <a:lnTo>
                          <a:pt x="460" y="486"/>
                        </a:lnTo>
                        <a:lnTo>
                          <a:pt x="458" y="480"/>
                        </a:lnTo>
                        <a:lnTo>
                          <a:pt x="461" y="474"/>
                        </a:lnTo>
                        <a:lnTo>
                          <a:pt x="466" y="471"/>
                        </a:lnTo>
                        <a:lnTo>
                          <a:pt x="468" y="466"/>
                        </a:lnTo>
                        <a:lnTo>
                          <a:pt x="474" y="466"/>
                        </a:lnTo>
                        <a:lnTo>
                          <a:pt x="486" y="470"/>
                        </a:lnTo>
                        <a:lnTo>
                          <a:pt x="493" y="468"/>
                        </a:lnTo>
                        <a:lnTo>
                          <a:pt x="498" y="455"/>
                        </a:lnTo>
                        <a:lnTo>
                          <a:pt x="501" y="458"/>
                        </a:lnTo>
                        <a:lnTo>
                          <a:pt x="503" y="469"/>
                        </a:lnTo>
                        <a:close/>
                        <a:moveTo>
                          <a:pt x="496" y="446"/>
                        </a:moveTo>
                        <a:lnTo>
                          <a:pt x="494" y="440"/>
                        </a:lnTo>
                        <a:lnTo>
                          <a:pt x="499" y="436"/>
                        </a:lnTo>
                        <a:lnTo>
                          <a:pt x="504" y="440"/>
                        </a:lnTo>
                        <a:lnTo>
                          <a:pt x="496" y="446"/>
                        </a:lnTo>
                        <a:close/>
                        <a:moveTo>
                          <a:pt x="475" y="365"/>
                        </a:moveTo>
                        <a:lnTo>
                          <a:pt x="478" y="364"/>
                        </a:lnTo>
                        <a:lnTo>
                          <a:pt x="486" y="368"/>
                        </a:lnTo>
                        <a:lnTo>
                          <a:pt x="490" y="368"/>
                        </a:lnTo>
                        <a:lnTo>
                          <a:pt x="501" y="371"/>
                        </a:lnTo>
                        <a:lnTo>
                          <a:pt x="499" y="376"/>
                        </a:lnTo>
                        <a:lnTo>
                          <a:pt x="493" y="371"/>
                        </a:lnTo>
                        <a:lnTo>
                          <a:pt x="485" y="370"/>
                        </a:lnTo>
                        <a:lnTo>
                          <a:pt x="479" y="372"/>
                        </a:lnTo>
                        <a:lnTo>
                          <a:pt x="473" y="370"/>
                        </a:lnTo>
                        <a:lnTo>
                          <a:pt x="475" y="365"/>
                        </a:lnTo>
                        <a:close/>
                        <a:moveTo>
                          <a:pt x="418" y="341"/>
                        </a:moveTo>
                        <a:lnTo>
                          <a:pt x="421" y="356"/>
                        </a:lnTo>
                        <a:lnTo>
                          <a:pt x="421" y="361"/>
                        </a:lnTo>
                        <a:lnTo>
                          <a:pt x="413" y="374"/>
                        </a:lnTo>
                        <a:lnTo>
                          <a:pt x="408" y="371"/>
                        </a:lnTo>
                        <a:lnTo>
                          <a:pt x="413" y="363"/>
                        </a:lnTo>
                        <a:lnTo>
                          <a:pt x="418" y="361"/>
                        </a:lnTo>
                        <a:lnTo>
                          <a:pt x="420" y="356"/>
                        </a:lnTo>
                        <a:lnTo>
                          <a:pt x="415" y="351"/>
                        </a:lnTo>
                        <a:lnTo>
                          <a:pt x="406" y="349"/>
                        </a:lnTo>
                        <a:lnTo>
                          <a:pt x="411" y="344"/>
                        </a:lnTo>
                        <a:lnTo>
                          <a:pt x="418" y="341"/>
                        </a:lnTo>
                        <a:close/>
                        <a:moveTo>
                          <a:pt x="393" y="339"/>
                        </a:moveTo>
                        <a:lnTo>
                          <a:pt x="406" y="341"/>
                        </a:lnTo>
                        <a:lnTo>
                          <a:pt x="403" y="346"/>
                        </a:lnTo>
                        <a:lnTo>
                          <a:pt x="393" y="344"/>
                        </a:lnTo>
                        <a:lnTo>
                          <a:pt x="386" y="340"/>
                        </a:lnTo>
                        <a:lnTo>
                          <a:pt x="381" y="334"/>
                        </a:lnTo>
                        <a:lnTo>
                          <a:pt x="390" y="334"/>
                        </a:lnTo>
                        <a:lnTo>
                          <a:pt x="393" y="339"/>
                        </a:lnTo>
                        <a:close/>
                        <a:moveTo>
                          <a:pt x="298" y="264"/>
                        </a:moveTo>
                        <a:lnTo>
                          <a:pt x="309" y="278"/>
                        </a:lnTo>
                        <a:lnTo>
                          <a:pt x="311" y="283"/>
                        </a:lnTo>
                        <a:lnTo>
                          <a:pt x="320" y="294"/>
                        </a:lnTo>
                        <a:lnTo>
                          <a:pt x="324" y="305"/>
                        </a:lnTo>
                        <a:lnTo>
                          <a:pt x="328" y="309"/>
                        </a:lnTo>
                        <a:lnTo>
                          <a:pt x="334" y="311"/>
                        </a:lnTo>
                        <a:lnTo>
                          <a:pt x="343" y="319"/>
                        </a:lnTo>
                        <a:lnTo>
                          <a:pt x="346" y="329"/>
                        </a:lnTo>
                        <a:lnTo>
                          <a:pt x="331" y="313"/>
                        </a:lnTo>
                        <a:lnTo>
                          <a:pt x="320" y="304"/>
                        </a:lnTo>
                        <a:lnTo>
                          <a:pt x="319" y="296"/>
                        </a:lnTo>
                        <a:lnTo>
                          <a:pt x="316" y="290"/>
                        </a:lnTo>
                        <a:lnTo>
                          <a:pt x="305" y="279"/>
                        </a:lnTo>
                        <a:lnTo>
                          <a:pt x="298" y="264"/>
                        </a:lnTo>
                        <a:close/>
                        <a:moveTo>
                          <a:pt x="353" y="234"/>
                        </a:moveTo>
                        <a:lnTo>
                          <a:pt x="346" y="236"/>
                        </a:lnTo>
                        <a:lnTo>
                          <a:pt x="345" y="229"/>
                        </a:lnTo>
                        <a:lnTo>
                          <a:pt x="349" y="226"/>
                        </a:lnTo>
                        <a:lnTo>
                          <a:pt x="353" y="234"/>
                        </a:lnTo>
                        <a:close/>
                        <a:moveTo>
                          <a:pt x="119" y="226"/>
                        </a:moveTo>
                        <a:lnTo>
                          <a:pt x="124" y="229"/>
                        </a:lnTo>
                        <a:lnTo>
                          <a:pt x="126" y="220"/>
                        </a:lnTo>
                        <a:lnTo>
                          <a:pt x="133" y="228"/>
                        </a:lnTo>
                        <a:lnTo>
                          <a:pt x="135" y="238"/>
                        </a:lnTo>
                        <a:lnTo>
                          <a:pt x="140" y="249"/>
                        </a:lnTo>
                        <a:lnTo>
                          <a:pt x="139" y="259"/>
                        </a:lnTo>
                        <a:lnTo>
                          <a:pt x="131" y="258"/>
                        </a:lnTo>
                        <a:lnTo>
                          <a:pt x="119" y="248"/>
                        </a:lnTo>
                        <a:lnTo>
                          <a:pt x="115" y="236"/>
                        </a:lnTo>
                        <a:lnTo>
                          <a:pt x="108" y="229"/>
                        </a:lnTo>
                        <a:lnTo>
                          <a:pt x="111" y="221"/>
                        </a:lnTo>
                        <a:lnTo>
                          <a:pt x="120" y="213"/>
                        </a:lnTo>
                        <a:lnTo>
                          <a:pt x="124" y="219"/>
                        </a:lnTo>
                        <a:lnTo>
                          <a:pt x="119" y="223"/>
                        </a:lnTo>
                        <a:lnTo>
                          <a:pt x="119" y="226"/>
                        </a:lnTo>
                        <a:close/>
                        <a:moveTo>
                          <a:pt x="288" y="220"/>
                        </a:moveTo>
                        <a:lnTo>
                          <a:pt x="288" y="225"/>
                        </a:lnTo>
                        <a:lnTo>
                          <a:pt x="281" y="225"/>
                        </a:lnTo>
                        <a:lnTo>
                          <a:pt x="278" y="223"/>
                        </a:lnTo>
                        <a:lnTo>
                          <a:pt x="280" y="215"/>
                        </a:lnTo>
                        <a:lnTo>
                          <a:pt x="274" y="213"/>
                        </a:lnTo>
                        <a:lnTo>
                          <a:pt x="264" y="198"/>
                        </a:lnTo>
                        <a:lnTo>
                          <a:pt x="256" y="190"/>
                        </a:lnTo>
                        <a:lnTo>
                          <a:pt x="248" y="184"/>
                        </a:lnTo>
                        <a:lnTo>
                          <a:pt x="250" y="180"/>
                        </a:lnTo>
                        <a:lnTo>
                          <a:pt x="258" y="185"/>
                        </a:lnTo>
                        <a:lnTo>
                          <a:pt x="260" y="191"/>
                        </a:lnTo>
                        <a:lnTo>
                          <a:pt x="273" y="207"/>
                        </a:lnTo>
                        <a:lnTo>
                          <a:pt x="279" y="211"/>
                        </a:lnTo>
                        <a:lnTo>
                          <a:pt x="288" y="220"/>
                        </a:lnTo>
                        <a:close/>
                        <a:moveTo>
                          <a:pt x="129" y="150"/>
                        </a:moveTo>
                        <a:lnTo>
                          <a:pt x="128" y="156"/>
                        </a:lnTo>
                        <a:lnTo>
                          <a:pt x="115" y="156"/>
                        </a:lnTo>
                        <a:lnTo>
                          <a:pt x="116" y="151"/>
                        </a:lnTo>
                        <a:lnTo>
                          <a:pt x="120" y="150"/>
                        </a:lnTo>
                        <a:lnTo>
                          <a:pt x="129" y="150"/>
                        </a:lnTo>
                        <a:close/>
                        <a:moveTo>
                          <a:pt x="73" y="143"/>
                        </a:moveTo>
                        <a:lnTo>
                          <a:pt x="78" y="141"/>
                        </a:lnTo>
                        <a:lnTo>
                          <a:pt x="83" y="145"/>
                        </a:lnTo>
                        <a:lnTo>
                          <a:pt x="85" y="155"/>
                        </a:lnTo>
                        <a:lnTo>
                          <a:pt x="89" y="159"/>
                        </a:lnTo>
                        <a:lnTo>
                          <a:pt x="96" y="169"/>
                        </a:lnTo>
                        <a:lnTo>
                          <a:pt x="109" y="180"/>
                        </a:lnTo>
                        <a:lnTo>
                          <a:pt x="109" y="189"/>
                        </a:lnTo>
                        <a:lnTo>
                          <a:pt x="114" y="196"/>
                        </a:lnTo>
                        <a:lnTo>
                          <a:pt x="109" y="201"/>
                        </a:lnTo>
                        <a:lnTo>
                          <a:pt x="104" y="209"/>
                        </a:lnTo>
                        <a:lnTo>
                          <a:pt x="93" y="211"/>
                        </a:lnTo>
                        <a:lnTo>
                          <a:pt x="90" y="206"/>
                        </a:lnTo>
                        <a:lnTo>
                          <a:pt x="86" y="205"/>
                        </a:lnTo>
                        <a:lnTo>
                          <a:pt x="85" y="196"/>
                        </a:lnTo>
                        <a:lnTo>
                          <a:pt x="79" y="200"/>
                        </a:lnTo>
                        <a:lnTo>
                          <a:pt x="69" y="194"/>
                        </a:lnTo>
                        <a:lnTo>
                          <a:pt x="60" y="186"/>
                        </a:lnTo>
                        <a:lnTo>
                          <a:pt x="68" y="182"/>
                        </a:lnTo>
                        <a:lnTo>
                          <a:pt x="76" y="191"/>
                        </a:lnTo>
                        <a:lnTo>
                          <a:pt x="75" y="184"/>
                        </a:lnTo>
                        <a:lnTo>
                          <a:pt x="69" y="179"/>
                        </a:lnTo>
                        <a:lnTo>
                          <a:pt x="68" y="175"/>
                        </a:lnTo>
                        <a:lnTo>
                          <a:pt x="73" y="167"/>
                        </a:lnTo>
                        <a:lnTo>
                          <a:pt x="73" y="156"/>
                        </a:lnTo>
                        <a:lnTo>
                          <a:pt x="65" y="141"/>
                        </a:lnTo>
                        <a:lnTo>
                          <a:pt x="69" y="140"/>
                        </a:lnTo>
                        <a:lnTo>
                          <a:pt x="73" y="143"/>
                        </a:lnTo>
                        <a:close/>
                        <a:moveTo>
                          <a:pt x="163" y="110"/>
                        </a:moveTo>
                        <a:lnTo>
                          <a:pt x="170" y="119"/>
                        </a:lnTo>
                        <a:lnTo>
                          <a:pt x="184" y="127"/>
                        </a:lnTo>
                        <a:lnTo>
                          <a:pt x="194" y="130"/>
                        </a:lnTo>
                        <a:lnTo>
                          <a:pt x="204" y="139"/>
                        </a:lnTo>
                        <a:lnTo>
                          <a:pt x="214" y="146"/>
                        </a:lnTo>
                        <a:lnTo>
                          <a:pt x="216" y="164"/>
                        </a:lnTo>
                        <a:lnTo>
                          <a:pt x="210" y="160"/>
                        </a:lnTo>
                        <a:lnTo>
                          <a:pt x="213" y="156"/>
                        </a:lnTo>
                        <a:lnTo>
                          <a:pt x="209" y="146"/>
                        </a:lnTo>
                        <a:lnTo>
                          <a:pt x="201" y="140"/>
                        </a:lnTo>
                        <a:lnTo>
                          <a:pt x="193" y="131"/>
                        </a:lnTo>
                        <a:lnTo>
                          <a:pt x="179" y="126"/>
                        </a:lnTo>
                        <a:lnTo>
                          <a:pt x="174" y="121"/>
                        </a:lnTo>
                        <a:lnTo>
                          <a:pt x="165" y="120"/>
                        </a:lnTo>
                        <a:lnTo>
                          <a:pt x="163" y="110"/>
                        </a:lnTo>
                        <a:close/>
                        <a:moveTo>
                          <a:pt x="10" y="16"/>
                        </a:moveTo>
                        <a:lnTo>
                          <a:pt x="28" y="19"/>
                        </a:lnTo>
                        <a:lnTo>
                          <a:pt x="43" y="16"/>
                        </a:lnTo>
                        <a:lnTo>
                          <a:pt x="48" y="15"/>
                        </a:lnTo>
                        <a:lnTo>
                          <a:pt x="54" y="20"/>
                        </a:lnTo>
                        <a:lnTo>
                          <a:pt x="33" y="25"/>
                        </a:lnTo>
                        <a:lnTo>
                          <a:pt x="29" y="25"/>
                        </a:lnTo>
                        <a:lnTo>
                          <a:pt x="13" y="29"/>
                        </a:lnTo>
                        <a:lnTo>
                          <a:pt x="6" y="35"/>
                        </a:lnTo>
                        <a:lnTo>
                          <a:pt x="1" y="35"/>
                        </a:lnTo>
                        <a:lnTo>
                          <a:pt x="0" y="29"/>
                        </a:lnTo>
                        <a:lnTo>
                          <a:pt x="5" y="25"/>
                        </a:lnTo>
                        <a:lnTo>
                          <a:pt x="6" y="19"/>
                        </a:lnTo>
                        <a:lnTo>
                          <a:pt x="1" y="16"/>
                        </a:lnTo>
                        <a:lnTo>
                          <a:pt x="3" y="9"/>
                        </a:lnTo>
                        <a:lnTo>
                          <a:pt x="10" y="16"/>
                        </a:lnTo>
                        <a:close/>
                        <a:moveTo>
                          <a:pt x="58" y="0"/>
                        </a:moveTo>
                        <a:lnTo>
                          <a:pt x="76" y="4"/>
                        </a:lnTo>
                        <a:lnTo>
                          <a:pt x="94" y="18"/>
                        </a:lnTo>
                        <a:lnTo>
                          <a:pt x="99" y="24"/>
                        </a:lnTo>
                        <a:lnTo>
                          <a:pt x="106" y="26"/>
                        </a:lnTo>
                        <a:lnTo>
                          <a:pt x="116" y="32"/>
                        </a:lnTo>
                        <a:lnTo>
                          <a:pt x="119" y="40"/>
                        </a:lnTo>
                        <a:lnTo>
                          <a:pt x="124" y="49"/>
                        </a:lnTo>
                        <a:lnTo>
                          <a:pt x="120" y="50"/>
                        </a:lnTo>
                        <a:lnTo>
                          <a:pt x="115" y="55"/>
                        </a:lnTo>
                        <a:lnTo>
                          <a:pt x="118" y="69"/>
                        </a:lnTo>
                        <a:lnTo>
                          <a:pt x="121" y="81"/>
                        </a:lnTo>
                        <a:lnTo>
                          <a:pt x="119" y="84"/>
                        </a:lnTo>
                        <a:lnTo>
                          <a:pt x="110" y="76"/>
                        </a:lnTo>
                        <a:lnTo>
                          <a:pt x="105" y="75"/>
                        </a:lnTo>
                        <a:lnTo>
                          <a:pt x="106" y="69"/>
                        </a:lnTo>
                        <a:lnTo>
                          <a:pt x="114" y="62"/>
                        </a:lnTo>
                        <a:lnTo>
                          <a:pt x="110" y="59"/>
                        </a:lnTo>
                        <a:lnTo>
                          <a:pt x="109" y="37"/>
                        </a:lnTo>
                        <a:lnTo>
                          <a:pt x="109" y="29"/>
                        </a:lnTo>
                        <a:lnTo>
                          <a:pt x="98" y="26"/>
                        </a:lnTo>
                        <a:lnTo>
                          <a:pt x="93" y="20"/>
                        </a:lnTo>
                        <a:lnTo>
                          <a:pt x="86" y="19"/>
                        </a:lnTo>
                        <a:lnTo>
                          <a:pt x="84" y="14"/>
                        </a:lnTo>
                        <a:lnTo>
                          <a:pt x="76" y="6"/>
                        </a:lnTo>
                        <a:lnTo>
                          <a:pt x="60" y="4"/>
                        </a:lnTo>
                        <a:lnTo>
                          <a:pt x="58"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0" name="Saint Barthélemy" descr="{&quot;Key&quot;:&quot;saint barthélemy&quot;,&quot;Name&quot;:&quot;Saint Barthélemy&quot;,&quot;Value&quot;:1.0,&quot;Formula&quot;:&quot;&quot;,&quot;Text&quot;:&quot;&quot;,&quot;OfficeApplication&quot;:1,&quot;HasValue&quot;:true}">
                    <a:extLst>
                      <a:ext uri="{FF2B5EF4-FFF2-40B4-BE49-F238E27FC236}">
                        <a16:creationId xmlns:a16="http://schemas.microsoft.com/office/drawing/2014/main" id="{F80FC7A3-5FF5-56FF-82B3-BE97386D185D}"/>
                      </a:ext>
                    </a:extLst>
                  </p:cNvPr>
                  <p:cNvSpPr>
                    <a:spLocks/>
                  </p:cNvSpPr>
                  <p:nvPr/>
                </p:nvSpPr>
                <p:spPr bwMode="auto">
                  <a:xfrm>
                    <a:off x="6720" y="2378"/>
                    <a:ext cx="2" cy="1"/>
                  </a:xfrm>
                  <a:custGeom>
                    <a:avLst/>
                    <a:gdLst>
                      <a:gd name="T0" fmla="*/ 3 w 5"/>
                      <a:gd name="T1" fmla="*/ 4 h 4"/>
                      <a:gd name="T2" fmla="*/ 0 w 5"/>
                      <a:gd name="T3" fmla="*/ 0 h 4"/>
                      <a:gd name="T4" fmla="*/ 5 w 5"/>
                      <a:gd name="T5" fmla="*/ 2 h 4"/>
                      <a:gd name="T6" fmla="*/ 3 w 5"/>
                      <a:gd name="T7" fmla="*/ 4 h 4"/>
                    </a:gdLst>
                    <a:ahLst/>
                    <a:cxnLst>
                      <a:cxn ang="0">
                        <a:pos x="T0" y="T1"/>
                      </a:cxn>
                      <a:cxn ang="0">
                        <a:pos x="T2" y="T3"/>
                      </a:cxn>
                      <a:cxn ang="0">
                        <a:pos x="T4" y="T5"/>
                      </a:cxn>
                      <a:cxn ang="0">
                        <a:pos x="T6" y="T7"/>
                      </a:cxn>
                    </a:cxnLst>
                    <a:rect l="0" t="0" r="r" b="b"/>
                    <a:pathLst>
                      <a:path w="5" h="4">
                        <a:moveTo>
                          <a:pt x="3" y="4"/>
                        </a:moveTo>
                        <a:lnTo>
                          <a:pt x="0" y="0"/>
                        </a:lnTo>
                        <a:lnTo>
                          <a:pt x="5" y="2"/>
                        </a:lnTo>
                        <a:lnTo>
                          <a:pt x="3" y="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1" name="Bermuda" descr="{&quot;Key&quot;:&quot;bermuda&quot;,&quot;Name&quot;:&quot;Bermuda&quot;,&quot;Value&quot;:1.0,&quot;Formula&quot;:&quot;&quot;,&quot;Text&quot;:&quot;&quot;,&quot;OfficeApplication&quot;:1,&quot;HasValue&quot;:true}">
                    <a:extLst>
                      <a:ext uri="{FF2B5EF4-FFF2-40B4-BE49-F238E27FC236}">
                        <a16:creationId xmlns:a16="http://schemas.microsoft.com/office/drawing/2014/main" id="{84EB0F8F-438D-B990-43DB-A835A313D038}"/>
                      </a:ext>
                    </a:extLst>
                  </p:cNvPr>
                  <p:cNvSpPr>
                    <a:spLocks/>
                  </p:cNvSpPr>
                  <p:nvPr/>
                </p:nvSpPr>
                <p:spPr bwMode="auto">
                  <a:xfrm>
                    <a:off x="6587" y="2050"/>
                    <a:ext cx="1" cy="1"/>
                  </a:xfrm>
                  <a:custGeom>
                    <a:avLst/>
                    <a:gdLst>
                      <a:gd name="T0" fmla="*/ 4 w 4"/>
                      <a:gd name="T1" fmla="*/ 3 h 3"/>
                      <a:gd name="T2" fmla="*/ 0 w 4"/>
                      <a:gd name="T3" fmla="*/ 3 h 3"/>
                      <a:gd name="T4" fmla="*/ 2 w 4"/>
                      <a:gd name="T5" fmla="*/ 0 h 3"/>
                      <a:gd name="T6" fmla="*/ 4 w 4"/>
                      <a:gd name="T7" fmla="*/ 3 h 3"/>
                    </a:gdLst>
                    <a:ahLst/>
                    <a:cxnLst>
                      <a:cxn ang="0">
                        <a:pos x="T0" y="T1"/>
                      </a:cxn>
                      <a:cxn ang="0">
                        <a:pos x="T2" y="T3"/>
                      </a:cxn>
                      <a:cxn ang="0">
                        <a:pos x="T4" y="T5"/>
                      </a:cxn>
                      <a:cxn ang="0">
                        <a:pos x="T6" y="T7"/>
                      </a:cxn>
                    </a:cxnLst>
                    <a:rect l="0" t="0" r="r" b="b"/>
                    <a:pathLst>
                      <a:path w="4" h="3">
                        <a:moveTo>
                          <a:pt x="4" y="3"/>
                        </a:moveTo>
                        <a:lnTo>
                          <a:pt x="0" y="3"/>
                        </a:lnTo>
                        <a:lnTo>
                          <a:pt x="2" y="0"/>
                        </a:lnTo>
                        <a:lnTo>
                          <a:pt x="4" y="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2" name="Barbados" descr="{&quot;Key&quot;:&quot;barbados&quot;,&quot;Name&quot;:&quot;Barbados&quot;,&quot;Value&quot;:1.0,&quot;Formula&quot;:&quot;&quot;,&quot;Text&quot;:&quot;&quot;,&quot;OfficeApplication&quot;:1,&quot;HasValue&quot;:true}">
                    <a:extLst>
                      <a:ext uri="{FF2B5EF4-FFF2-40B4-BE49-F238E27FC236}">
                        <a16:creationId xmlns:a16="http://schemas.microsoft.com/office/drawing/2014/main" id="{DFE31EB7-5311-71AD-C57D-07D664B4E06A}"/>
                      </a:ext>
                    </a:extLst>
                  </p:cNvPr>
                  <p:cNvSpPr>
                    <a:spLocks/>
                  </p:cNvSpPr>
                  <p:nvPr/>
                </p:nvSpPr>
                <p:spPr bwMode="auto">
                  <a:xfrm>
                    <a:off x="6804" y="2482"/>
                    <a:ext cx="4" cy="7"/>
                  </a:xfrm>
                  <a:custGeom>
                    <a:avLst/>
                    <a:gdLst>
                      <a:gd name="T0" fmla="*/ 12 w 17"/>
                      <a:gd name="T1" fmla="*/ 24 h 24"/>
                      <a:gd name="T2" fmla="*/ 5 w 17"/>
                      <a:gd name="T3" fmla="*/ 21 h 24"/>
                      <a:gd name="T4" fmla="*/ 1 w 17"/>
                      <a:gd name="T5" fmla="*/ 15 h 24"/>
                      <a:gd name="T6" fmla="*/ 0 w 17"/>
                      <a:gd name="T7" fmla="*/ 4 h 24"/>
                      <a:gd name="T8" fmla="*/ 1 w 17"/>
                      <a:gd name="T9" fmla="*/ 0 h 24"/>
                      <a:gd name="T10" fmla="*/ 8 w 17"/>
                      <a:gd name="T11" fmla="*/ 9 h 24"/>
                      <a:gd name="T12" fmla="*/ 16 w 17"/>
                      <a:gd name="T13" fmla="*/ 14 h 24"/>
                      <a:gd name="T14" fmla="*/ 17 w 17"/>
                      <a:gd name="T15" fmla="*/ 17 h 24"/>
                      <a:gd name="T16" fmla="*/ 12 w 17"/>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4">
                        <a:moveTo>
                          <a:pt x="12" y="24"/>
                        </a:moveTo>
                        <a:lnTo>
                          <a:pt x="5" y="21"/>
                        </a:lnTo>
                        <a:lnTo>
                          <a:pt x="1" y="15"/>
                        </a:lnTo>
                        <a:lnTo>
                          <a:pt x="0" y="4"/>
                        </a:lnTo>
                        <a:lnTo>
                          <a:pt x="1" y="0"/>
                        </a:lnTo>
                        <a:lnTo>
                          <a:pt x="8" y="9"/>
                        </a:lnTo>
                        <a:lnTo>
                          <a:pt x="16" y="14"/>
                        </a:lnTo>
                        <a:lnTo>
                          <a:pt x="17" y="17"/>
                        </a:lnTo>
                        <a:lnTo>
                          <a:pt x="12" y="2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3" name="Comores" descr="{&quot;Key&quot;:&quot;comores&quot;,&quot;Name&quot;:&quot;Comores&quot;,&quot;Value&quot;:1.0,&quot;Formula&quot;:&quot;&quot;,&quot;Text&quot;:&quot;&quot;,&quot;OfficeApplication&quot;:1,&quot;HasValue&quot;:true}">
                    <a:extLst>
                      <a:ext uri="{FF2B5EF4-FFF2-40B4-BE49-F238E27FC236}">
                        <a16:creationId xmlns:a16="http://schemas.microsoft.com/office/drawing/2014/main" id="{37C3D1AF-BB61-288C-B4B8-AB1AEFF26CB1}"/>
                      </a:ext>
                    </a:extLst>
                  </p:cNvPr>
                  <p:cNvSpPr>
                    <a:spLocks noEditPoints="1"/>
                  </p:cNvSpPr>
                  <p:nvPr/>
                </p:nvSpPr>
                <p:spPr bwMode="auto">
                  <a:xfrm>
                    <a:off x="1693" y="3042"/>
                    <a:ext cx="27" cy="23"/>
                  </a:xfrm>
                  <a:custGeom>
                    <a:avLst/>
                    <a:gdLst>
                      <a:gd name="T0" fmla="*/ 50 w 99"/>
                      <a:gd name="T1" fmla="*/ 83 h 83"/>
                      <a:gd name="T2" fmla="*/ 39 w 99"/>
                      <a:gd name="T3" fmla="*/ 82 h 83"/>
                      <a:gd name="T4" fmla="*/ 34 w 99"/>
                      <a:gd name="T5" fmla="*/ 73 h 83"/>
                      <a:gd name="T6" fmla="*/ 41 w 99"/>
                      <a:gd name="T7" fmla="*/ 74 h 83"/>
                      <a:gd name="T8" fmla="*/ 50 w 99"/>
                      <a:gd name="T9" fmla="*/ 82 h 83"/>
                      <a:gd name="T10" fmla="*/ 50 w 99"/>
                      <a:gd name="T11" fmla="*/ 83 h 83"/>
                      <a:gd name="T12" fmla="*/ 94 w 99"/>
                      <a:gd name="T13" fmla="*/ 60 h 83"/>
                      <a:gd name="T14" fmla="*/ 97 w 99"/>
                      <a:gd name="T15" fmla="*/ 72 h 83"/>
                      <a:gd name="T16" fmla="*/ 99 w 99"/>
                      <a:gd name="T17" fmla="*/ 82 h 83"/>
                      <a:gd name="T18" fmla="*/ 84 w 99"/>
                      <a:gd name="T19" fmla="*/ 72 h 83"/>
                      <a:gd name="T20" fmla="*/ 89 w 99"/>
                      <a:gd name="T21" fmla="*/ 63 h 83"/>
                      <a:gd name="T22" fmla="*/ 94 w 99"/>
                      <a:gd name="T23" fmla="*/ 60 h 83"/>
                      <a:gd name="T24" fmla="*/ 19 w 99"/>
                      <a:gd name="T25" fmla="*/ 48 h 83"/>
                      <a:gd name="T26" fmla="*/ 12 w 99"/>
                      <a:gd name="T27" fmla="*/ 42 h 83"/>
                      <a:gd name="T28" fmla="*/ 4 w 99"/>
                      <a:gd name="T29" fmla="*/ 38 h 83"/>
                      <a:gd name="T30" fmla="*/ 0 w 99"/>
                      <a:gd name="T31" fmla="*/ 30 h 83"/>
                      <a:gd name="T32" fmla="*/ 1 w 99"/>
                      <a:gd name="T33" fmla="*/ 27 h 83"/>
                      <a:gd name="T34" fmla="*/ 1 w 99"/>
                      <a:gd name="T35" fmla="*/ 9 h 83"/>
                      <a:gd name="T36" fmla="*/ 1 w 99"/>
                      <a:gd name="T37" fmla="*/ 3 h 83"/>
                      <a:gd name="T38" fmla="*/ 7 w 99"/>
                      <a:gd name="T39" fmla="*/ 0 h 83"/>
                      <a:gd name="T40" fmla="*/ 11 w 99"/>
                      <a:gd name="T41" fmla="*/ 5 h 83"/>
                      <a:gd name="T42" fmla="*/ 11 w 99"/>
                      <a:gd name="T43" fmla="*/ 20 h 83"/>
                      <a:gd name="T44" fmla="*/ 15 w 99"/>
                      <a:gd name="T45" fmla="*/ 29 h 83"/>
                      <a:gd name="T46" fmla="*/ 17 w 99"/>
                      <a:gd name="T47" fmla="*/ 35 h 83"/>
                      <a:gd name="T48" fmla="*/ 21 w 99"/>
                      <a:gd name="T49" fmla="*/ 43 h 83"/>
                      <a:gd name="T50" fmla="*/ 19 w 99"/>
                      <a:gd name="T51" fmla="*/ 4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83">
                        <a:moveTo>
                          <a:pt x="50" y="83"/>
                        </a:moveTo>
                        <a:lnTo>
                          <a:pt x="39" y="82"/>
                        </a:lnTo>
                        <a:lnTo>
                          <a:pt x="34" y="73"/>
                        </a:lnTo>
                        <a:lnTo>
                          <a:pt x="41" y="74"/>
                        </a:lnTo>
                        <a:lnTo>
                          <a:pt x="50" y="82"/>
                        </a:lnTo>
                        <a:lnTo>
                          <a:pt x="50" y="83"/>
                        </a:lnTo>
                        <a:close/>
                        <a:moveTo>
                          <a:pt x="94" y="60"/>
                        </a:moveTo>
                        <a:lnTo>
                          <a:pt x="97" y="72"/>
                        </a:lnTo>
                        <a:lnTo>
                          <a:pt x="99" y="82"/>
                        </a:lnTo>
                        <a:lnTo>
                          <a:pt x="84" y="72"/>
                        </a:lnTo>
                        <a:lnTo>
                          <a:pt x="89" y="63"/>
                        </a:lnTo>
                        <a:lnTo>
                          <a:pt x="94" y="60"/>
                        </a:lnTo>
                        <a:close/>
                        <a:moveTo>
                          <a:pt x="19" y="48"/>
                        </a:moveTo>
                        <a:lnTo>
                          <a:pt x="12" y="42"/>
                        </a:lnTo>
                        <a:lnTo>
                          <a:pt x="4" y="38"/>
                        </a:lnTo>
                        <a:lnTo>
                          <a:pt x="0" y="30"/>
                        </a:lnTo>
                        <a:lnTo>
                          <a:pt x="1" y="27"/>
                        </a:lnTo>
                        <a:lnTo>
                          <a:pt x="1" y="9"/>
                        </a:lnTo>
                        <a:lnTo>
                          <a:pt x="1" y="3"/>
                        </a:lnTo>
                        <a:lnTo>
                          <a:pt x="7" y="0"/>
                        </a:lnTo>
                        <a:lnTo>
                          <a:pt x="11" y="5"/>
                        </a:lnTo>
                        <a:lnTo>
                          <a:pt x="11" y="20"/>
                        </a:lnTo>
                        <a:lnTo>
                          <a:pt x="15" y="29"/>
                        </a:lnTo>
                        <a:lnTo>
                          <a:pt x="17" y="35"/>
                        </a:lnTo>
                        <a:lnTo>
                          <a:pt x="21" y="43"/>
                        </a:lnTo>
                        <a:lnTo>
                          <a:pt x="19" y="4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4" name="Cabo Verde" descr="{&quot;Key&quot;:&quot;cabo verde&quot;,&quot;Name&quot;:&quot;Cabo Verde&quot;,&quot;Value&quot;:1.0,&quot;Formula&quot;:&quot;&quot;,&quot;Text&quot;:&quot;&quot;,&quot;OfficeApplication&quot;:1,&quot;HasValue&quot;:true}">
                    <a:extLst>
                      <a:ext uri="{FF2B5EF4-FFF2-40B4-BE49-F238E27FC236}">
                        <a16:creationId xmlns:a16="http://schemas.microsoft.com/office/drawing/2014/main" id="{3DDF7A04-30D9-DEEC-697D-56DC069C57D6}"/>
                      </a:ext>
                    </a:extLst>
                  </p:cNvPr>
                  <p:cNvSpPr>
                    <a:spLocks noEditPoints="1"/>
                  </p:cNvSpPr>
                  <p:nvPr/>
                </p:nvSpPr>
                <p:spPr bwMode="auto">
                  <a:xfrm>
                    <a:off x="353" y="2395"/>
                    <a:ext cx="48" cy="54"/>
                  </a:xfrm>
                  <a:custGeom>
                    <a:avLst/>
                    <a:gdLst>
                      <a:gd name="T0" fmla="*/ 23 w 172"/>
                      <a:gd name="T1" fmla="*/ 192 h 192"/>
                      <a:gd name="T2" fmla="*/ 23 w 172"/>
                      <a:gd name="T3" fmla="*/ 179 h 192"/>
                      <a:gd name="T4" fmla="*/ 35 w 172"/>
                      <a:gd name="T5" fmla="*/ 175 h 192"/>
                      <a:gd name="T6" fmla="*/ 31 w 172"/>
                      <a:gd name="T7" fmla="*/ 192 h 192"/>
                      <a:gd name="T8" fmla="*/ 89 w 172"/>
                      <a:gd name="T9" fmla="*/ 165 h 192"/>
                      <a:gd name="T10" fmla="*/ 97 w 172"/>
                      <a:gd name="T11" fmla="*/ 178 h 192"/>
                      <a:gd name="T12" fmla="*/ 79 w 172"/>
                      <a:gd name="T13" fmla="*/ 183 h 192"/>
                      <a:gd name="T14" fmla="*/ 76 w 172"/>
                      <a:gd name="T15" fmla="*/ 164 h 192"/>
                      <a:gd name="T16" fmla="*/ 122 w 172"/>
                      <a:gd name="T17" fmla="*/ 152 h 192"/>
                      <a:gd name="T18" fmla="*/ 125 w 172"/>
                      <a:gd name="T19" fmla="*/ 162 h 192"/>
                      <a:gd name="T20" fmla="*/ 113 w 172"/>
                      <a:gd name="T21" fmla="*/ 164 h 192"/>
                      <a:gd name="T22" fmla="*/ 122 w 172"/>
                      <a:gd name="T23" fmla="*/ 152 h 192"/>
                      <a:gd name="T24" fmla="*/ 166 w 172"/>
                      <a:gd name="T25" fmla="*/ 78 h 192"/>
                      <a:gd name="T26" fmla="*/ 171 w 172"/>
                      <a:gd name="T27" fmla="*/ 91 h 192"/>
                      <a:gd name="T28" fmla="*/ 151 w 172"/>
                      <a:gd name="T29" fmla="*/ 95 h 192"/>
                      <a:gd name="T30" fmla="*/ 155 w 172"/>
                      <a:gd name="T31" fmla="*/ 87 h 192"/>
                      <a:gd name="T32" fmla="*/ 161 w 172"/>
                      <a:gd name="T33" fmla="*/ 80 h 192"/>
                      <a:gd name="T34" fmla="*/ 72 w 172"/>
                      <a:gd name="T35" fmla="*/ 44 h 192"/>
                      <a:gd name="T36" fmla="*/ 78 w 172"/>
                      <a:gd name="T37" fmla="*/ 52 h 192"/>
                      <a:gd name="T38" fmla="*/ 67 w 172"/>
                      <a:gd name="T39" fmla="*/ 49 h 192"/>
                      <a:gd name="T40" fmla="*/ 58 w 172"/>
                      <a:gd name="T41" fmla="*/ 43 h 192"/>
                      <a:gd name="T42" fmla="*/ 67 w 172"/>
                      <a:gd name="T43" fmla="*/ 44 h 192"/>
                      <a:gd name="T44" fmla="*/ 161 w 172"/>
                      <a:gd name="T45" fmla="*/ 38 h 192"/>
                      <a:gd name="T46" fmla="*/ 170 w 172"/>
                      <a:gd name="T47" fmla="*/ 29 h 192"/>
                      <a:gd name="T48" fmla="*/ 27 w 172"/>
                      <a:gd name="T49" fmla="*/ 23 h 192"/>
                      <a:gd name="T50" fmla="*/ 20 w 172"/>
                      <a:gd name="T51" fmla="*/ 33 h 192"/>
                      <a:gd name="T52" fmla="*/ 21 w 172"/>
                      <a:gd name="T53" fmla="*/ 24 h 192"/>
                      <a:gd name="T54" fmla="*/ 21 w 172"/>
                      <a:gd name="T55" fmla="*/ 0 h 192"/>
                      <a:gd name="T56" fmla="*/ 23 w 172"/>
                      <a:gd name="T57" fmla="*/ 12 h 192"/>
                      <a:gd name="T58" fmla="*/ 8 w 172"/>
                      <a:gd name="T59" fmla="*/ 22 h 192"/>
                      <a:gd name="T60" fmla="*/ 1 w 172"/>
                      <a:gd name="T61" fmla="*/ 15 h 192"/>
                      <a:gd name="T62" fmla="*/ 3 w 172"/>
                      <a:gd name="T63" fmla="*/ 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2" h="192">
                        <a:moveTo>
                          <a:pt x="31" y="192"/>
                        </a:moveTo>
                        <a:lnTo>
                          <a:pt x="23" y="192"/>
                        </a:lnTo>
                        <a:lnTo>
                          <a:pt x="20" y="184"/>
                        </a:lnTo>
                        <a:lnTo>
                          <a:pt x="23" y="179"/>
                        </a:lnTo>
                        <a:lnTo>
                          <a:pt x="30" y="175"/>
                        </a:lnTo>
                        <a:lnTo>
                          <a:pt x="35" y="175"/>
                        </a:lnTo>
                        <a:lnTo>
                          <a:pt x="36" y="184"/>
                        </a:lnTo>
                        <a:lnTo>
                          <a:pt x="31" y="192"/>
                        </a:lnTo>
                        <a:close/>
                        <a:moveTo>
                          <a:pt x="82" y="153"/>
                        </a:moveTo>
                        <a:lnTo>
                          <a:pt x="89" y="165"/>
                        </a:lnTo>
                        <a:lnTo>
                          <a:pt x="95" y="169"/>
                        </a:lnTo>
                        <a:lnTo>
                          <a:pt x="97" y="178"/>
                        </a:lnTo>
                        <a:lnTo>
                          <a:pt x="92" y="185"/>
                        </a:lnTo>
                        <a:lnTo>
                          <a:pt x="79" y="183"/>
                        </a:lnTo>
                        <a:lnTo>
                          <a:pt x="74" y="175"/>
                        </a:lnTo>
                        <a:lnTo>
                          <a:pt x="76" y="164"/>
                        </a:lnTo>
                        <a:lnTo>
                          <a:pt x="82" y="153"/>
                        </a:lnTo>
                        <a:close/>
                        <a:moveTo>
                          <a:pt x="122" y="152"/>
                        </a:moveTo>
                        <a:lnTo>
                          <a:pt x="126" y="154"/>
                        </a:lnTo>
                        <a:lnTo>
                          <a:pt x="125" y="162"/>
                        </a:lnTo>
                        <a:lnTo>
                          <a:pt x="118" y="169"/>
                        </a:lnTo>
                        <a:lnTo>
                          <a:pt x="113" y="164"/>
                        </a:lnTo>
                        <a:lnTo>
                          <a:pt x="116" y="157"/>
                        </a:lnTo>
                        <a:lnTo>
                          <a:pt x="122" y="152"/>
                        </a:lnTo>
                        <a:close/>
                        <a:moveTo>
                          <a:pt x="161" y="80"/>
                        </a:moveTo>
                        <a:lnTo>
                          <a:pt x="166" y="78"/>
                        </a:lnTo>
                        <a:lnTo>
                          <a:pt x="172" y="83"/>
                        </a:lnTo>
                        <a:lnTo>
                          <a:pt x="171" y="91"/>
                        </a:lnTo>
                        <a:lnTo>
                          <a:pt x="160" y="98"/>
                        </a:lnTo>
                        <a:lnTo>
                          <a:pt x="151" y="95"/>
                        </a:lnTo>
                        <a:lnTo>
                          <a:pt x="151" y="89"/>
                        </a:lnTo>
                        <a:lnTo>
                          <a:pt x="155" y="87"/>
                        </a:lnTo>
                        <a:lnTo>
                          <a:pt x="156" y="79"/>
                        </a:lnTo>
                        <a:lnTo>
                          <a:pt x="161" y="80"/>
                        </a:lnTo>
                        <a:close/>
                        <a:moveTo>
                          <a:pt x="67" y="44"/>
                        </a:moveTo>
                        <a:lnTo>
                          <a:pt x="72" y="44"/>
                        </a:lnTo>
                        <a:lnTo>
                          <a:pt x="81" y="47"/>
                        </a:lnTo>
                        <a:lnTo>
                          <a:pt x="78" y="52"/>
                        </a:lnTo>
                        <a:lnTo>
                          <a:pt x="70" y="48"/>
                        </a:lnTo>
                        <a:lnTo>
                          <a:pt x="67" y="49"/>
                        </a:lnTo>
                        <a:lnTo>
                          <a:pt x="61" y="57"/>
                        </a:lnTo>
                        <a:lnTo>
                          <a:pt x="58" y="43"/>
                        </a:lnTo>
                        <a:lnTo>
                          <a:pt x="62" y="41"/>
                        </a:lnTo>
                        <a:lnTo>
                          <a:pt x="67" y="44"/>
                        </a:lnTo>
                        <a:close/>
                        <a:moveTo>
                          <a:pt x="167" y="39"/>
                        </a:moveTo>
                        <a:lnTo>
                          <a:pt x="161" y="38"/>
                        </a:lnTo>
                        <a:lnTo>
                          <a:pt x="162" y="30"/>
                        </a:lnTo>
                        <a:lnTo>
                          <a:pt x="170" y="29"/>
                        </a:lnTo>
                        <a:lnTo>
                          <a:pt x="167" y="39"/>
                        </a:lnTo>
                        <a:close/>
                        <a:moveTo>
                          <a:pt x="27" y="23"/>
                        </a:moveTo>
                        <a:lnTo>
                          <a:pt x="28" y="29"/>
                        </a:lnTo>
                        <a:lnTo>
                          <a:pt x="20" y="33"/>
                        </a:lnTo>
                        <a:lnTo>
                          <a:pt x="15" y="28"/>
                        </a:lnTo>
                        <a:lnTo>
                          <a:pt x="21" y="24"/>
                        </a:lnTo>
                        <a:lnTo>
                          <a:pt x="27" y="23"/>
                        </a:lnTo>
                        <a:close/>
                        <a:moveTo>
                          <a:pt x="21" y="0"/>
                        </a:moveTo>
                        <a:lnTo>
                          <a:pt x="27" y="7"/>
                        </a:lnTo>
                        <a:lnTo>
                          <a:pt x="23" y="12"/>
                        </a:lnTo>
                        <a:lnTo>
                          <a:pt x="15" y="15"/>
                        </a:lnTo>
                        <a:lnTo>
                          <a:pt x="8" y="22"/>
                        </a:lnTo>
                        <a:lnTo>
                          <a:pt x="1" y="23"/>
                        </a:lnTo>
                        <a:lnTo>
                          <a:pt x="1" y="15"/>
                        </a:lnTo>
                        <a:lnTo>
                          <a:pt x="0" y="10"/>
                        </a:lnTo>
                        <a:lnTo>
                          <a:pt x="3" y="7"/>
                        </a:lnTo>
                        <a:lnTo>
                          <a:pt x="21"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5" name="Curaçao" descr="{&quot;Key&quot;:&quot;curaçao&quot;,&quot;Name&quot;:&quot;Curaçao&quot;,&quot;Value&quot;:1.0,&quot;Formula&quot;:&quot;&quot;,&quot;Text&quot;:&quot;&quot;,&quot;OfficeApplication&quot;:1,&quot;HasValue&quot;:true}">
                    <a:extLst>
                      <a:ext uri="{FF2B5EF4-FFF2-40B4-BE49-F238E27FC236}">
                        <a16:creationId xmlns:a16="http://schemas.microsoft.com/office/drawing/2014/main" id="{57567BBA-3D94-3943-24DB-4C49C3AE96A6}"/>
                      </a:ext>
                    </a:extLst>
                  </p:cNvPr>
                  <p:cNvSpPr>
                    <a:spLocks/>
                  </p:cNvSpPr>
                  <p:nvPr/>
                </p:nvSpPr>
                <p:spPr bwMode="auto">
                  <a:xfrm>
                    <a:off x="6617" y="2504"/>
                    <a:ext cx="10" cy="8"/>
                  </a:xfrm>
                  <a:custGeom>
                    <a:avLst/>
                    <a:gdLst>
                      <a:gd name="T0" fmla="*/ 31 w 34"/>
                      <a:gd name="T1" fmla="*/ 29 h 29"/>
                      <a:gd name="T2" fmla="*/ 29 w 34"/>
                      <a:gd name="T3" fmla="*/ 29 h 29"/>
                      <a:gd name="T4" fmla="*/ 14 w 34"/>
                      <a:gd name="T5" fmla="*/ 20 h 29"/>
                      <a:gd name="T6" fmla="*/ 8 w 34"/>
                      <a:gd name="T7" fmla="*/ 15 h 29"/>
                      <a:gd name="T8" fmla="*/ 1 w 34"/>
                      <a:gd name="T9" fmla="*/ 7 h 29"/>
                      <a:gd name="T10" fmla="*/ 0 w 34"/>
                      <a:gd name="T11" fmla="*/ 0 h 29"/>
                      <a:gd name="T12" fmla="*/ 8 w 34"/>
                      <a:gd name="T13" fmla="*/ 4 h 29"/>
                      <a:gd name="T14" fmla="*/ 10 w 34"/>
                      <a:gd name="T15" fmla="*/ 12 h 29"/>
                      <a:gd name="T16" fmla="*/ 16 w 34"/>
                      <a:gd name="T17" fmla="*/ 15 h 29"/>
                      <a:gd name="T18" fmla="*/ 25 w 34"/>
                      <a:gd name="T19" fmla="*/ 18 h 29"/>
                      <a:gd name="T20" fmla="*/ 34 w 34"/>
                      <a:gd name="T21" fmla="*/ 27 h 29"/>
                      <a:gd name="T22" fmla="*/ 31 w 34"/>
                      <a:gd name="T23"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9">
                        <a:moveTo>
                          <a:pt x="31" y="29"/>
                        </a:moveTo>
                        <a:lnTo>
                          <a:pt x="29" y="29"/>
                        </a:lnTo>
                        <a:lnTo>
                          <a:pt x="14" y="20"/>
                        </a:lnTo>
                        <a:lnTo>
                          <a:pt x="8" y="15"/>
                        </a:lnTo>
                        <a:lnTo>
                          <a:pt x="1" y="7"/>
                        </a:lnTo>
                        <a:lnTo>
                          <a:pt x="0" y="0"/>
                        </a:lnTo>
                        <a:lnTo>
                          <a:pt x="8" y="4"/>
                        </a:lnTo>
                        <a:lnTo>
                          <a:pt x="10" y="12"/>
                        </a:lnTo>
                        <a:lnTo>
                          <a:pt x="16" y="15"/>
                        </a:lnTo>
                        <a:lnTo>
                          <a:pt x="25" y="18"/>
                        </a:lnTo>
                        <a:lnTo>
                          <a:pt x="34" y="27"/>
                        </a:lnTo>
                        <a:lnTo>
                          <a:pt x="31" y="2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6" name="Caimans Islands" descr="{&quot;Key&quot;:&quot;caimans islands&quot;,&quot;Name&quot;:&quot;Caimans Islands&quot;,&quot;Value&quot;:1.0,&quot;Formula&quot;:&quot;&quot;,&quot;Text&quot;:&quot;&quot;,&quot;OfficeApplication&quot;:1,&quot;HasValue&quot;:true}">
                    <a:extLst>
                      <a:ext uri="{FF2B5EF4-FFF2-40B4-BE49-F238E27FC236}">
                        <a16:creationId xmlns:a16="http://schemas.microsoft.com/office/drawing/2014/main" id="{3E04B7FD-8699-AD83-0BFB-0788968243A0}"/>
                      </a:ext>
                    </a:extLst>
                  </p:cNvPr>
                  <p:cNvSpPr>
                    <a:spLocks/>
                  </p:cNvSpPr>
                  <p:nvPr/>
                </p:nvSpPr>
                <p:spPr bwMode="auto">
                  <a:xfrm>
                    <a:off x="6349" y="2346"/>
                    <a:ext cx="5" cy="2"/>
                  </a:xfrm>
                  <a:custGeom>
                    <a:avLst/>
                    <a:gdLst>
                      <a:gd name="T0" fmla="*/ 1 w 18"/>
                      <a:gd name="T1" fmla="*/ 4 h 9"/>
                      <a:gd name="T2" fmla="*/ 6 w 18"/>
                      <a:gd name="T3" fmla="*/ 0 h 9"/>
                      <a:gd name="T4" fmla="*/ 18 w 18"/>
                      <a:gd name="T5" fmla="*/ 1 h 9"/>
                      <a:gd name="T6" fmla="*/ 18 w 18"/>
                      <a:gd name="T7" fmla="*/ 6 h 9"/>
                      <a:gd name="T8" fmla="*/ 10 w 18"/>
                      <a:gd name="T9" fmla="*/ 9 h 9"/>
                      <a:gd name="T10" fmla="*/ 0 w 18"/>
                      <a:gd name="T11" fmla="*/ 7 h 9"/>
                      <a:gd name="T12" fmla="*/ 1 w 18"/>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1" y="4"/>
                        </a:moveTo>
                        <a:lnTo>
                          <a:pt x="6" y="0"/>
                        </a:lnTo>
                        <a:lnTo>
                          <a:pt x="18" y="1"/>
                        </a:lnTo>
                        <a:lnTo>
                          <a:pt x="18" y="6"/>
                        </a:lnTo>
                        <a:lnTo>
                          <a:pt x="10" y="9"/>
                        </a:lnTo>
                        <a:lnTo>
                          <a:pt x="0" y="7"/>
                        </a:lnTo>
                        <a:lnTo>
                          <a:pt x="1" y="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7" name="Cyprus" descr="{&quot;Key&quot;:&quot;cyprus&quot;,&quot;Name&quot;:&quot;Cyprus&quot;,&quot;Value&quot;:1.0,&quot;Formula&quot;:&quot;&quot;,&quot;Text&quot;:&quot;&quot;,&quot;OfficeApplication&quot;:1,&quot;HasValue&quot;:true}">
                    <a:extLst>
                      <a:ext uri="{FF2B5EF4-FFF2-40B4-BE49-F238E27FC236}">
                        <a16:creationId xmlns:a16="http://schemas.microsoft.com/office/drawing/2014/main" id="{852D82B8-45E3-23A7-AEA5-26EDFA326E4C}"/>
                      </a:ext>
                    </a:extLst>
                  </p:cNvPr>
                  <p:cNvSpPr>
                    <a:spLocks noEditPoints="1"/>
                  </p:cNvSpPr>
                  <p:nvPr/>
                </p:nvSpPr>
                <p:spPr bwMode="auto">
                  <a:xfrm>
                    <a:off x="1595" y="1987"/>
                    <a:ext cx="34" cy="12"/>
                  </a:xfrm>
                  <a:custGeom>
                    <a:avLst/>
                    <a:gdLst>
                      <a:gd name="T0" fmla="*/ 120 w 120"/>
                      <a:gd name="T1" fmla="*/ 10 h 42"/>
                      <a:gd name="T2" fmla="*/ 118 w 120"/>
                      <a:gd name="T3" fmla="*/ 15 h 42"/>
                      <a:gd name="T4" fmla="*/ 109 w 120"/>
                      <a:gd name="T5" fmla="*/ 17 h 42"/>
                      <a:gd name="T6" fmla="*/ 105 w 120"/>
                      <a:gd name="T7" fmla="*/ 15 h 42"/>
                      <a:gd name="T8" fmla="*/ 108 w 120"/>
                      <a:gd name="T9" fmla="*/ 10 h 42"/>
                      <a:gd name="T10" fmla="*/ 120 w 120"/>
                      <a:gd name="T11" fmla="*/ 10 h 42"/>
                      <a:gd name="T12" fmla="*/ 96 w 120"/>
                      <a:gd name="T13" fmla="*/ 15 h 42"/>
                      <a:gd name="T14" fmla="*/ 93 w 120"/>
                      <a:gd name="T15" fmla="*/ 19 h 42"/>
                      <a:gd name="T16" fmla="*/ 85 w 120"/>
                      <a:gd name="T17" fmla="*/ 29 h 42"/>
                      <a:gd name="T18" fmla="*/ 66 w 120"/>
                      <a:gd name="T19" fmla="*/ 36 h 42"/>
                      <a:gd name="T20" fmla="*/ 56 w 120"/>
                      <a:gd name="T21" fmla="*/ 39 h 42"/>
                      <a:gd name="T22" fmla="*/ 51 w 120"/>
                      <a:gd name="T23" fmla="*/ 39 h 42"/>
                      <a:gd name="T24" fmla="*/ 31 w 120"/>
                      <a:gd name="T25" fmla="*/ 41 h 42"/>
                      <a:gd name="T26" fmla="*/ 29 w 120"/>
                      <a:gd name="T27" fmla="*/ 39 h 42"/>
                      <a:gd name="T28" fmla="*/ 23 w 120"/>
                      <a:gd name="T29" fmla="*/ 42 h 42"/>
                      <a:gd name="T30" fmla="*/ 16 w 120"/>
                      <a:gd name="T31" fmla="*/ 42 h 42"/>
                      <a:gd name="T32" fmla="*/ 6 w 120"/>
                      <a:gd name="T33" fmla="*/ 39 h 42"/>
                      <a:gd name="T34" fmla="*/ 1 w 120"/>
                      <a:gd name="T35" fmla="*/ 35 h 42"/>
                      <a:gd name="T36" fmla="*/ 3 w 120"/>
                      <a:gd name="T37" fmla="*/ 26 h 42"/>
                      <a:gd name="T38" fmla="*/ 0 w 120"/>
                      <a:gd name="T39" fmla="*/ 24 h 42"/>
                      <a:gd name="T40" fmla="*/ 4 w 120"/>
                      <a:gd name="T41" fmla="*/ 6 h 42"/>
                      <a:gd name="T42" fmla="*/ 9 w 120"/>
                      <a:gd name="T43" fmla="*/ 11 h 42"/>
                      <a:gd name="T44" fmla="*/ 14 w 120"/>
                      <a:gd name="T45" fmla="*/ 10 h 42"/>
                      <a:gd name="T46" fmla="*/ 23 w 120"/>
                      <a:gd name="T47" fmla="*/ 1 h 42"/>
                      <a:gd name="T48" fmla="*/ 33 w 120"/>
                      <a:gd name="T49" fmla="*/ 0 h 42"/>
                      <a:gd name="T50" fmla="*/ 34 w 120"/>
                      <a:gd name="T51" fmla="*/ 4 h 42"/>
                      <a:gd name="T52" fmla="*/ 46 w 120"/>
                      <a:gd name="T53" fmla="*/ 9 h 42"/>
                      <a:gd name="T54" fmla="*/ 58 w 120"/>
                      <a:gd name="T55" fmla="*/ 4 h 42"/>
                      <a:gd name="T56" fmla="*/ 63 w 120"/>
                      <a:gd name="T57" fmla="*/ 4 h 42"/>
                      <a:gd name="T58" fmla="*/ 66 w 120"/>
                      <a:gd name="T59" fmla="*/ 1 h 42"/>
                      <a:gd name="T60" fmla="*/ 74 w 120"/>
                      <a:gd name="T61" fmla="*/ 5 h 42"/>
                      <a:gd name="T62" fmla="*/ 83 w 120"/>
                      <a:gd name="T63" fmla="*/ 1 h 42"/>
                      <a:gd name="T64" fmla="*/ 84 w 120"/>
                      <a:gd name="T65" fmla="*/ 12 h 42"/>
                      <a:gd name="T66" fmla="*/ 96 w 120"/>
                      <a:gd name="T6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42">
                        <a:moveTo>
                          <a:pt x="120" y="10"/>
                        </a:moveTo>
                        <a:lnTo>
                          <a:pt x="118" y="15"/>
                        </a:lnTo>
                        <a:lnTo>
                          <a:pt x="109" y="17"/>
                        </a:lnTo>
                        <a:lnTo>
                          <a:pt x="105" y="15"/>
                        </a:lnTo>
                        <a:lnTo>
                          <a:pt x="108" y="10"/>
                        </a:lnTo>
                        <a:lnTo>
                          <a:pt x="120" y="10"/>
                        </a:lnTo>
                        <a:close/>
                        <a:moveTo>
                          <a:pt x="96" y="15"/>
                        </a:moveTo>
                        <a:lnTo>
                          <a:pt x="93" y="19"/>
                        </a:lnTo>
                        <a:lnTo>
                          <a:pt x="85" y="29"/>
                        </a:lnTo>
                        <a:lnTo>
                          <a:pt x="66" y="36"/>
                        </a:lnTo>
                        <a:lnTo>
                          <a:pt x="56" y="39"/>
                        </a:lnTo>
                        <a:lnTo>
                          <a:pt x="51" y="39"/>
                        </a:lnTo>
                        <a:lnTo>
                          <a:pt x="31" y="41"/>
                        </a:lnTo>
                        <a:lnTo>
                          <a:pt x="29" y="39"/>
                        </a:lnTo>
                        <a:lnTo>
                          <a:pt x="23" y="42"/>
                        </a:lnTo>
                        <a:lnTo>
                          <a:pt x="16" y="42"/>
                        </a:lnTo>
                        <a:lnTo>
                          <a:pt x="6" y="39"/>
                        </a:lnTo>
                        <a:lnTo>
                          <a:pt x="1" y="35"/>
                        </a:lnTo>
                        <a:lnTo>
                          <a:pt x="3" y="26"/>
                        </a:lnTo>
                        <a:lnTo>
                          <a:pt x="0" y="24"/>
                        </a:lnTo>
                        <a:lnTo>
                          <a:pt x="4" y="6"/>
                        </a:lnTo>
                        <a:lnTo>
                          <a:pt x="9" y="11"/>
                        </a:lnTo>
                        <a:lnTo>
                          <a:pt x="14" y="10"/>
                        </a:lnTo>
                        <a:lnTo>
                          <a:pt x="23" y="1"/>
                        </a:lnTo>
                        <a:lnTo>
                          <a:pt x="33" y="0"/>
                        </a:lnTo>
                        <a:lnTo>
                          <a:pt x="34" y="4"/>
                        </a:lnTo>
                        <a:lnTo>
                          <a:pt x="46" y="9"/>
                        </a:lnTo>
                        <a:lnTo>
                          <a:pt x="58" y="4"/>
                        </a:lnTo>
                        <a:lnTo>
                          <a:pt x="63" y="4"/>
                        </a:lnTo>
                        <a:lnTo>
                          <a:pt x="66" y="1"/>
                        </a:lnTo>
                        <a:lnTo>
                          <a:pt x="74" y="5"/>
                        </a:lnTo>
                        <a:lnTo>
                          <a:pt x="83" y="1"/>
                        </a:lnTo>
                        <a:lnTo>
                          <a:pt x="84" y="12"/>
                        </a:lnTo>
                        <a:lnTo>
                          <a:pt x="96" y="1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8" name="Dominica" descr="{&quot;Key&quot;:&quot;dominica&quot;,&quot;Name&quot;:&quot;Dominica&quot;,&quot;Value&quot;:1.0,&quot;Formula&quot;:&quot;&quot;,&quot;Text&quot;:&quot;&quot;,&quot;OfficeApplication&quot;:1,&quot;HasValue&quot;:true}">
                    <a:extLst>
                      <a:ext uri="{FF2B5EF4-FFF2-40B4-BE49-F238E27FC236}">
                        <a16:creationId xmlns:a16="http://schemas.microsoft.com/office/drawing/2014/main" id="{4D6B2971-F89C-D4F9-0BE3-903899D6DA98}"/>
                      </a:ext>
                    </a:extLst>
                  </p:cNvPr>
                  <p:cNvSpPr>
                    <a:spLocks/>
                  </p:cNvSpPr>
                  <p:nvPr/>
                </p:nvSpPr>
                <p:spPr bwMode="auto">
                  <a:xfrm>
                    <a:off x="6758" y="2431"/>
                    <a:ext cx="6" cy="9"/>
                  </a:xfrm>
                  <a:custGeom>
                    <a:avLst/>
                    <a:gdLst>
                      <a:gd name="T0" fmla="*/ 6 w 21"/>
                      <a:gd name="T1" fmla="*/ 0 h 31"/>
                      <a:gd name="T2" fmla="*/ 13 w 21"/>
                      <a:gd name="T3" fmla="*/ 3 h 31"/>
                      <a:gd name="T4" fmla="*/ 16 w 21"/>
                      <a:gd name="T5" fmla="*/ 8 h 31"/>
                      <a:gd name="T6" fmla="*/ 20 w 21"/>
                      <a:gd name="T7" fmla="*/ 16 h 31"/>
                      <a:gd name="T8" fmla="*/ 21 w 21"/>
                      <a:gd name="T9" fmla="*/ 26 h 31"/>
                      <a:gd name="T10" fmla="*/ 20 w 21"/>
                      <a:gd name="T11" fmla="*/ 29 h 31"/>
                      <a:gd name="T12" fmla="*/ 14 w 21"/>
                      <a:gd name="T13" fmla="*/ 31 h 31"/>
                      <a:gd name="T14" fmla="*/ 8 w 21"/>
                      <a:gd name="T15" fmla="*/ 15 h 31"/>
                      <a:gd name="T16" fmla="*/ 0 w 21"/>
                      <a:gd name="T17" fmla="*/ 5 h 31"/>
                      <a:gd name="T18" fmla="*/ 6 w 21"/>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31">
                        <a:moveTo>
                          <a:pt x="6" y="0"/>
                        </a:moveTo>
                        <a:lnTo>
                          <a:pt x="13" y="3"/>
                        </a:lnTo>
                        <a:lnTo>
                          <a:pt x="16" y="8"/>
                        </a:lnTo>
                        <a:lnTo>
                          <a:pt x="20" y="16"/>
                        </a:lnTo>
                        <a:lnTo>
                          <a:pt x="21" y="26"/>
                        </a:lnTo>
                        <a:lnTo>
                          <a:pt x="20" y="29"/>
                        </a:lnTo>
                        <a:lnTo>
                          <a:pt x="14" y="31"/>
                        </a:lnTo>
                        <a:lnTo>
                          <a:pt x="8" y="15"/>
                        </a:lnTo>
                        <a:lnTo>
                          <a:pt x="0" y="5"/>
                        </a:lnTo>
                        <a:lnTo>
                          <a:pt x="6"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69" name="Fidji" descr="{&quot;Key&quot;:&quot;fidji&quot;,&quot;Name&quot;:&quot;Fidji&quot;,&quot;Value&quot;:1.0,&quot;Formula&quot;:&quot;&quot;,&quot;Text&quot;:&quot;&quot;,&quot;OfficeApplication&quot;:1,&quot;HasValue&quot;:true}">
                    <a:extLst>
                      <a:ext uri="{FF2B5EF4-FFF2-40B4-BE49-F238E27FC236}">
                        <a16:creationId xmlns:a16="http://schemas.microsoft.com/office/drawing/2014/main" id="{77CE7DDC-97F8-F236-DA82-A4632801FAC5}"/>
                      </a:ext>
                    </a:extLst>
                  </p:cNvPr>
                  <p:cNvSpPr>
                    <a:spLocks noEditPoints="1"/>
                  </p:cNvSpPr>
                  <p:nvPr/>
                </p:nvSpPr>
                <p:spPr bwMode="auto">
                  <a:xfrm>
                    <a:off x="4355" y="3152"/>
                    <a:ext cx="59" cy="67"/>
                  </a:xfrm>
                  <a:custGeom>
                    <a:avLst/>
                    <a:gdLst>
                      <a:gd name="T0" fmla="*/ 84 w 211"/>
                      <a:gd name="T1" fmla="*/ 226 h 241"/>
                      <a:gd name="T2" fmla="*/ 79 w 211"/>
                      <a:gd name="T3" fmla="*/ 232 h 241"/>
                      <a:gd name="T4" fmla="*/ 64 w 211"/>
                      <a:gd name="T5" fmla="*/ 232 h 241"/>
                      <a:gd name="T6" fmla="*/ 50 w 211"/>
                      <a:gd name="T7" fmla="*/ 241 h 241"/>
                      <a:gd name="T8" fmla="*/ 58 w 211"/>
                      <a:gd name="T9" fmla="*/ 235 h 241"/>
                      <a:gd name="T10" fmla="*/ 77 w 211"/>
                      <a:gd name="T11" fmla="*/ 222 h 241"/>
                      <a:gd name="T12" fmla="*/ 149 w 211"/>
                      <a:gd name="T13" fmla="*/ 150 h 241"/>
                      <a:gd name="T14" fmla="*/ 140 w 211"/>
                      <a:gd name="T15" fmla="*/ 144 h 241"/>
                      <a:gd name="T16" fmla="*/ 109 w 211"/>
                      <a:gd name="T17" fmla="*/ 126 h 241"/>
                      <a:gd name="T18" fmla="*/ 112 w 211"/>
                      <a:gd name="T19" fmla="*/ 117 h 241"/>
                      <a:gd name="T20" fmla="*/ 109 w 211"/>
                      <a:gd name="T21" fmla="*/ 126 h 241"/>
                      <a:gd name="T22" fmla="*/ 75 w 211"/>
                      <a:gd name="T23" fmla="*/ 100 h 241"/>
                      <a:gd name="T24" fmla="*/ 86 w 211"/>
                      <a:gd name="T25" fmla="*/ 111 h 241"/>
                      <a:gd name="T26" fmla="*/ 96 w 211"/>
                      <a:gd name="T27" fmla="*/ 121 h 241"/>
                      <a:gd name="T28" fmla="*/ 99 w 211"/>
                      <a:gd name="T29" fmla="*/ 136 h 241"/>
                      <a:gd name="T30" fmla="*/ 98 w 211"/>
                      <a:gd name="T31" fmla="*/ 145 h 241"/>
                      <a:gd name="T32" fmla="*/ 100 w 211"/>
                      <a:gd name="T33" fmla="*/ 155 h 241"/>
                      <a:gd name="T34" fmla="*/ 82 w 211"/>
                      <a:gd name="T35" fmla="*/ 156 h 241"/>
                      <a:gd name="T36" fmla="*/ 64 w 211"/>
                      <a:gd name="T37" fmla="*/ 167 h 241"/>
                      <a:gd name="T38" fmla="*/ 40 w 211"/>
                      <a:gd name="T39" fmla="*/ 166 h 241"/>
                      <a:gd name="T40" fmla="*/ 15 w 211"/>
                      <a:gd name="T41" fmla="*/ 160 h 241"/>
                      <a:gd name="T42" fmla="*/ 0 w 211"/>
                      <a:gd name="T43" fmla="*/ 144 h 241"/>
                      <a:gd name="T44" fmla="*/ 9 w 211"/>
                      <a:gd name="T45" fmla="*/ 133 h 241"/>
                      <a:gd name="T46" fmla="*/ 14 w 211"/>
                      <a:gd name="T47" fmla="*/ 126 h 241"/>
                      <a:gd name="T48" fmla="*/ 16 w 211"/>
                      <a:gd name="T49" fmla="*/ 113 h 241"/>
                      <a:gd name="T50" fmla="*/ 32 w 211"/>
                      <a:gd name="T51" fmla="*/ 102 h 241"/>
                      <a:gd name="T52" fmla="*/ 50 w 211"/>
                      <a:gd name="T53" fmla="*/ 100 h 241"/>
                      <a:gd name="T54" fmla="*/ 65 w 211"/>
                      <a:gd name="T55" fmla="*/ 95 h 241"/>
                      <a:gd name="T56" fmla="*/ 74 w 211"/>
                      <a:gd name="T57" fmla="*/ 95 h 241"/>
                      <a:gd name="T58" fmla="*/ 153 w 211"/>
                      <a:gd name="T59" fmla="*/ 86 h 241"/>
                      <a:gd name="T60" fmla="*/ 155 w 211"/>
                      <a:gd name="T61" fmla="*/ 97 h 241"/>
                      <a:gd name="T62" fmla="*/ 190 w 211"/>
                      <a:gd name="T63" fmla="*/ 61 h 241"/>
                      <a:gd name="T64" fmla="*/ 198 w 211"/>
                      <a:gd name="T65" fmla="*/ 64 h 241"/>
                      <a:gd name="T66" fmla="*/ 208 w 211"/>
                      <a:gd name="T67" fmla="*/ 55 h 241"/>
                      <a:gd name="T68" fmla="*/ 199 w 211"/>
                      <a:gd name="T69" fmla="*/ 49 h 241"/>
                      <a:gd name="T70" fmla="*/ 209 w 211"/>
                      <a:gd name="T71" fmla="*/ 41 h 241"/>
                      <a:gd name="T72" fmla="*/ 208 w 211"/>
                      <a:gd name="T73" fmla="*/ 55 h 241"/>
                      <a:gd name="T74" fmla="*/ 182 w 211"/>
                      <a:gd name="T75" fmla="*/ 22 h 241"/>
                      <a:gd name="T76" fmla="*/ 169 w 211"/>
                      <a:gd name="T77" fmla="*/ 36 h 241"/>
                      <a:gd name="T78" fmla="*/ 166 w 211"/>
                      <a:gd name="T79" fmla="*/ 46 h 241"/>
                      <a:gd name="T80" fmla="*/ 179 w 211"/>
                      <a:gd name="T81" fmla="*/ 34 h 241"/>
                      <a:gd name="T82" fmla="*/ 196 w 211"/>
                      <a:gd name="T83" fmla="*/ 26 h 241"/>
                      <a:gd name="T84" fmla="*/ 191 w 211"/>
                      <a:gd name="T85" fmla="*/ 44 h 241"/>
                      <a:gd name="T86" fmla="*/ 185 w 211"/>
                      <a:gd name="T87" fmla="*/ 44 h 241"/>
                      <a:gd name="T88" fmla="*/ 170 w 211"/>
                      <a:gd name="T89" fmla="*/ 49 h 241"/>
                      <a:gd name="T90" fmla="*/ 153 w 211"/>
                      <a:gd name="T91" fmla="*/ 45 h 241"/>
                      <a:gd name="T92" fmla="*/ 140 w 211"/>
                      <a:gd name="T93" fmla="*/ 44 h 241"/>
                      <a:gd name="T94" fmla="*/ 130 w 211"/>
                      <a:gd name="T95" fmla="*/ 52 h 241"/>
                      <a:gd name="T96" fmla="*/ 119 w 211"/>
                      <a:gd name="T97" fmla="*/ 55 h 241"/>
                      <a:gd name="T98" fmla="*/ 113 w 211"/>
                      <a:gd name="T99" fmla="*/ 65 h 241"/>
                      <a:gd name="T100" fmla="*/ 104 w 211"/>
                      <a:gd name="T101" fmla="*/ 59 h 241"/>
                      <a:gd name="T102" fmla="*/ 93 w 211"/>
                      <a:gd name="T103" fmla="*/ 51 h 241"/>
                      <a:gd name="T104" fmla="*/ 95 w 211"/>
                      <a:gd name="T105" fmla="*/ 42 h 241"/>
                      <a:gd name="T106" fmla="*/ 105 w 211"/>
                      <a:gd name="T107" fmla="*/ 40 h 241"/>
                      <a:gd name="T108" fmla="*/ 124 w 211"/>
                      <a:gd name="T109" fmla="*/ 26 h 241"/>
                      <a:gd name="T110" fmla="*/ 133 w 211"/>
                      <a:gd name="T111" fmla="*/ 22 h 241"/>
                      <a:gd name="T112" fmla="*/ 153 w 211"/>
                      <a:gd name="T113" fmla="*/ 19 h 241"/>
                      <a:gd name="T114" fmla="*/ 164 w 211"/>
                      <a:gd name="T115" fmla="*/ 6 h 241"/>
                      <a:gd name="T116" fmla="*/ 184 w 211"/>
                      <a:gd name="T117" fmla="*/ 0 h 241"/>
                      <a:gd name="T118" fmla="*/ 194 w 211"/>
                      <a:gd name="T119" fmla="*/ 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1" h="241">
                        <a:moveTo>
                          <a:pt x="77" y="222"/>
                        </a:moveTo>
                        <a:lnTo>
                          <a:pt x="84" y="226"/>
                        </a:lnTo>
                        <a:lnTo>
                          <a:pt x="85" y="230"/>
                        </a:lnTo>
                        <a:lnTo>
                          <a:pt x="79" y="232"/>
                        </a:lnTo>
                        <a:lnTo>
                          <a:pt x="72" y="228"/>
                        </a:lnTo>
                        <a:lnTo>
                          <a:pt x="64" y="232"/>
                        </a:lnTo>
                        <a:lnTo>
                          <a:pt x="57" y="241"/>
                        </a:lnTo>
                        <a:lnTo>
                          <a:pt x="50" y="241"/>
                        </a:lnTo>
                        <a:lnTo>
                          <a:pt x="53" y="233"/>
                        </a:lnTo>
                        <a:lnTo>
                          <a:pt x="58" y="235"/>
                        </a:lnTo>
                        <a:lnTo>
                          <a:pt x="63" y="227"/>
                        </a:lnTo>
                        <a:lnTo>
                          <a:pt x="77" y="222"/>
                        </a:lnTo>
                        <a:close/>
                        <a:moveTo>
                          <a:pt x="147" y="144"/>
                        </a:moveTo>
                        <a:lnTo>
                          <a:pt x="149" y="150"/>
                        </a:lnTo>
                        <a:lnTo>
                          <a:pt x="145" y="155"/>
                        </a:lnTo>
                        <a:lnTo>
                          <a:pt x="140" y="144"/>
                        </a:lnTo>
                        <a:lnTo>
                          <a:pt x="147" y="144"/>
                        </a:lnTo>
                        <a:close/>
                        <a:moveTo>
                          <a:pt x="109" y="126"/>
                        </a:moveTo>
                        <a:lnTo>
                          <a:pt x="107" y="121"/>
                        </a:lnTo>
                        <a:lnTo>
                          <a:pt x="112" y="117"/>
                        </a:lnTo>
                        <a:lnTo>
                          <a:pt x="113" y="122"/>
                        </a:lnTo>
                        <a:lnTo>
                          <a:pt x="109" y="126"/>
                        </a:lnTo>
                        <a:close/>
                        <a:moveTo>
                          <a:pt x="74" y="95"/>
                        </a:moveTo>
                        <a:lnTo>
                          <a:pt x="75" y="100"/>
                        </a:lnTo>
                        <a:lnTo>
                          <a:pt x="79" y="102"/>
                        </a:lnTo>
                        <a:lnTo>
                          <a:pt x="86" y="111"/>
                        </a:lnTo>
                        <a:lnTo>
                          <a:pt x="95" y="116"/>
                        </a:lnTo>
                        <a:lnTo>
                          <a:pt x="96" y="121"/>
                        </a:lnTo>
                        <a:lnTo>
                          <a:pt x="94" y="127"/>
                        </a:lnTo>
                        <a:lnTo>
                          <a:pt x="99" y="136"/>
                        </a:lnTo>
                        <a:lnTo>
                          <a:pt x="95" y="140"/>
                        </a:lnTo>
                        <a:lnTo>
                          <a:pt x="98" y="145"/>
                        </a:lnTo>
                        <a:lnTo>
                          <a:pt x="103" y="151"/>
                        </a:lnTo>
                        <a:lnTo>
                          <a:pt x="100" y="155"/>
                        </a:lnTo>
                        <a:lnTo>
                          <a:pt x="85" y="158"/>
                        </a:lnTo>
                        <a:lnTo>
                          <a:pt x="82" y="156"/>
                        </a:lnTo>
                        <a:lnTo>
                          <a:pt x="73" y="160"/>
                        </a:lnTo>
                        <a:lnTo>
                          <a:pt x="64" y="167"/>
                        </a:lnTo>
                        <a:lnTo>
                          <a:pt x="45" y="170"/>
                        </a:lnTo>
                        <a:lnTo>
                          <a:pt x="40" y="166"/>
                        </a:lnTo>
                        <a:lnTo>
                          <a:pt x="24" y="161"/>
                        </a:lnTo>
                        <a:lnTo>
                          <a:pt x="15" y="160"/>
                        </a:lnTo>
                        <a:lnTo>
                          <a:pt x="5" y="156"/>
                        </a:lnTo>
                        <a:lnTo>
                          <a:pt x="0" y="144"/>
                        </a:lnTo>
                        <a:lnTo>
                          <a:pt x="3" y="136"/>
                        </a:lnTo>
                        <a:lnTo>
                          <a:pt x="9" y="133"/>
                        </a:lnTo>
                        <a:lnTo>
                          <a:pt x="9" y="127"/>
                        </a:lnTo>
                        <a:lnTo>
                          <a:pt x="14" y="126"/>
                        </a:lnTo>
                        <a:lnTo>
                          <a:pt x="11" y="118"/>
                        </a:lnTo>
                        <a:lnTo>
                          <a:pt x="16" y="113"/>
                        </a:lnTo>
                        <a:lnTo>
                          <a:pt x="29" y="102"/>
                        </a:lnTo>
                        <a:lnTo>
                          <a:pt x="32" y="102"/>
                        </a:lnTo>
                        <a:lnTo>
                          <a:pt x="41" y="97"/>
                        </a:lnTo>
                        <a:lnTo>
                          <a:pt x="50" y="100"/>
                        </a:lnTo>
                        <a:lnTo>
                          <a:pt x="58" y="95"/>
                        </a:lnTo>
                        <a:lnTo>
                          <a:pt x="65" y="95"/>
                        </a:lnTo>
                        <a:lnTo>
                          <a:pt x="69" y="91"/>
                        </a:lnTo>
                        <a:lnTo>
                          <a:pt x="74" y="95"/>
                        </a:lnTo>
                        <a:close/>
                        <a:moveTo>
                          <a:pt x="155" y="97"/>
                        </a:moveTo>
                        <a:lnTo>
                          <a:pt x="153" y="86"/>
                        </a:lnTo>
                        <a:lnTo>
                          <a:pt x="158" y="86"/>
                        </a:lnTo>
                        <a:lnTo>
                          <a:pt x="155" y="97"/>
                        </a:lnTo>
                        <a:close/>
                        <a:moveTo>
                          <a:pt x="194" y="66"/>
                        </a:moveTo>
                        <a:lnTo>
                          <a:pt x="190" y="61"/>
                        </a:lnTo>
                        <a:lnTo>
                          <a:pt x="197" y="55"/>
                        </a:lnTo>
                        <a:lnTo>
                          <a:pt x="198" y="64"/>
                        </a:lnTo>
                        <a:lnTo>
                          <a:pt x="194" y="66"/>
                        </a:lnTo>
                        <a:close/>
                        <a:moveTo>
                          <a:pt x="208" y="55"/>
                        </a:moveTo>
                        <a:lnTo>
                          <a:pt x="199" y="61"/>
                        </a:lnTo>
                        <a:lnTo>
                          <a:pt x="199" y="49"/>
                        </a:lnTo>
                        <a:lnTo>
                          <a:pt x="205" y="41"/>
                        </a:lnTo>
                        <a:lnTo>
                          <a:pt x="209" y="41"/>
                        </a:lnTo>
                        <a:lnTo>
                          <a:pt x="211" y="49"/>
                        </a:lnTo>
                        <a:lnTo>
                          <a:pt x="208" y="55"/>
                        </a:lnTo>
                        <a:close/>
                        <a:moveTo>
                          <a:pt x="194" y="4"/>
                        </a:moveTo>
                        <a:lnTo>
                          <a:pt x="182" y="22"/>
                        </a:lnTo>
                        <a:lnTo>
                          <a:pt x="172" y="29"/>
                        </a:lnTo>
                        <a:lnTo>
                          <a:pt x="169" y="36"/>
                        </a:lnTo>
                        <a:lnTo>
                          <a:pt x="163" y="42"/>
                        </a:lnTo>
                        <a:lnTo>
                          <a:pt x="166" y="46"/>
                        </a:lnTo>
                        <a:lnTo>
                          <a:pt x="173" y="42"/>
                        </a:lnTo>
                        <a:lnTo>
                          <a:pt x="179" y="34"/>
                        </a:lnTo>
                        <a:lnTo>
                          <a:pt x="189" y="26"/>
                        </a:lnTo>
                        <a:lnTo>
                          <a:pt x="196" y="26"/>
                        </a:lnTo>
                        <a:lnTo>
                          <a:pt x="190" y="36"/>
                        </a:lnTo>
                        <a:lnTo>
                          <a:pt x="191" y="44"/>
                        </a:lnTo>
                        <a:lnTo>
                          <a:pt x="190" y="47"/>
                        </a:lnTo>
                        <a:lnTo>
                          <a:pt x="185" y="44"/>
                        </a:lnTo>
                        <a:lnTo>
                          <a:pt x="174" y="46"/>
                        </a:lnTo>
                        <a:lnTo>
                          <a:pt x="170" y="49"/>
                        </a:lnTo>
                        <a:lnTo>
                          <a:pt x="149" y="51"/>
                        </a:lnTo>
                        <a:lnTo>
                          <a:pt x="153" y="45"/>
                        </a:lnTo>
                        <a:lnTo>
                          <a:pt x="146" y="41"/>
                        </a:lnTo>
                        <a:lnTo>
                          <a:pt x="140" y="44"/>
                        </a:lnTo>
                        <a:lnTo>
                          <a:pt x="136" y="49"/>
                        </a:lnTo>
                        <a:lnTo>
                          <a:pt x="130" y="52"/>
                        </a:lnTo>
                        <a:lnTo>
                          <a:pt x="129" y="60"/>
                        </a:lnTo>
                        <a:lnTo>
                          <a:pt x="119" y="55"/>
                        </a:lnTo>
                        <a:lnTo>
                          <a:pt x="115" y="59"/>
                        </a:lnTo>
                        <a:lnTo>
                          <a:pt x="113" y="65"/>
                        </a:lnTo>
                        <a:lnTo>
                          <a:pt x="106" y="66"/>
                        </a:lnTo>
                        <a:lnTo>
                          <a:pt x="104" y="59"/>
                        </a:lnTo>
                        <a:lnTo>
                          <a:pt x="99" y="49"/>
                        </a:lnTo>
                        <a:lnTo>
                          <a:pt x="93" y="51"/>
                        </a:lnTo>
                        <a:lnTo>
                          <a:pt x="91" y="47"/>
                        </a:lnTo>
                        <a:lnTo>
                          <a:pt x="95" y="42"/>
                        </a:lnTo>
                        <a:lnTo>
                          <a:pt x="98" y="35"/>
                        </a:lnTo>
                        <a:lnTo>
                          <a:pt x="105" y="40"/>
                        </a:lnTo>
                        <a:lnTo>
                          <a:pt x="118" y="30"/>
                        </a:lnTo>
                        <a:lnTo>
                          <a:pt x="124" y="26"/>
                        </a:lnTo>
                        <a:lnTo>
                          <a:pt x="123" y="24"/>
                        </a:lnTo>
                        <a:lnTo>
                          <a:pt x="133" y="22"/>
                        </a:lnTo>
                        <a:lnTo>
                          <a:pt x="146" y="17"/>
                        </a:lnTo>
                        <a:lnTo>
                          <a:pt x="153" y="19"/>
                        </a:lnTo>
                        <a:lnTo>
                          <a:pt x="158" y="16"/>
                        </a:lnTo>
                        <a:lnTo>
                          <a:pt x="164" y="6"/>
                        </a:lnTo>
                        <a:lnTo>
                          <a:pt x="169" y="7"/>
                        </a:lnTo>
                        <a:lnTo>
                          <a:pt x="184" y="0"/>
                        </a:lnTo>
                        <a:lnTo>
                          <a:pt x="185" y="4"/>
                        </a:lnTo>
                        <a:lnTo>
                          <a:pt x="194" y="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0" name="Falkland Islands" descr="{&quot;Key&quot;:&quot;falkland islands&quot;,&quot;Name&quot;:&quot;Falkland Islands&quot;,&quot;Value&quot;:1.0,&quot;Formula&quot;:&quot;&quot;,&quot;Text&quot;:&quot;&quot;,&quot;OfficeApplication&quot;:1,&quot;HasValue&quot;:true}">
                    <a:extLst>
                      <a:ext uri="{FF2B5EF4-FFF2-40B4-BE49-F238E27FC236}">
                        <a16:creationId xmlns:a16="http://schemas.microsoft.com/office/drawing/2014/main" id="{7467A1B5-0848-C45F-CAF4-73931505D843}"/>
                      </a:ext>
                    </a:extLst>
                  </p:cNvPr>
                  <p:cNvSpPr>
                    <a:spLocks noEditPoints="1"/>
                  </p:cNvSpPr>
                  <p:nvPr/>
                </p:nvSpPr>
                <p:spPr bwMode="auto">
                  <a:xfrm>
                    <a:off x="6367" y="3941"/>
                    <a:ext cx="67" cy="23"/>
                  </a:xfrm>
                  <a:custGeom>
                    <a:avLst/>
                    <a:gdLst>
                      <a:gd name="T0" fmla="*/ 152 w 237"/>
                      <a:gd name="T1" fmla="*/ 60 h 83"/>
                      <a:gd name="T2" fmla="*/ 14 w 237"/>
                      <a:gd name="T3" fmla="*/ 54 h 83"/>
                      <a:gd name="T4" fmla="*/ 7 w 237"/>
                      <a:gd name="T5" fmla="*/ 45 h 83"/>
                      <a:gd name="T6" fmla="*/ 154 w 237"/>
                      <a:gd name="T7" fmla="*/ 11 h 83"/>
                      <a:gd name="T8" fmla="*/ 126 w 237"/>
                      <a:gd name="T9" fmla="*/ 29 h 83"/>
                      <a:gd name="T10" fmla="*/ 96 w 237"/>
                      <a:gd name="T11" fmla="*/ 42 h 83"/>
                      <a:gd name="T12" fmla="*/ 50 w 237"/>
                      <a:gd name="T13" fmla="*/ 57 h 83"/>
                      <a:gd name="T14" fmla="*/ 29 w 237"/>
                      <a:gd name="T15" fmla="*/ 70 h 83"/>
                      <a:gd name="T16" fmla="*/ 3 w 237"/>
                      <a:gd name="T17" fmla="*/ 71 h 83"/>
                      <a:gd name="T18" fmla="*/ 7 w 237"/>
                      <a:gd name="T19" fmla="*/ 61 h 83"/>
                      <a:gd name="T20" fmla="*/ 35 w 237"/>
                      <a:gd name="T21" fmla="*/ 56 h 83"/>
                      <a:gd name="T22" fmla="*/ 55 w 237"/>
                      <a:gd name="T23" fmla="*/ 40 h 83"/>
                      <a:gd name="T24" fmla="*/ 54 w 237"/>
                      <a:gd name="T25" fmla="*/ 40 h 83"/>
                      <a:gd name="T26" fmla="*/ 55 w 237"/>
                      <a:gd name="T27" fmla="*/ 35 h 83"/>
                      <a:gd name="T28" fmla="*/ 74 w 237"/>
                      <a:gd name="T29" fmla="*/ 25 h 83"/>
                      <a:gd name="T30" fmla="*/ 67 w 237"/>
                      <a:gd name="T31" fmla="*/ 13 h 83"/>
                      <a:gd name="T32" fmla="*/ 82 w 237"/>
                      <a:gd name="T33" fmla="*/ 16 h 83"/>
                      <a:gd name="T34" fmla="*/ 119 w 237"/>
                      <a:gd name="T35" fmla="*/ 13 h 83"/>
                      <a:gd name="T36" fmla="*/ 134 w 237"/>
                      <a:gd name="T37" fmla="*/ 16 h 83"/>
                      <a:gd name="T38" fmla="*/ 149 w 237"/>
                      <a:gd name="T39" fmla="*/ 8 h 83"/>
                      <a:gd name="T40" fmla="*/ 99 w 237"/>
                      <a:gd name="T41" fmla="*/ 13 h 83"/>
                      <a:gd name="T42" fmla="*/ 190 w 237"/>
                      <a:gd name="T43" fmla="*/ 6 h 83"/>
                      <a:gd name="T44" fmla="*/ 205 w 237"/>
                      <a:gd name="T45" fmla="*/ 15 h 83"/>
                      <a:gd name="T46" fmla="*/ 200 w 237"/>
                      <a:gd name="T47" fmla="*/ 28 h 83"/>
                      <a:gd name="T48" fmla="*/ 210 w 237"/>
                      <a:gd name="T49" fmla="*/ 14 h 83"/>
                      <a:gd name="T50" fmla="*/ 235 w 237"/>
                      <a:gd name="T51" fmla="*/ 18 h 83"/>
                      <a:gd name="T52" fmla="*/ 211 w 237"/>
                      <a:gd name="T53" fmla="*/ 23 h 83"/>
                      <a:gd name="T54" fmla="*/ 225 w 237"/>
                      <a:gd name="T55" fmla="*/ 31 h 83"/>
                      <a:gd name="T56" fmla="*/ 187 w 237"/>
                      <a:gd name="T57" fmla="*/ 45 h 83"/>
                      <a:gd name="T58" fmla="*/ 149 w 237"/>
                      <a:gd name="T59" fmla="*/ 50 h 83"/>
                      <a:gd name="T60" fmla="*/ 150 w 237"/>
                      <a:gd name="T61" fmla="*/ 55 h 83"/>
                      <a:gd name="T62" fmla="*/ 125 w 237"/>
                      <a:gd name="T63" fmla="*/ 63 h 83"/>
                      <a:gd name="T64" fmla="*/ 109 w 237"/>
                      <a:gd name="T65" fmla="*/ 69 h 83"/>
                      <a:gd name="T66" fmla="*/ 97 w 237"/>
                      <a:gd name="T67" fmla="*/ 75 h 83"/>
                      <a:gd name="T68" fmla="*/ 87 w 237"/>
                      <a:gd name="T69" fmla="*/ 78 h 83"/>
                      <a:gd name="T70" fmla="*/ 77 w 237"/>
                      <a:gd name="T71" fmla="*/ 68 h 83"/>
                      <a:gd name="T72" fmla="*/ 106 w 237"/>
                      <a:gd name="T73" fmla="*/ 49 h 83"/>
                      <a:gd name="T74" fmla="*/ 120 w 237"/>
                      <a:gd name="T75" fmla="*/ 41 h 83"/>
                      <a:gd name="T76" fmla="*/ 146 w 237"/>
                      <a:gd name="T77" fmla="*/ 25 h 83"/>
                      <a:gd name="T78" fmla="*/ 156 w 237"/>
                      <a:gd name="T79" fmla="*/ 16 h 83"/>
                      <a:gd name="T80" fmla="*/ 180 w 237"/>
                      <a:gd name="T81" fmla="*/ 7 h 83"/>
                      <a:gd name="T82" fmla="*/ 190 w 237"/>
                      <a:gd name="T83" fmla="*/ 6 h 83"/>
                      <a:gd name="T84" fmla="*/ 146 w 237"/>
                      <a:gd name="T85" fmla="*/ 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7" h="83">
                        <a:moveTo>
                          <a:pt x="160" y="59"/>
                        </a:moveTo>
                        <a:lnTo>
                          <a:pt x="154" y="65"/>
                        </a:lnTo>
                        <a:lnTo>
                          <a:pt x="152" y="60"/>
                        </a:lnTo>
                        <a:lnTo>
                          <a:pt x="160" y="59"/>
                        </a:lnTo>
                        <a:close/>
                        <a:moveTo>
                          <a:pt x="21" y="48"/>
                        </a:moveTo>
                        <a:lnTo>
                          <a:pt x="14" y="54"/>
                        </a:lnTo>
                        <a:lnTo>
                          <a:pt x="5" y="54"/>
                        </a:lnTo>
                        <a:lnTo>
                          <a:pt x="4" y="50"/>
                        </a:lnTo>
                        <a:lnTo>
                          <a:pt x="7" y="45"/>
                        </a:lnTo>
                        <a:lnTo>
                          <a:pt x="21" y="48"/>
                        </a:lnTo>
                        <a:close/>
                        <a:moveTo>
                          <a:pt x="149" y="8"/>
                        </a:moveTo>
                        <a:lnTo>
                          <a:pt x="154" y="11"/>
                        </a:lnTo>
                        <a:lnTo>
                          <a:pt x="147" y="16"/>
                        </a:lnTo>
                        <a:lnTo>
                          <a:pt x="136" y="21"/>
                        </a:lnTo>
                        <a:lnTo>
                          <a:pt x="126" y="29"/>
                        </a:lnTo>
                        <a:lnTo>
                          <a:pt x="121" y="29"/>
                        </a:lnTo>
                        <a:lnTo>
                          <a:pt x="105" y="39"/>
                        </a:lnTo>
                        <a:lnTo>
                          <a:pt x="96" y="42"/>
                        </a:lnTo>
                        <a:lnTo>
                          <a:pt x="76" y="55"/>
                        </a:lnTo>
                        <a:lnTo>
                          <a:pt x="65" y="57"/>
                        </a:lnTo>
                        <a:lnTo>
                          <a:pt x="50" y="57"/>
                        </a:lnTo>
                        <a:lnTo>
                          <a:pt x="44" y="64"/>
                        </a:lnTo>
                        <a:lnTo>
                          <a:pt x="32" y="70"/>
                        </a:lnTo>
                        <a:lnTo>
                          <a:pt x="29" y="70"/>
                        </a:lnTo>
                        <a:lnTo>
                          <a:pt x="11" y="78"/>
                        </a:lnTo>
                        <a:lnTo>
                          <a:pt x="9" y="73"/>
                        </a:lnTo>
                        <a:lnTo>
                          <a:pt x="3" y="71"/>
                        </a:lnTo>
                        <a:lnTo>
                          <a:pt x="0" y="64"/>
                        </a:lnTo>
                        <a:lnTo>
                          <a:pt x="1" y="60"/>
                        </a:lnTo>
                        <a:lnTo>
                          <a:pt x="7" y="61"/>
                        </a:lnTo>
                        <a:lnTo>
                          <a:pt x="18" y="59"/>
                        </a:lnTo>
                        <a:lnTo>
                          <a:pt x="16" y="55"/>
                        </a:lnTo>
                        <a:lnTo>
                          <a:pt x="35" y="56"/>
                        </a:lnTo>
                        <a:lnTo>
                          <a:pt x="46" y="53"/>
                        </a:lnTo>
                        <a:lnTo>
                          <a:pt x="46" y="49"/>
                        </a:lnTo>
                        <a:lnTo>
                          <a:pt x="55" y="40"/>
                        </a:lnTo>
                        <a:lnTo>
                          <a:pt x="65" y="41"/>
                        </a:lnTo>
                        <a:lnTo>
                          <a:pt x="64" y="36"/>
                        </a:lnTo>
                        <a:lnTo>
                          <a:pt x="54" y="40"/>
                        </a:lnTo>
                        <a:lnTo>
                          <a:pt x="46" y="40"/>
                        </a:lnTo>
                        <a:lnTo>
                          <a:pt x="50" y="33"/>
                        </a:lnTo>
                        <a:lnTo>
                          <a:pt x="55" y="35"/>
                        </a:lnTo>
                        <a:lnTo>
                          <a:pt x="65" y="33"/>
                        </a:lnTo>
                        <a:lnTo>
                          <a:pt x="77" y="31"/>
                        </a:lnTo>
                        <a:lnTo>
                          <a:pt x="74" y="25"/>
                        </a:lnTo>
                        <a:lnTo>
                          <a:pt x="67" y="21"/>
                        </a:lnTo>
                        <a:lnTo>
                          <a:pt x="77" y="15"/>
                        </a:lnTo>
                        <a:lnTo>
                          <a:pt x="67" y="13"/>
                        </a:lnTo>
                        <a:lnTo>
                          <a:pt x="72" y="8"/>
                        </a:lnTo>
                        <a:lnTo>
                          <a:pt x="79" y="10"/>
                        </a:lnTo>
                        <a:lnTo>
                          <a:pt x="82" y="16"/>
                        </a:lnTo>
                        <a:lnTo>
                          <a:pt x="91" y="19"/>
                        </a:lnTo>
                        <a:lnTo>
                          <a:pt x="105" y="11"/>
                        </a:lnTo>
                        <a:lnTo>
                          <a:pt x="119" y="13"/>
                        </a:lnTo>
                        <a:lnTo>
                          <a:pt x="119" y="15"/>
                        </a:lnTo>
                        <a:lnTo>
                          <a:pt x="132" y="14"/>
                        </a:lnTo>
                        <a:lnTo>
                          <a:pt x="134" y="16"/>
                        </a:lnTo>
                        <a:lnTo>
                          <a:pt x="141" y="14"/>
                        </a:lnTo>
                        <a:lnTo>
                          <a:pt x="143" y="9"/>
                        </a:lnTo>
                        <a:lnTo>
                          <a:pt x="149" y="8"/>
                        </a:lnTo>
                        <a:close/>
                        <a:moveTo>
                          <a:pt x="100" y="4"/>
                        </a:moveTo>
                        <a:lnTo>
                          <a:pt x="107" y="6"/>
                        </a:lnTo>
                        <a:lnTo>
                          <a:pt x="99" y="13"/>
                        </a:lnTo>
                        <a:lnTo>
                          <a:pt x="91" y="11"/>
                        </a:lnTo>
                        <a:lnTo>
                          <a:pt x="100" y="4"/>
                        </a:lnTo>
                        <a:close/>
                        <a:moveTo>
                          <a:pt x="190" y="6"/>
                        </a:moveTo>
                        <a:lnTo>
                          <a:pt x="207" y="4"/>
                        </a:lnTo>
                        <a:lnTo>
                          <a:pt x="211" y="9"/>
                        </a:lnTo>
                        <a:lnTo>
                          <a:pt x="205" y="15"/>
                        </a:lnTo>
                        <a:lnTo>
                          <a:pt x="199" y="15"/>
                        </a:lnTo>
                        <a:lnTo>
                          <a:pt x="197" y="19"/>
                        </a:lnTo>
                        <a:lnTo>
                          <a:pt x="200" y="28"/>
                        </a:lnTo>
                        <a:lnTo>
                          <a:pt x="207" y="23"/>
                        </a:lnTo>
                        <a:lnTo>
                          <a:pt x="201" y="20"/>
                        </a:lnTo>
                        <a:lnTo>
                          <a:pt x="210" y="14"/>
                        </a:lnTo>
                        <a:lnTo>
                          <a:pt x="216" y="11"/>
                        </a:lnTo>
                        <a:lnTo>
                          <a:pt x="237" y="10"/>
                        </a:lnTo>
                        <a:lnTo>
                          <a:pt x="235" y="18"/>
                        </a:lnTo>
                        <a:lnTo>
                          <a:pt x="231" y="24"/>
                        </a:lnTo>
                        <a:lnTo>
                          <a:pt x="221" y="20"/>
                        </a:lnTo>
                        <a:lnTo>
                          <a:pt x="211" y="23"/>
                        </a:lnTo>
                        <a:lnTo>
                          <a:pt x="215" y="26"/>
                        </a:lnTo>
                        <a:lnTo>
                          <a:pt x="225" y="28"/>
                        </a:lnTo>
                        <a:lnTo>
                          <a:pt x="225" y="31"/>
                        </a:lnTo>
                        <a:lnTo>
                          <a:pt x="215" y="38"/>
                        </a:lnTo>
                        <a:lnTo>
                          <a:pt x="195" y="40"/>
                        </a:lnTo>
                        <a:lnTo>
                          <a:pt x="187" y="45"/>
                        </a:lnTo>
                        <a:lnTo>
                          <a:pt x="170" y="50"/>
                        </a:lnTo>
                        <a:lnTo>
                          <a:pt x="165" y="49"/>
                        </a:lnTo>
                        <a:lnTo>
                          <a:pt x="149" y="50"/>
                        </a:lnTo>
                        <a:lnTo>
                          <a:pt x="142" y="43"/>
                        </a:lnTo>
                        <a:lnTo>
                          <a:pt x="139" y="49"/>
                        </a:lnTo>
                        <a:lnTo>
                          <a:pt x="150" y="55"/>
                        </a:lnTo>
                        <a:lnTo>
                          <a:pt x="141" y="66"/>
                        </a:lnTo>
                        <a:lnTo>
                          <a:pt x="136" y="61"/>
                        </a:lnTo>
                        <a:lnTo>
                          <a:pt x="125" y="63"/>
                        </a:lnTo>
                        <a:lnTo>
                          <a:pt x="119" y="58"/>
                        </a:lnTo>
                        <a:lnTo>
                          <a:pt x="114" y="59"/>
                        </a:lnTo>
                        <a:lnTo>
                          <a:pt x="109" y="69"/>
                        </a:lnTo>
                        <a:lnTo>
                          <a:pt x="109" y="75"/>
                        </a:lnTo>
                        <a:lnTo>
                          <a:pt x="105" y="76"/>
                        </a:lnTo>
                        <a:lnTo>
                          <a:pt x="97" y="75"/>
                        </a:lnTo>
                        <a:lnTo>
                          <a:pt x="95" y="68"/>
                        </a:lnTo>
                        <a:lnTo>
                          <a:pt x="85" y="75"/>
                        </a:lnTo>
                        <a:lnTo>
                          <a:pt x="87" y="78"/>
                        </a:lnTo>
                        <a:lnTo>
                          <a:pt x="80" y="83"/>
                        </a:lnTo>
                        <a:lnTo>
                          <a:pt x="74" y="74"/>
                        </a:lnTo>
                        <a:lnTo>
                          <a:pt x="77" y="68"/>
                        </a:lnTo>
                        <a:lnTo>
                          <a:pt x="91" y="60"/>
                        </a:lnTo>
                        <a:lnTo>
                          <a:pt x="94" y="54"/>
                        </a:lnTo>
                        <a:lnTo>
                          <a:pt x="106" y="49"/>
                        </a:lnTo>
                        <a:lnTo>
                          <a:pt x="109" y="46"/>
                        </a:lnTo>
                        <a:lnTo>
                          <a:pt x="116" y="45"/>
                        </a:lnTo>
                        <a:lnTo>
                          <a:pt x="120" y="41"/>
                        </a:lnTo>
                        <a:lnTo>
                          <a:pt x="134" y="35"/>
                        </a:lnTo>
                        <a:lnTo>
                          <a:pt x="144" y="34"/>
                        </a:lnTo>
                        <a:lnTo>
                          <a:pt x="146" y="25"/>
                        </a:lnTo>
                        <a:lnTo>
                          <a:pt x="154" y="24"/>
                        </a:lnTo>
                        <a:lnTo>
                          <a:pt x="161" y="19"/>
                        </a:lnTo>
                        <a:lnTo>
                          <a:pt x="156" y="16"/>
                        </a:lnTo>
                        <a:lnTo>
                          <a:pt x="162" y="12"/>
                        </a:lnTo>
                        <a:lnTo>
                          <a:pt x="175" y="10"/>
                        </a:lnTo>
                        <a:lnTo>
                          <a:pt x="180" y="7"/>
                        </a:lnTo>
                        <a:lnTo>
                          <a:pt x="181" y="4"/>
                        </a:lnTo>
                        <a:lnTo>
                          <a:pt x="186" y="4"/>
                        </a:lnTo>
                        <a:lnTo>
                          <a:pt x="190" y="6"/>
                        </a:lnTo>
                        <a:close/>
                        <a:moveTo>
                          <a:pt x="134" y="0"/>
                        </a:moveTo>
                        <a:lnTo>
                          <a:pt x="146" y="1"/>
                        </a:lnTo>
                        <a:lnTo>
                          <a:pt x="146" y="6"/>
                        </a:lnTo>
                        <a:lnTo>
                          <a:pt x="137" y="6"/>
                        </a:lnTo>
                        <a:lnTo>
                          <a:pt x="134"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1" name="Feroe Islands" descr="{&quot;Key&quot;:&quot;feroe islands&quot;,&quot;Name&quot;:&quot;Feroe Islands&quot;,&quot;Value&quot;:1.0,&quot;Formula&quot;:&quot;&quot;,&quot;Text&quot;:&quot;&quot;,&quot;OfficeApplication&quot;:1,&quot;HasValue&quot;:true}">
                    <a:extLst>
                      <a:ext uri="{FF2B5EF4-FFF2-40B4-BE49-F238E27FC236}">
                        <a16:creationId xmlns:a16="http://schemas.microsoft.com/office/drawing/2014/main" id="{F33CB67F-54B6-4D69-A1BC-1BBB141772FF}"/>
                      </a:ext>
                    </a:extLst>
                  </p:cNvPr>
                  <p:cNvSpPr>
                    <a:spLocks noEditPoints="1"/>
                  </p:cNvSpPr>
                  <p:nvPr/>
                </p:nvSpPr>
                <p:spPr bwMode="auto">
                  <a:xfrm>
                    <a:off x="1345" y="1394"/>
                    <a:ext cx="26" cy="19"/>
                  </a:xfrm>
                  <a:custGeom>
                    <a:avLst/>
                    <a:gdLst>
                      <a:gd name="T0" fmla="*/ 10 w 93"/>
                      <a:gd name="T1" fmla="*/ 53 h 70"/>
                      <a:gd name="T2" fmla="*/ 13 w 93"/>
                      <a:gd name="T3" fmla="*/ 58 h 70"/>
                      <a:gd name="T4" fmla="*/ 2 w 93"/>
                      <a:gd name="T5" fmla="*/ 70 h 70"/>
                      <a:gd name="T6" fmla="*/ 0 w 93"/>
                      <a:gd name="T7" fmla="*/ 64 h 70"/>
                      <a:gd name="T8" fmla="*/ 6 w 93"/>
                      <a:gd name="T9" fmla="*/ 53 h 70"/>
                      <a:gd name="T10" fmla="*/ 10 w 93"/>
                      <a:gd name="T11" fmla="*/ 53 h 70"/>
                      <a:gd name="T12" fmla="*/ 36 w 93"/>
                      <a:gd name="T13" fmla="*/ 33 h 70"/>
                      <a:gd name="T14" fmla="*/ 43 w 93"/>
                      <a:gd name="T15" fmla="*/ 35 h 70"/>
                      <a:gd name="T16" fmla="*/ 42 w 93"/>
                      <a:gd name="T17" fmla="*/ 39 h 70"/>
                      <a:gd name="T18" fmla="*/ 37 w 93"/>
                      <a:gd name="T19" fmla="*/ 43 h 70"/>
                      <a:gd name="T20" fmla="*/ 35 w 93"/>
                      <a:gd name="T21" fmla="*/ 39 h 70"/>
                      <a:gd name="T22" fmla="*/ 36 w 93"/>
                      <a:gd name="T23" fmla="*/ 33 h 70"/>
                      <a:gd name="T24" fmla="*/ 38 w 93"/>
                      <a:gd name="T25" fmla="*/ 15 h 70"/>
                      <a:gd name="T26" fmla="*/ 37 w 93"/>
                      <a:gd name="T27" fmla="*/ 21 h 70"/>
                      <a:gd name="T28" fmla="*/ 28 w 93"/>
                      <a:gd name="T29" fmla="*/ 23 h 70"/>
                      <a:gd name="T30" fmla="*/ 21 w 93"/>
                      <a:gd name="T31" fmla="*/ 20 h 70"/>
                      <a:gd name="T32" fmla="*/ 23 w 93"/>
                      <a:gd name="T33" fmla="*/ 16 h 70"/>
                      <a:gd name="T34" fmla="*/ 33 w 93"/>
                      <a:gd name="T35" fmla="*/ 14 h 70"/>
                      <a:gd name="T36" fmla="*/ 38 w 93"/>
                      <a:gd name="T37" fmla="*/ 15 h 70"/>
                      <a:gd name="T38" fmla="*/ 52 w 93"/>
                      <a:gd name="T39" fmla="*/ 3 h 70"/>
                      <a:gd name="T40" fmla="*/ 57 w 93"/>
                      <a:gd name="T41" fmla="*/ 4 h 70"/>
                      <a:gd name="T42" fmla="*/ 55 w 93"/>
                      <a:gd name="T43" fmla="*/ 10 h 70"/>
                      <a:gd name="T44" fmla="*/ 57 w 93"/>
                      <a:gd name="T45" fmla="*/ 14 h 70"/>
                      <a:gd name="T46" fmla="*/ 55 w 93"/>
                      <a:gd name="T47" fmla="*/ 23 h 70"/>
                      <a:gd name="T48" fmla="*/ 46 w 93"/>
                      <a:gd name="T49" fmla="*/ 30 h 70"/>
                      <a:gd name="T50" fmla="*/ 43 w 93"/>
                      <a:gd name="T51" fmla="*/ 25 h 70"/>
                      <a:gd name="T52" fmla="*/ 45 w 93"/>
                      <a:gd name="T53" fmla="*/ 16 h 70"/>
                      <a:gd name="T54" fmla="*/ 38 w 93"/>
                      <a:gd name="T55" fmla="*/ 12 h 70"/>
                      <a:gd name="T56" fmla="*/ 52 w 93"/>
                      <a:gd name="T57" fmla="*/ 3 h 70"/>
                      <a:gd name="T58" fmla="*/ 71 w 93"/>
                      <a:gd name="T59" fmla="*/ 1 h 70"/>
                      <a:gd name="T60" fmla="*/ 73 w 93"/>
                      <a:gd name="T61" fmla="*/ 5 h 70"/>
                      <a:gd name="T62" fmla="*/ 67 w 93"/>
                      <a:gd name="T63" fmla="*/ 11 h 70"/>
                      <a:gd name="T64" fmla="*/ 70 w 93"/>
                      <a:gd name="T65" fmla="*/ 16 h 70"/>
                      <a:gd name="T66" fmla="*/ 60 w 93"/>
                      <a:gd name="T67" fmla="*/ 20 h 70"/>
                      <a:gd name="T68" fmla="*/ 56 w 93"/>
                      <a:gd name="T69" fmla="*/ 8 h 70"/>
                      <a:gd name="T70" fmla="*/ 61 w 93"/>
                      <a:gd name="T71" fmla="*/ 3 h 70"/>
                      <a:gd name="T72" fmla="*/ 71 w 93"/>
                      <a:gd name="T73" fmla="*/ 1 h 70"/>
                      <a:gd name="T74" fmla="*/ 93 w 93"/>
                      <a:gd name="T75" fmla="*/ 6 h 70"/>
                      <a:gd name="T76" fmla="*/ 83 w 93"/>
                      <a:gd name="T77" fmla="*/ 11 h 70"/>
                      <a:gd name="T78" fmla="*/ 86 w 93"/>
                      <a:gd name="T79" fmla="*/ 5 h 70"/>
                      <a:gd name="T80" fmla="*/ 91 w 93"/>
                      <a:gd name="T81" fmla="*/ 0 h 70"/>
                      <a:gd name="T82" fmla="*/ 93 w 93"/>
                      <a:gd name="T83" fmla="*/ 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 h="70">
                        <a:moveTo>
                          <a:pt x="10" y="53"/>
                        </a:moveTo>
                        <a:lnTo>
                          <a:pt x="13" y="58"/>
                        </a:lnTo>
                        <a:lnTo>
                          <a:pt x="2" y="70"/>
                        </a:lnTo>
                        <a:lnTo>
                          <a:pt x="0" y="64"/>
                        </a:lnTo>
                        <a:lnTo>
                          <a:pt x="6" y="53"/>
                        </a:lnTo>
                        <a:lnTo>
                          <a:pt x="10" y="53"/>
                        </a:lnTo>
                        <a:close/>
                        <a:moveTo>
                          <a:pt x="36" y="33"/>
                        </a:moveTo>
                        <a:lnTo>
                          <a:pt x="43" y="35"/>
                        </a:lnTo>
                        <a:lnTo>
                          <a:pt x="42" y="39"/>
                        </a:lnTo>
                        <a:lnTo>
                          <a:pt x="37" y="43"/>
                        </a:lnTo>
                        <a:lnTo>
                          <a:pt x="35" y="39"/>
                        </a:lnTo>
                        <a:lnTo>
                          <a:pt x="36" y="33"/>
                        </a:lnTo>
                        <a:close/>
                        <a:moveTo>
                          <a:pt x="38" y="15"/>
                        </a:moveTo>
                        <a:lnTo>
                          <a:pt x="37" y="21"/>
                        </a:lnTo>
                        <a:lnTo>
                          <a:pt x="28" y="23"/>
                        </a:lnTo>
                        <a:lnTo>
                          <a:pt x="21" y="20"/>
                        </a:lnTo>
                        <a:lnTo>
                          <a:pt x="23" y="16"/>
                        </a:lnTo>
                        <a:lnTo>
                          <a:pt x="33" y="14"/>
                        </a:lnTo>
                        <a:lnTo>
                          <a:pt x="38" y="15"/>
                        </a:lnTo>
                        <a:close/>
                        <a:moveTo>
                          <a:pt x="52" y="3"/>
                        </a:moveTo>
                        <a:lnTo>
                          <a:pt x="57" y="4"/>
                        </a:lnTo>
                        <a:lnTo>
                          <a:pt x="55" y="10"/>
                        </a:lnTo>
                        <a:lnTo>
                          <a:pt x="57" y="14"/>
                        </a:lnTo>
                        <a:lnTo>
                          <a:pt x="55" y="23"/>
                        </a:lnTo>
                        <a:lnTo>
                          <a:pt x="46" y="30"/>
                        </a:lnTo>
                        <a:lnTo>
                          <a:pt x="43" y="25"/>
                        </a:lnTo>
                        <a:lnTo>
                          <a:pt x="45" y="16"/>
                        </a:lnTo>
                        <a:lnTo>
                          <a:pt x="38" y="12"/>
                        </a:lnTo>
                        <a:lnTo>
                          <a:pt x="52" y="3"/>
                        </a:lnTo>
                        <a:close/>
                        <a:moveTo>
                          <a:pt x="71" y="1"/>
                        </a:moveTo>
                        <a:lnTo>
                          <a:pt x="73" y="5"/>
                        </a:lnTo>
                        <a:lnTo>
                          <a:pt x="67" y="11"/>
                        </a:lnTo>
                        <a:lnTo>
                          <a:pt x="70" y="16"/>
                        </a:lnTo>
                        <a:lnTo>
                          <a:pt x="60" y="20"/>
                        </a:lnTo>
                        <a:lnTo>
                          <a:pt x="56" y="8"/>
                        </a:lnTo>
                        <a:lnTo>
                          <a:pt x="61" y="3"/>
                        </a:lnTo>
                        <a:lnTo>
                          <a:pt x="71" y="1"/>
                        </a:lnTo>
                        <a:close/>
                        <a:moveTo>
                          <a:pt x="93" y="6"/>
                        </a:moveTo>
                        <a:lnTo>
                          <a:pt x="83" y="11"/>
                        </a:lnTo>
                        <a:lnTo>
                          <a:pt x="86" y="5"/>
                        </a:lnTo>
                        <a:lnTo>
                          <a:pt x="91" y="0"/>
                        </a:lnTo>
                        <a:lnTo>
                          <a:pt x="93" y="6"/>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2" name="Marshall Islands" descr="{&quot;Key&quot;:&quot;marshall islands&quot;,&quot;Name&quot;:&quot;Marshall Islands&quot;,&quot;Value&quot;:1.0,&quot;Formula&quot;:&quot;&quot;,&quot;Text&quot;:&quot;&quot;,&quot;OfficeApplication&quot;:1,&quot;HasValue&quot;:true}">
                    <a:extLst>
                      <a:ext uri="{FF2B5EF4-FFF2-40B4-BE49-F238E27FC236}">
                        <a16:creationId xmlns:a16="http://schemas.microsoft.com/office/drawing/2014/main" id="{29CD90A8-3EFB-1C89-0288-70D3B54438C4}"/>
                      </a:ext>
                    </a:extLst>
                  </p:cNvPr>
                  <p:cNvSpPr>
                    <a:spLocks noEditPoints="1"/>
                  </p:cNvSpPr>
                  <p:nvPr/>
                </p:nvSpPr>
                <p:spPr bwMode="auto">
                  <a:xfrm>
                    <a:off x="3979" y="2626"/>
                    <a:ext cx="99" cy="39"/>
                  </a:xfrm>
                  <a:custGeom>
                    <a:avLst/>
                    <a:gdLst>
                      <a:gd name="T0" fmla="*/ 353 w 353"/>
                      <a:gd name="T1" fmla="*/ 135 h 139"/>
                      <a:gd name="T2" fmla="*/ 350 w 353"/>
                      <a:gd name="T3" fmla="*/ 139 h 139"/>
                      <a:gd name="T4" fmla="*/ 345 w 353"/>
                      <a:gd name="T5" fmla="*/ 135 h 139"/>
                      <a:gd name="T6" fmla="*/ 350 w 353"/>
                      <a:gd name="T7" fmla="*/ 130 h 139"/>
                      <a:gd name="T8" fmla="*/ 353 w 353"/>
                      <a:gd name="T9" fmla="*/ 135 h 139"/>
                      <a:gd name="T10" fmla="*/ 5 w 353"/>
                      <a:gd name="T11" fmla="*/ 0 h 139"/>
                      <a:gd name="T12" fmla="*/ 11 w 353"/>
                      <a:gd name="T13" fmla="*/ 2 h 139"/>
                      <a:gd name="T14" fmla="*/ 15 w 353"/>
                      <a:gd name="T15" fmla="*/ 8 h 139"/>
                      <a:gd name="T16" fmla="*/ 12 w 353"/>
                      <a:gd name="T17" fmla="*/ 15 h 139"/>
                      <a:gd name="T18" fmla="*/ 5 w 353"/>
                      <a:gd name="T19" fmla="*/ 15 h 139"/>
                      <a:gd name="T20" fmla="*/ 0 w 353"/>
                      <a:gd name="T21" fmla="*/ 5 h 139"/>
                      <a:gd name="T22" fmla="*/ 5 w 353"/>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39">
                        <a:moveTo>
                          <a:pt x="353" y="135"/>
                        </a:moveTo>
                        <a:lnTo>
                          <a:pt x="350" y="139"/>
                        </a:lnTo>
                        <a:lnTo>
                          <a:pt x="345" y="135"/>
                        </a:lnTo>
                        <a:lnTo>
                          <a:pt x="350" y="130"/>
                        </a:lnTo>
                        <a:lnTo>
                          <a:pt x="353" y="135"/>
                        </a:lnTo>
                        <a:close/>
                        <a:moveTo>
                          <a:pt x="5" y="0"/>
                        </a:moveTo>
                        <a:lnTo>
                          <a:pt x="11" y="2"/>
                        </a:lnTo>
                        <a:lnTo>
                          <a:pt x="15" y="8"/>
                        </a:lnTo>
                        <a:lnTo>
                          <a:pt x="12" y="15"/>
                        </a:lnTo>
                        <a:lnTo>
                          <a:pt x="5" y="15"/>
                        </a:lnTo>
                        <a:lnTo>
                          <a:pt x="0" y="5"/>
                        </a:lnTo>
                        <a:lnTo>
                          <a:pt x="5"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3" name="Grenada" descr="{&quot;Key&quot;:&quot;grenada&quot;,&quot;Name&quot;:&quot;Grenada&quot;,&quot;Value&quot;:1.0,&quot;Formula&quot;:&quot;&quot;,&quot;Text&quot;:&quot;&quot;,&quot;OfficeApplication&quot;:1,&quot;HasValue&quot;:true}">
                    <a:extLst>
                      <a:ext uri="{FF2B5EF4-FFF2-40B4-BE49-F238E27FC236}">
                        <a16:creationId xmlns:a16="http://schemas.microsoft.com/office/drawing/2014/main" id="{20A2DDE5-E944-3447-2CB2-3BB4FC472DBA}"/>
                      </a:ext>
                    </a:extLst>
                  </p:cNvPr>
                  <p:cNvSpPr>
                    <a:spLocks/>
                  </p:cNvSpPr>
                  <p:nvPr/>
                </p:nvSpPr>
                <p:spPr bwMode="auto">
                  <a:xfrm>
                    <a:off x="6765" y="2507"/>
                    <a:ext cx="3" cy="5"/>
                  </a:xfrm>
                  <a:custGeom>
                    <a:avLst/>
                    <a:gdLst>
                      <a:gd name="T0" fmla="*/ 10 w 10"/>
                      <a:gd name="T1" fmla="*/ 15 h 17"/>
                      <a:gd name="T2" fmla="*/ 3 w 10"/>
                      <a:gd name="T3" fmla="*/ 17 h 17"/>
                      <a:gd name="T4" fmla="*/ 0 w 10"/>
                      <a:gd name="T5" fmla="*/ 12 h 17"/>
                      <a:gd name="T6" fmla="*/ 2 w 10"/>
                      <a:gd name="T7" fmla="*/ 5 h 17"/>
                      <a:gd name="T8" fmla="*/ 5 w 10"/>
                      <a:gd name="T9" fmla="*/ 0 h 17"/>
                      <a:gd name="T10" fmla="*/ 10 w 10"/>
                      <a:gd name="T11" fmla="*/ 4 h 17"/>
                      <a:gd name="T12" fmla="*/ 10 w 10"/>
                      <a:gd name="T13" fmla="*/ 15 h 17"/>
                    </a:gdLst>
                    <a:ahLst/>
                    <a:cxnLst>
                      <a:cxn ang="0">
                        <a:pos x="T0" y="T1"/>
                      </a:cxn>
                      <a:cxn ang="0">
                        <a:pos x="T2" y="T3"/>
                      </a:cxn>
                      <a:cxn ang="0">
                        <a:pos x="T4" y="T5"/>
                      </a:cxn>
                      <a:cxn ang="0">
                        <a:pos x="T6" y="T7"/>
                      </a:cxn>
                      <a:cxn ang="0">
                        <a:pos x="T8" y="T9"/>
                      </a:cxn>
                      <a:cxn ang="0">
                        <a:pos x="T10" y="T11"/>
                      </a:cxn>
                      <a:cxn ang="0">
                        <a:pos x="T12" y="T13"/>
                      </a:cxn>
                    </a:cxnLst>
                    <a:rect l="0" t="0" r="r" b="b"/>
                    <a:pathLst>
                      <a:path w="10" h="17">
                        <a:moveTo>
                          <a:pt x="10" y="15"/>
                        </a:moveTo>
                        <a:lnTo>
                          <a:pt x="3" y="17"/>
                        </a:lnTo>
                        <a:lnTo>
                          <a:pt x="0" y="12"/>
                        </a:lnTo>
                        <a:lnTo>
                          <a:pt x="2" y="5"/>
                        </a:lnTo>
                        <a:lnTo>
                          <a:pt x="5" y="0"/>
                        </a:lnTo>
                        <a:lnTo>
                          <a:pt x="10" y="4"/>
                        </a:lnTo>
                        <a:lnTo>
                          <a:pt x="10" y="1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4" name="Guam" descr="{&quot;Key&quot;:&quot;guam&quot;,&quot;Name&quot;:&quot;Guam&quot;,&quot;Value&quot;:1.0,&quot;Formula&quot;:&quot;&quot;,&quot;Text&quot;:&quot;&quot;,&quot;OfficeApplication&quot;:1,&quot;HasValue&quot;:true}">
                    <a:extLst>
                      <a:ext uri="{FF2B5EF4-FFF2-40B4-BE49-F238E27FC236}">
                        <a16:creationId xmlns:a16="http://schemas.microsoft.com/office/drawing/2014/main" id="{DB415231-C621-0526-FA68-F8F27D4EEDE8}"/>
                      </a:ext>
                    </a:extLst>
                  </p:cNvPr>
                  <p:cNvSpPr>
                    <a:spLocks/>
                  </p:cNvSpPr>
                  <p:nvPr/>
                </p:nvSpPr>
                <p:spPr bwMode="auto">
                  <a:xfrm>
                    <a:off x="3711" y="2476"/>
                    <a:ext cx="6" cy="8"/>
                  </a:xfrm>
                  <a:custGeom>
                    <a:avLst/>
                    <a:gdLst>
                      <a:gd name="T0" fmla="*/ 11 w 21"/>
                      <a:gd name="T1" fmla="*/ 15 h 31"/>
                      <a:gd name="T2" fmla="*/ 7 w 21"/>
                      <a:gd name="T3" fmla="*/ 21 h 31"/>
                      <a:gd name="T4" fmla="*/ 7 w 21"/>
                      <a:gd name="T5" fmla="*/ 29 h 31"/>
                      <a:gd name="T6" fmla="*/ 1 w 21"/>
                      <a:gd name="T7" fmla="*/ 31 h 31"/>
                      <a:gd name="T8" fmla="*/ 0 w 21"/>
                      <a:gd name="T9" fmla="*/ 29 h 31"/>
                      <a:gd name="T10" fmla="*/ 0 w 21"/>
                      <a:gd name="T11" fmla="*/ 16 h 31"/>
                      <a:gd name="T12" fmla="*/ 8 w 21"/>
                      <a:gd name="T13" fmla="*/ 10 h 31"/>
                      <a:gd name="T14" fmla="*/ 12 w 21"/>
                      <a:gd name="T15" fmla="*/ 0 h 31"/>
                      <a:gd name="T16" fmla="*/ 21 w 21"/>
                      <a:gd name="T17" fmla="*/ 3 h 31"/>
                      <a:gd name="T18" fmla="*/ 17 w 21"/>
                      <a:gd name="T19" fmla="*/ 10 h 31"/>
                      <a:gd name="T20" fmla="*/ 11 w 21"/>
                      <a:gd name="T2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1">
                        <a:moveTo>
                          <a:pt x="11" y="15"/>
                        </a:moveTo>
                        <a:lnTo>
                          <a:pt x="7" y="21"/>
                        </a:lnTo>
                        <a:lnTo>
                          <a:pt x="7" y="29"/>
                        </a:lnTo>
                        <a:lnTo>
                          <a:pt x="1" y="31"/>
                        </a:lnTo>
                        <a:lnTo>
                          <a:pt x="0" y="29"/>
                        </a:lnTo>
                        <a:lnTo>
                          <a:pt x="0" y="16"/>
                        </a:lnTo>
                        <a:lnTo>
                          <a:pt x="8" y="10"/>
                        </a:lnTo>
                        <a:lnTo>
                          <a:pt x="12" y="0"/>
                        </a:lnTo>
                        <a:lnTo>
                          <a:pt x="21" y="3"/>
                        </a:lnTo>
                        <a:lnTo>
                          <a:pt x="17" y="10"/>
                        </a:lnTo>
                        <a:lnTo>
                          <a:pt x="11" y="15"/>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5" name="Saint Kitts" descr="{&quot;Key&quot;:&quot;saint kitts&quot;,&quot;Name&quot;:&quot;Saint Kitts&quot;,&quot;Value&quot;:1.0,&quot;Formula&quot;:&quot;&quot;,&quot;Text&quot;:&quot;&quot;,&quot;OfficeApplication&quot;:1,&quot;HasValue&quot;:true}">
                    <a:extLst>
                      <a:ext uri="{FF2B5EF4-FFF2-40B4-BE49-F238E27FC236}">
                        <a16:creationId xmlns:a16="http://schemas.microsoft.com/office/drawing/2014/main" id="{9E420A53-EDB2-B81F-C9CD-D8CED3AED40E}"/>
                      </a:ext>
                    </a:extLst>
                  </p:cNvPr>
                  <p:cNvSpPr>
                    <a:spLocks/>
                  </p:cNvSpPr>
                  <p:nvPr/>
                </p:nvSpPr>
                <p:spPr bwMode="auto">
                  <a:xfrm>
                    <a:off x="6723" y="2390"/>
                    <a:ext cx="3" cy="3"/>
                  </a:xfrm>
                  <a:custGeom>
                    <a:avLst/>
                    <a:gdLst>
                      <a:gd name="T0" fmla="*/ 12 w 12"/>
                      <a:gd name="T1" fmla="*/ 7 h 10"/>
                      <a:gd name="T2" fmla="*/ 9 w 12"/>
                      <a:gd name="T3" fmla="*/ 10 h 10"/>
                      <a:gd name="T4" fmla="*/ 0 w 12"/>
                      <a:gd name="T5" fmla="*/ 5 h 10"/>
                      <a:gd name="T6" fmla="*/ 2 w 12"/>
                      <a:gd name="T7" fmla="*/ 0 h 10"/>
                      <a:gd name="T8" fmla="*/ 12 w 12"/>
                      <a:gd name="T9" fmla="*/ 7 h 10"/>
                    </a:gdLst>
                    <a:ahLst/>
                    <a:cxnLst>
                      <a:cxn ang="0">
                        <a:pos x="T0" y="T1"/>
                      </a:cxn>
                      <a:cxn ang="0">
                        <a:pos x="T2" y="T3"/>
                      </a:cxn>
                      <a:cxn ang="0">
                        <a:pos x="T4" y="T5"/>
                      </a:cxn>
                      <a:cxn ang="0">
                        <a:pos x="T6" y="T7"/>
                      </a:cxn>
                      <a:cxn ang="0">
                        <a:pos x="T8" y="T9"/>
                      </a:cxn>
                    </a:cxnLst>
                    <a:rect l="0" t="0" r="r" b="b"/>
                    <a:pathLst>
                      <a:path w="12" h="10">
                        <a:moveTo>
                          <a:pt x="12" y="7"/>
                        </a:moveTo>
                        <a:lnTo>
                          <a:pt x="9" y="10"/>
                        </a:lnTo>
                        <a:lnTo>
                          <a:pt x="0" y="5"/>
                        </a:lnTo>
                        <a:lnTo>
                          <a:pt x="2" y="0"/>
                        </a:lnTo>
                        <a:lnTo>
                          <a:pt x="12" y="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6" name="Saint Lucia" descr="{&quot;Key&quot;:&quot;saint lucia&quot;,&quot;Name&quot;:&quot;Saint Lucia&quot;,&quot;Value&quot;:1.0,&quot;Formula&quot;:&quot;&quot;,&quot;Text&quot;:&quot;&quot;,&quot;OfficeApplication&quot;:1,&quot;HasValue&quot;:true}">
                    <a:extLst>
                      <a:ext uri="{FF2B5EF4-FFF2-40B4-BE49-F238E27FC236}">
                        <a16:creationId xmlns:a16="http://schemas.microsoft.com/office/drawing/2014/main" id="{C304F1FC-63D1-CCD1-F12B-159D3F260D8F}"/>
                      </a:ext>
                    </a:extLst>
                  </p:cNvPr>
                  <p:cNvSpPr>
                    <a:spLocks/>
                  </p:cNvSpPr>
                  <p:nvPr/>
                </p:nvSpPr>
                <p:spPr bwMode="auto">
                  <a:xfrm>
                    <a:off x="6773" y="2465"/>
                    <a:ext cx="4" cy="9"/>
                  </a:xfrm>
                  <a:custGeom>
                    <a:avLst/>
                    <a:gdLst>
                      <a:gd name="T0" fmla="*/ 11 w 12"/>
                      <a:gd name="T1" fmla="*/ 31 h 31"/>
                      <a:gd name="T2" fmla="*/ 0 w 12"/>
                      <a:gd name="T3" fmla="*/ 23 h 31"/>
                      <a:gd name="T4" fmla="*/ 0 w 12"/>
                      <a:gd name="T5" fmla="*/ 13 h 31"/>
                      <a:gd name="T6" fmla="*/ 6 w 12"/>
                      <a:gd name="T7" fmla="*/ 0 h 31"/>
                      <a:gd name="T8" fmla="*/ 10 w 12"/>
                      <a:gd name="T9" fmla="*/ 2 h 31"/>
                      <a:gd name="T10" fmla="*/ 12 w 12"/>
                      <a:gd name="T11" fmla="*/ 11 h 31"/>
                      <a:gd name="T12" fmla="*/ 12 w 12"/>
                      <a:gd name="T13" fmla="*/ 26 h 31"/>
                      <a:gd name="T14" fmla="*/ 11 w 12"/>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1">
                        <a:moveTo>
                          <a:pt x="11" y="31"/>
                        </a:moveTo>
                        <a:lnTo>
                          <a:pt x="0" y="23"/>
                        </a:lnTo>
                        <a:lnTo>
                          <a:pt x="0" y="13"/>
                        </a:lnTo>
                        <a:lnTo>
                          <a:pt x="6" y="0"/>
                        </a:lnTo>
                        <a:lnTo>
                          <a:pt x="10" y="2"/>
                        </a:lnTo>
                        <a:lnTo>
                          <a:pt x="12" y="11"/>
                        </a:lnTo>
                        <a:lnTo>
                          <a:pt x="12" y="26"/>
                        </a:lnTo>
                        <a:lnTo>
                          <a:pt x="11" y="3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7" name="Saint Martin" descr="{&quot;Key&quot;:&quot;saint martin&quot;,&quot;Name&quot;:&quot;Saint Martin&quot;,&quot;Value&quot;:1.0,&quot;Formula&quot;:&quot;&quot;,&quot;Text&quot;:&quot;&quot;,&quot;OfficeApplication&quot;:1,&quot;HasValue&quot;:true}">
                    <a:extLst>
                      <a:ext uri="{FF2B5EF4-FFF2-40B4-BE49-F238E27FC236}">
                        <a16:creationId xmlns:a16="http://schemas.microsoft.com/office/drawing/2014/main" id="{5A949172-E254-F895-1D32-2B7B8CBCB566}"/>
                      </a:ext>
                    </a:extLst>
                  </p:cNvPr>
                  <p:cNvSpPr>
                    <a:spLocks/>
                  </p:cNvSpPr>
                  <p:nvPr/>
                </p:nvSpPr>
                <p:spPr bwMode="auto">
                  <a:xfrm>
                    <a:off x="6715" y="2374"/>
                    <a:ext cx="2" cy="2"/>
                  </a:xfrm>
                  <a:custGeom>
                    <a:avLst/>
                    <a:gdLst>
                      <a:gd name="T0" fmla="*/ 6 w 6"/>
                      <a:gd name="T1" fmla="*/ 8 h 8"/>
                      <a:gd name="T2" fmla="*/ 0 w 6"/>
                      <a:gd name="T3" fmla="*/ 5 h 8"/>
                      <a:gd name="T4" fmla="*/ 5 w 6"/>
                      <a:gd name="T5" fmla="*/ 0 h 8"/>
                      <a:gd name="T6" fmla="*/ 6 w 6"/>
                      <a:gd name="T7" fmla="*/ 8 h 8"/>
                    </a:gdLst>
                    <a:ahLst/>
                    <a:cxnLst>
                      <a:cxn ang="0">
                        <a:pos x="T0" y="T1"/>
                      </a:cxn>
                      <a:cxn ang="0">
                        <a:pos x="T2" y="T3"/>
                      </a:cxn>
                      <a:cxn ang="0">
                        <a:pos x="T4" y="T5"/>
                      </a:cxn>
                      <a:cxn ang="0">
                        <a:pos x="T6" y="T7"/>
                      </a:cxn>
                    </a:cxnLst>
                    <a:rect l="0" t="0" r="r" b="b"/>
                    <a:pathLst>
                      <a:path w="6" h="8">
                        <a:moveTo>
                          <a:pt x="6" y="8"/>
                        </a:moveTo>
                        <a:lnTo>
                          <a:pt x="0" y="5"/>
                        </a:lnTo>
                        <a:lnTo>
                          <a:pt x="5" y="0"/>
                        </a:lnTo>
                        <a:lnTo>
                          <a:pt x="6" y="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8" name="Maldives" descr="{&quot;Key&quot;:&quot;maldives&quot;,&quot;Name&quot;:&quot;Maldives&quot;,&quot;Value&quot;:1.0,&quot;Formula&quot;:&quot;&quot;,&quot;Text&quot;:&quot;&quot;,&quot;OfficeApplication&quot;:1,&quot;HasValue&quot;:true}">
                    <a:extLst>
                      <a:ext uri="{FF2B5EF4-FFF2-40B4-BE49-F238E27FC236}">
                        <a16:creationId xmlns:a16="http://schemas.microsoft.com/office/drawing/2014/main" id="{55C0265B-7F68-9D28-A751-8F00ED7323D8}"/>
                      </a:ext>
                    </a:extLst>
                  </p:cNvPr>
                  <p:cNvSpPr>
                    <a:spLocks/>
                  </p:cNvSpPr>
                  <p:nvPr/>
                </p:nvSpPr>
                <p:spPr bwMode="auto">
                  <a:xfrm>
                    <a:off x="2287" y="2689"/>
                    <a:ext cx="1" cy="1"/>
                  </a:xfrm>
                  <a:custGeom>
                    <a:avLst/>
                    <a:gdLst>
                      <a:gd name="T0" fmla="*/ 3 w 3"/>
                      <a:gd name="T1" fmla="*/ 1 h 4"/>
                      <a:gd name="T2" fmla="*/ 2 w 3"/>
                      <a:gd name="T3" fmla="*/ 4 h 4"/>
                      <a:gd name="T4" fmla="*/ 0 w 3"/>
                      <a:gd name="T5" fmla="*/ 2 h 4"/>
                      <a:gd name="T6" fmla="*/ 2 w 3"/>
                      <a:gd name="T7" fmla="*/ 0 h 4"/>
                      <a:gd name="T8" fmla="*/ 3 w 3"/>
                      <a:gd name="T9" fmla="*/ 1 h 4"/>
                    </a:gdLst>
                    <a:ahLst/>
                    <a:cxnLst>
                      <a:cxn ang="0">
                        <a:pos x="T0" y="T1"/>
                      </a:cxn>
                      <a:cxn ang="0">
                        <a:pos x="T2" y="T3"/>
                      </a:cxn>
                      <a:cxn ang="0">
                        <a:pos x="T4" y="T5"/>
                      </a:cxn>
                      <a:cxn ang="0">
                        <a:pos x="T6" y="T7"/>
                      </a:cxn>
                      <a:cxn ang="0">
                        <a:pos x="T8" y="T9"/>
                      </a:cxn>
                    </a:cxnLst>
                    <a:rect l="0" t="0" r="r" b="b"/>
                    <a:pathLst>
                      <a:path w="3" h="4">
                        <a:moveTo>
                          <a:pt x="3" y="1"/>
                        </a:moveTo>
                        <a:lnTo>
                          <a:pt x="2" y="4"/>
                        </a:lnTo>
                        <a:lnTo>
                          <a:pt x="0" y="2"/>
                        </a:lnTo>
                        <a:lnTo>
                          <a:pt x="2" y="0"/>
                        </a:lnTo>
                        <a:lnTo>
                          <a:pt x="3" y="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79" name="Kiribati" descr="{&quot;Key&quot;:&quot;kiribati&quot;,&quot;Name&quot;:&quot;Kiribati&quot;,&quot;Value&quot;:1.0,&quot;Formula&quot;:&quot;&quot;,&quot;Text&quot;:&quot;&quot;,&quot;OfficeApplication&quot;:1,&quot;HasValue&quot;:true}">
                    <a:extLst>
                      <a:ext uri="{FF2B5EF4-FFF2-40B4-BE49-F238E27FC236}">
                        <a16:creationId xmlns:a16="http://schemas.microsoft.com/office/drawing/2014/main" id="{81265224-D8CE-F344-80FA-8D243E158BF2}"/>
                      </a:ext>
                    </a:extLst>
                  </p:cNvPr>
                  <p:cNvSpPr>
                    <a:spLocks/>
                  </p:cNvSpPr>
                  <p:nvPr/>
                </p:nvSpPr>
                <p:spPr bwMode="auto">
                  <a:xfrm>
                    <a:off x="4238" y="2623"/>
                    <a:ext cx="3" cy="2"/>
                  </a:xfrm>
                  <a:custGeom>
                    <a:avLst/>
                    <a:gdLst>
                      <a:gd name="T0" fmla="*/ 0 w 12"/>
                      <a:gd name="T1" fmla="*/ 0 h 6"/>
                      <a:gd name="T2" fmla="*/ 12 w 12"/>
                      <a:gd name="T3" fmla="*/ 6 h 6"/>
                      <a:gd name="T4" fmla="*/ 10 w 12"/>
                      <a:gd name="T5" fmla="*/ 6 h 6"/>
                      <a:gd name="T6" fmla="*/ 0 w 12"/>
                      <a:gd name="T7" fmla="*/ 1 h 6"/>
                      <a:gd name="T8" fmla="*/ 0 w 12"/>
                      <a:gd name="T9" fmla="*/ 0 h 6"/>
                    </a:gdLst>
                    <a:ahLst/>
                    <a:cxnLst>
                      <a:cxn ang="0">
                        <a:pos x="T0" y="T1"/>
                      </a:cxn>
                      <a:cxn ang="0">
                        <a:pos x="T2" y="T3"/>
                      </a:cxn>
                      <a:cxn ang="0">
                        <a:pos x="T4" y="T5"/>
                      </a:cxn>
                      <a:cxn ang="0">
                        <a:pos x="T6" y="T7"/>
                      </a:cxn>
                      <a:cxn ang="0">
                        <a:pos x="T8" y="T9"/>
                      </a:cxn>
                    </a:cxnLst>
                    <a:rect l="0" t="0" r="r" b="b"/>
                    <a:pathLst>
                      <a:path w="12" h="6">
                        <a:moveTo>
                          <a:pt x="0" y="0"/>
                        </a:moveTo>
                        <a:lnTo>
                          <a:pt x="12" y="6"/>
                        </a:lnTo>
                        <a:lnTo>
                          <a:pt x="10" y="6"/>
                        </a:lnTo>
                        <a:lnTo>
                          <a:pt x="0" y="1"/>
                        </a:lnTo>
                        <a:lnTo>
                          <a:pt x="0"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0" name="Malta" descr="{&quot;Key&quot;:&quot;malta&quot;,&quot;Name&quot;:&quot;Malta&quot;,&quot;Value&quot;:1.0,&quot;Formula&quot;:&quot;&quot;,&quot;Text&quot;:&quot;&quot;,&quot;OfficeApplication&quot;:1,&quot;HasValue&quot;:true}">
                    <a:extLst>
                      <a:ext uri="{FF2B5EF4-FFF2-40B4-BE49-F238E27FC236}">
                        <a16:creationId xmlns:a16="http://schemas.microsoft.com/office/drawing/2014/main" id="{8F42752A-E405-EE60-4F7C-91A92D08C149}"/>
                      </a:ext>
                    </a:extLst>
                  </p:cNvPr>
                  <p:cNvSpPr>
                    <a:spLocks/>
                  </p:cNvSpPr>
                  <p:nvPr/>
                </p:nvSpPr>
                <p:spPr bwMode="auto">
                  <a:xfrm>
                    <a:off x="1266" y="1969"/>
                    <a:ext cx="4" cy="4"/>
                  </a:xfrm>
                  <a:custGeom>
                    <a:avLst/>
                    <a:gdLst>
                      <a:gd name="T0" fmla="*/ 14 w 14"/>
                      <a:gd name="T1" fmla="*/ 11 h 15"/>
                      <a:gd name="T2" fmla="*/ 10 w 14"/>
                      <a:gd name="T3" fmla="*/ 15 h 15"/>
                      <a:gd name="T4" fmla="*/ 4 w 14"/>
                      <a:gd name="T5" fmla="*/ 12 h 15"/>
                      <a:gd name="T6" fmla="*/ 0 w 14"/>
                      <a:gd name="T7" fmla="*/ 7 h 15"/>
                      <a:gd name="T8" fmla="*/ 2 w 14"/>
                      <a:gd name="T9" fmla="*/ 0 h 15"/>
                      <a:gd name="T10" fmla="*/ 9 w 14"/>
                      <a:gd name="T11" fmla="*/ 1 h 15"/>
                      <a:gd name="T12" fmla="*/ 13 w 14"/>
                      <a:gd name="T13" fmla="*/ 4 h 15"/>
                      <a:gd name="T14" fmla="*/ 14 w 14"/>
                      <a:gd name="T15" fmla="*/ 1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5">
                        <a:moveTo>
                          <a:pt x="14" y="11"/>
                        </a:moveTo>
                        <a:lnTo>
                          <a:pt x="10" y="15"/>
                        </a:lnTo>
                        <a:lnTo>
                          <a:pt x="4" y="12"/>
                        </a:lnTo>
                        <a:lnTo>
                          <a:pt x="0" y="7"/>
                        </a:lnTo>
                        <a:lnTo>
                          <a:pt x="2" y="0"/>
                        </a:lnTo>
                        <a:lnTo>
                          <a:pt x="9" y="1"/>
                        </a:lnTo>
                        <a:lnTo>
                          <a:pt x="13" y="4"/>
                        </a:lnTo>
                        <a:lnTo>
                          <a:pt x="14" y="1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1" name="Micronesia" descr="{&quot;Key&quot;:&quot;micronesia&quot;,&quot;Name&quot;:&quot;Micronesia&quot;,&quot;Value&quot;:1.0,&quot;Formula&quot;:&quot;&quot;,&quot;Text&quot;:&quot;&quot;,&quot;OfficeApplication&quot;:1,&quot;HasValue&quot;:true}">
                    <a:extLst>
                      <a:ext uri="{FF2B5EF4-FFF2-40B4-BE49-F238E27FC236}">
                        <a16:creationId xmlns:a16="http://schemas.microsoft.com/office/drawing/2014/main" id="{8C42E92A-23DE-B4E2-FEFD-C55AB1DE5925}"/>
                      </a:ext>
                    </a:extLst>
                  </p:cNvPr>
                  <p:cNvSpPr>
                    <a:spLocks noEditPoints="1"/>
                  </p:cNvSpPr>
                  <p:nvPr/>
                </p:nvSpPr>
                <p:spPr bwMode="auto">
                  <a:xfrm>
                    <a:off x="3730" y="2373"/>
                    <a:ext cx="5" cy="73"/>
                  </a:xfrm>
                  <a:custGeom>
                    <a:avLst/>
                    <a:gdLst>
                      <a:gd name="T0" fmla="*/ 5 w 20"/>
                      <a:gd name="T1" fmla="*/ 263 h 263"/>
                      <a:gd name="T2" fmla="*/ 2 w 20"/>
                      <a:gd name="T3" fmla="*/ 263 h 263"/>
                      <a:gd name="T4" fmla="*/ 0 w 20"/>
                      <a:gd name="T5" fmla="*/ 256 h 263"/>
                      <a:gd name="T6" fmla="*/ 5 w 20"/>
                      <a:gd name="T7" fmla="*/ 252 h 263"/>
                      <a:gd name="T8" fmla="*/ 5 w 20"/>
                      <a:gd name="T9" fmla="*/ 263 h 263"/>
                      <a:gd name="T10" fmla="*/ 15 w 20"/>
                      <a:gd name="T11" fmla="*/ 243 h 263"/>
                      <a:gd name="T12" fmla="*/ 7 w 20"/>
                      <a:gd name="T13" fmla="*/ 249 h 263"/>
                      <a:gd name="T14" fmla="*/ 8 w 20"/>
                      <a:gd name="T15" fmla="*/ 241 h 263"/>
                      <a:gd name="T16" fmla="*/ 16 w 20"/>
                      <a:gd name="T17" fmla="*/ 236 h 263"/>
                      <a:gd name="T18" fmla="*/ 15 w 20"/>
                      <a:gd name="T19" fmla="*/ 243 h 263"/>
                      <a:gd name="T20" fmla="*/ 13 w 20"/>
                      <a:gd name="T21" fmla="*/ 8 h 263"/>
                      <a:gd name="T22" fmla="*/ 13 w 20"/>
                      <a:gd name="T23" fmla="*/ 0 h 263"/>
                      <a:gd name="T24" fmla="*/ 20 w 20"/>
                      <a:gd name="T25" fmla="*/ 3 h 263"/>
                      <a:gd name="T26" fmla="*/ 13 w 20"/>
                      <a:gd name="T27" fmla="*/ 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63">
                        <a:moveTo>
                          <a:pt x="5" y="263"/>
                        </a:moveTo>
                        <a:lnTo>
                          <a:pt x="2" y="263"/>
                        </a:lnTo>
                        <a:lnTo>
                          <a:pt x="0" y="256"/>
                        </a:lnTo>
                        <a:lnTo>
                          <a:pt x="5" y="252"/>
                        </a:lnTo>
                        <a:lnTo>
                          <a:pt x="5" y="263"/>
                        </a:lnTo>
                        <a:close/>
                        <a:moveTo>
                          <a:pt x="15" y="243"/>
                        </a:moveTo>
                        <a:lnTo>
                          <a:pt x="7" y="249"/>
                        </a:lnTo>
                        <a:lnTo>
                          <a:pt x="8" y="241"/>
                        </a:lnTo>
                        <a:lnTo>
                          <a:pt x="16" y="236"/>
                        </a:lnTo>
                        <a:lnTo>
                          <a:pt x="15" y="243"/>
                        </a:lnTo>
                        <a:close/>
                        <a:moveTo>
                          <a:pt x="13" y="8"/>
                        </a:moveTo>
                        <a:lnTo>
                          <a:pt x="13" y="0"/>
                        </a:lnTo>
                        <a:lnTo>
                          <a:pt x="20" y="3"/>
                        </a:lnTo>
                        <a:lnTo>
                          <a:pt x="13" y="8"/>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2" name="Monserrat (UK)" descr="{&quot;Key&quot;:&quot;monserrat (uk)&quot;,&quot;Name&quot;:&quot;Monserrat (UK)&quot;,&quot;Value&quot;:1.0,&quot;Formula&quot;:&quot;&quot;,&quot;Text&quot;:&quot;&quot;,&quot;OfficeApplication&quot;:1,&quot;HasValue&quot;:true}">
                    <a:extLst>
                      <a:ext uri="{FF2B5EF4-FFF2-40B4-BE49-F238E27FC236}">
                        <a16:creationId xmlns:a16="http://schemas.microsoft.com/office/drawing/2014/main" id="{83463B07-08EC-121A-F0E3-628BDE3287A8}"/>
                      </a:ext>
                    </a:extLst>
                  </p:cNvPr>
                  <p:cNvSpPr>
                    <a:spLocks/>
                  </p:cNvSpPr>
                  <p:nvPr/>
                </p:nvSpPr>
                <p:spPr bwMode="auto">
                  <a:xfrm>
                    <a:off x="6738" y="2403"/>
                    <a:ext cx="2" cy="3"/>
                  </a:xfrm>
                  <a:custGeom>
                    <a:avLst/>
                    <a:gdLst>
                      <a:gd name="T0" fmla="*/ 2 w 7"/>
                      <a:gd name="T1" fmla="*/ 0 h 10"/>
                      <a:gd name="T2" fmla="*/ 7 w 7"/>
                      <a:gd name="T3" fmla="*/ 10 h 10"/>
                      <a:gd name="T4" fmla="*/ 0 w 7"/>
                      <a:gd name="T5" fmla="*/ 8 h 10"/>
                      <a:gd name="T6" fmla="*/ 2 w 7"/>
                      <a:gd name="T7" fmla="*/ 0 h 10"/>
                    </a:gdLst>
                    <a:ahLst/>
                    <a:cxnLst>
                      <a:cxn ang="0">
                        <a:pos x="T0" y="T1"/>
                      </a:cxn>
                      <a:cxn ang="0">
                        <a:pos x="T2" y="T3"/>
                      </a:cxn>
                      <a:cxn ang="0">
                        <a:pos x="T4" y="T5"/>
                      </a:cxn>
                      <a:cxn ang="0">
                        <a:pos x="T6" y="T7"/>
                      </a:cxn>
                    </a:cxnLst>
                    <a:rect l="0" t="0" r="r" b="b"/>
                    <a:pathLst>
                      <a:path w="7" h="10">
                        <a:moveTo>
                          <a:pt x="2" y="0"/>
                        </a:moveTo>
                        <a:lnTo>
                          <a:pt x="7" y="10"/>
                        </a:lnTo>
                        <a:lnTo>
                          <a:pt x="0" y="8"/>
                        </a:lnTo>
                        <a:lnTo>
                          <a:pt x="2"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3" name="Mauritius (France)" descr="{&quot;Key&quot;:&quot;mauritius (france)&quot;,&quot;Name&quot;:&quot;Mauritius (France)&quot;,&quot;Value&quot;:1.0,&quot;Formula&quot;:&quot;&quot;,&quot;Text&quot;:&quot;&quot;,&quot;OfficeApplication&quot;:1,&quot;HasValue&quot;:true}">
                    <a:extLst>
                      <a:ext uri="{FF2B5EF4-FFF2-40B4-BE49-F238E27FC236}">
                        <a16:creationId xmlns:a16="http://schemas.microsoft.com/office/drawing/2014/main" id="{59D3D7A6-D6D9-8832-D318-FA44431A7889}"/>
                      </a:ext>
                    </a:extLst>
                  </p:cNvPr>
                  <p:cNvSpPr>
                    <a:spLocks noEditPoints="1"/>
                  </p:cNvSpPr>
                  <p:nvPr/>
                </p:nvSpPr>
                <p:spPr bwMode="auto">
                  <a:xfrm>
                    <a:off x="1997" y="3231"/>
                    <a:ext cx="118" cy="19"/>
                  </a:xfrm>
                  <a:custGeom>
                    <a:avLst/>
                    <a:gdLst>
                      <a:gd name="T0" fmla="*/ 22 w 425"/>
                      <a:gd name="T1" fmla="*/ 34 h 69"/>
                      <a:gd name="T2" fmla="*/ 30 w 425"/>
                      <a:gd name="T3" fmla="*/ 45 h 69"/>
                      <a:gd name="T4" fmla="*/ 30 w 425"/>
                      <a:gd name="T5" fmla="*/ 53 h 69"/>
                      <a:gd name="T6" fmla="*/ 26 w 425"/>
                      <a:gd name="T7" fmla="*/ 58 h 69"/>
                      <a:gd name="T8" fmla="*/ 24 w 425"/>
                      <a:gd name="T9" fmla="*/ 66 h 69"/>
                      <a:gd name="T10" fmla="*/ 12 w 425"/>
                      <a:gd name="T11" fmla="*/ 69 h 69"/>
                      <a:gd name="T12" fmla="*/ 5 w 425"/>
                      <a:gd name="T13" fmla="*/ 68 h 69"/>
                      <a:gd name="T14" fmla="*/ 1 w 425"/>
                      <a:gd name="T15" fmla="*/ 62 h 69"/>
                      <a:gd name="T16" fmla="*/ 0 w 425"/>
                      <a:gd name="T17" fmla="*/ 48 h 69"/>
                      <a:gd name="T18" fmla="*/ 1 w 425"/>
                      <a:gd name="T19" fmla="*/ 43 h 69"/>
                      <a:gd name="T20" fmla="*/ 7 w 425"/>
                      <a:gd name="T21" fmla="*/ 38 h 69"/>
                      <a:gd name="T22" fmla="*/ 9 w 425"/>
                      <a:gd name="T23" fmla="*/ 29 h 69"/>
                      <a:gd name="T24" fmla="*/ 12 w 425"/>
                      <a:gd name="T25" fmla="*/ 25 h 69"/>
                      <a:gd name="T26" fmla="*/ 19 w 425"/>
                      <a:gd name="T27" fmla="*/ 27 h 69"/>
                      <a:gd name="T28" fmla="*/ 22 w 425"/>
                      <a:gd name="T29" fmla="*/ 34 h 69"/>
                      <a:gd name="T30" fmla="*/ 419 w 425"/>
                      <a:gd name="T31" fmla="*/ 7 h 69"/>
                      <a:gd name="T32" fmla="*/ 415 w 425"/>
                      <a:gd name="T33" fmla="*/ 4 h 69"/>
                      <a:gd name="T34" fmla="*/ 422 w 425"/>
                      <a:gd name="T35" fmla="*/ 0 h 69"/>
                      <a:gd name="T36" fmla="*/ 425 w 425"/>
                      <a:gd name="T37" fmla="*/ 4 h 69"/>
                      <a:gd name="T38" fmla="*/ 419 w 425"/>
                      <a:gd name="T39" fmla="*/ 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69">
                        <a:moveTo>
                          <a:pt x="22" y="34"/>
                        </a:moveTo>
                        <a:lnTo>
                          <a:pt x="30" y="45"/>
                        </a:lnTo>
                        <a:lnTo>
                          <a:pt x="30" y="53"/>
                        </a:lnTo>
                        <a:lnTo>
                          <a:pt x="26" y="58"/>
                        </a:lnTo>
                        <a:lnTo>
                          <a:pt x="24" y="66"/>
                        </a:lnTo>
                        <a:lnTo>
                          <a:pt x="12" y="69"/>
                        </a:lnTo>
                        <a:lnTo>
                          <a:pt x="5" y="68"/>
                        </a:lnTo>
                        <a:lnTo>
                          <a:pt x="1" y="62"/>
                        </a:lnTo>
                        <a:lnTo>
                          <a:pt x="0" y="48"/>
                        </a:lnTo>
                        <a:lnTo>
                          <a:pt x="1" y="43"/>
                        </a:lnTo>
                        <a:lnTo>
                          <a:pt x="7" y="38"/>
                        </a:lnTo>
                        <a:lnTo>
                          <a:pt x="9" y="29"/>
                        </a:lnTo>
                        <a:lnTo>
                          <a:pt x="12" y="25"/>
                        </a:lnTo>
                        <a:lnTo>
                          <a:pt x="19" y="27"/>
                        </a:lnTo>
                        <a:lnTo>
                          <a:pt x="22" y="34"/>
                        </a:lnTo>
                        <a:close/>
                        <a:moveTo>
                          <a:pt x="419" y="7"/>
                        </a:moveTo>
                        <a:lnTo>
                          <a:pt x="415" y="4"/>
                        </a:lnTo>
                        <a:lnTo>
                          <a:pt x="422" y="0"/>
                        </a:lnTo>
                        <a:lnTo>
                          <a:pt x="425" y="4"/>
                        </a:lnTo>
                        <a:lnTo>
                          <a:pt x="419" y="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4" name="New Caledonia" descr="{&quot;Key&quot;:&quot;new caledonia&quot;,&quot;Name&quot;:&quot;New Caledonia&quot;,&quot;Value&quot;:1.0,&quot;Formula&quot;:&quot;&quot;,&quot;Text&quot;:&quot;&quot;,&quot;OfficeApplication&quot;:1,&quot;HasValue&quot;:true}">
                    <a:extLst>
                      <a:ext uri="{FF2B5EF4-FFF2-40B4-BE49-F238E27FC236}">
                        <a16:creationId xmlns:a16="http://schemas.microsoft.com/office/drawing/2014/main" id="{514002AB-CA37-DBCC-EB7B-2DA7850225C6}"/>
                      </a:ext>
                    </a:extLst>
                  </p:cNvPr>
                  <p:cNvSpPr>
                    <a:spLocks noEditPoints="1"/>
                  </p:cNvSpPr>
                  <p:nvPr/>
                </p:nvSpPr>
                <p:spPr bwMode="auto">
                  <a:xfrm>
                    <a:off x="4092" y="3240"/>
                    <a:ext cx="81" cy="59"/>
                  </a:xfrm>
                  <a:custGeom>
                    <a:avLst/>
                    <a:gdLst>
                      <a:gd name="T0" fmla="*/ 241 w 289"/>
                      <a:gd name="T1" fmla="*/ 210 h 210"/>
                      <a:gd name="T2" fmla="*/ 236 w 289"/>
                      <a:gd name="T3" fmla="*/ 202 h 210"/>
                      <a:gd name="T4" fmla="*/ 245 w 289"/>
                      <a:gd name="T5" fmla="*/ 204 h 210"/>
                      <a:gd name="T6" fmla="*/ 280 w 289"/>
                      <a:gd name="T7" fmla="*/ 112 h 210"/>
                      <a:gd name="T8" fmla="*/ 288 w 289"/>
                      <a:gd name="T9" fmla="*/ 125 h 210"/>
                      <a:gd name="T10" fmla="*/ 270 w 289"/>
                      <a:gd name="T11" fmla="*/ 122 h 210"/>
                      <a:gd name="T12" fmla="*/ 277 w 289"/>
                      <a:gd name="T13" fmla="*/ 105 h 210"/>
                      <a:gd name="T14" fmla="*/ 230 w 289"/>
                      <a:gd name="T15" fmla="*/ 57 h 210"/>
                      <a:gd name="T16" fmla="*/ 237 w 289"/>
                      <a:gd name="T17" fmla="*/ 69 h 210"/>
                      <a:gd name="T18" fmla="*/ 239 w 289"/>
                      <a:gd name="T19" fmla="*/ 87 h 210"/>
                      <a:gd name="T20" fmla="*/ 229 w 289"/>
                      <a:gd name="T21" fmla="*/ 82 h 210"/>
                      <a:gd name="T22" fmla="*/ 215 w 289"/>
                      <a:gd name="T23" fmla="*/ 74 h 210"/>
                      <a:gd name="T24" fmla="*/ 219 w 289"/>
                      <a:gd name="T25" fmla="*/ 65 h 210"/>
                      <a:gd name="T26" fmla="*/ 221 w 289"/>
                      <a:gd name="T27" fmla="*/ 52 h 210"/>
                      <a:gd name="T28" fmla="*/ 231 w 289"/>
                      <a:gd name="T29" fmla="*/ 52 h 210"/>
                      <a:gd name="T30" fmla="*/ 12 w 289"/>
                      <a:gd name="T31" fmla="*/ 13 h 210"/>
                      <a:gd name="T32" fmla="*/ 23 w 289"/>
                      <a:gd name="T33" fmla="*/ 13 h 210"/>
                      <a:gd name="T34" fmla="*/ 40 w 289"/>
                      <a:gd name="T35" fmla="*/ 25 h 210"/>
                      <a:gd name="T36" fmla="*/ 57 w 289"/>
                      <a:gd name="T37" fmla="*/ 40 h 210"/>
                      <a:gd name="T38" fmla="*/ 85 w 289"/>
                      <a:gd name="T39" fmla="*/ 55 h 210"/>
                      <a:gd name="T40" fmla="*/ 92 w 289"/>
                      <a:gd name="T41" fmla="*/ 69 h 210"/>
                      <a:gd name="T42" fmla="*/ 98 w 289"/>
                      <a:gd name="T43" fmla="*/ 79 h 210"/>
                      <a:gd name="T44" fmla="*/ 111 w 289"/>
                      <a:gd name="T45" fmla="*/ 92 h 210"/>
                      <a:gd name="T46" fmla="*/ 121 w 289"/>
                      <a:gd name="T47" fmla="*/ 99 h 210"/>
                      <a:gd name="T48" fmla="*/ 133 w 289"/>
                      <a:gd name="T49" fmla="*/ 105 h 210"/>
                      <a:gd name="T50" fmla="*/ 154 w 289"/>
                      <a:gd name="T51" fmla="*/ 123 h 210"/>
                      <a:gd name="T52" fmla="*/ 178 w 289"/>
                      <a:gd name="T53" fmla="*/ 145 h 210"/>
                      <a:gd name="T54" fmla="*/ 193 w 289"/>
                      <a:gd name="T55" fmla="*/ 157 h 210"/>
                      <a:gd name="T56" fmla="*/ 203 w 289"/>
                      <a:gd name="T57" fmla="*/ 162 h 210"/>
                      <a:gd name="T58" fmla="*/ 209 w 289"/>
                      <a:gd name="T59" fmla="*/ 174 h 210"/>
                      <a:gd name="T60" fmla="*/ 200 w 289"/>
                      <a:gd name="T61" fmla="*/ 187 h 210"/>
                      <a:gd name="T62" fmla="*/ 191 w 289"/>
                      <a:gd name="T63" fmla="*/ 188 h 210"/>
                      <a:gd name="T64" fmla="*/ 170 w 289"/>
                      <a:gd name="T65" fmla="*/ 179 h 210"/>
                      <a:gd name="T66" fmla="*/ 154 w 289"/>
                      <a:gd name="T67" fmla="*/ 168 h 210"/>
                      <a:gd name="T68" fmla="*/ 146 w 289"/>
                      <a:gd name="T69" fmla="*/ 152 h 210"/>
                      <a:gd name="T70" fmla="*/ 129 w 289"/>
                      <a:gd name="T71" fmla="*/ 144 h 210"/>
                      <a:gd name="T72" fmla="*/ 119 w 289"/>
                      <a:gd name="T73" fmla="*/ 134 h 210"/>
                      <a:gd name="T74" fmla="*/ 103 w 289"/>
                      <a:gd name="T75" fmla="*/ 129 h 210"/>
                      <a:gd name="T76" fmla="*/ 96 w 289"/>
                      <a:gd name="T77" fmla="*/ 125 h 210"/>
                      <a:gd name="T78" fmla="*/ 86 w 289"/>
                      <a:gd name="T79" fmla="*/ 117 h 210"/>
                      <a:gd name="T80" fmla="*/ 76 w 289"/>
                      <a:gd name="T81" fmla="*/ 107 h 210"/>
                      <a:gd name="T82" fmla="*/ 63 w 289"/>
                      <a:gd name="T83" fmla="*/ 98 h 210"/>
                      <a:gd name="T84" fmla="*/ 56 w 289"/>
                      <a:gd name="T85" fmla="*/ 84 h 210"/>
                      <a:gd name="T86" fmla="*/ 45 w 289"/>
                      <a:gd name="T87" fmla="*/ 73 h 210"/>
                      <a:gd name="T88" fmla="*/ 35 w 289"/>
                      <a:gd name="T89" fmla="*/ 65 h 210"/>
                      <a:gd name="T90" fmla="*/ 24 w 289"/>
                      <a:gd name="T91" fmla="*/ 50 h 210"/>
                      <a:gd name="T92" fmla="*/ 13 w 289"/>
                      <a:gd name="T93" fmla="*/ 35 h 210"/>
                      <a:gd name="T94" fmla="*/ 11 w 289"/>
                      <a:gd name="T95" fmla="*/ 20 h 210"/>
                      <a:gd name="T96" fmla="*/ 3 w 289"/>
                      <a:gd name="T97" fmla="*/ 18 h 210"/>
                      <a:gd name="T98" fmla="*/ 4 w 289"/>
                      <a:gd name="T99" fmla="*/ 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9" h="210">
                        <a:moveTo>
                          <a:pt x="245" y="204"/>
                        </a:moveTo>
                        <a:lnTo>
                          <a:pt x="241" y="210"/>
                        </a:lnTo>
                        <a:lnTo>
                          <a:pt x="235" y="208"/>
                        </a:lnTo>
                        <a:lnTo>
                          <a:pt x="236" y="202"/>
                        </a:lnTo>
                        <a:lnTo>
                          <a:pt x="241" y="200"/>
                        </a:lnTo>
                        <a:lnTo>
                          <a:pt x="245" y="204"/>
                        </a:lnTo>
                        <a:close/>
                        <a:moveTo>
                          <a:pt x="277" y="105"/>
                        </a:moveTo>
                        <a:lnTo>
                          <a:pt x="280" y="112"/>
                        </a:lnTo>
                        <a:lnTo>
                          <a:pt x="289" y="109"/>
                        </a:lnTo>
                        <a:lnTo>
                          <a:pt x="288" y="125"/>
                        </a:lnTo>
                        <a:lnTo>
                          <a:pt x="281" y="128"/>
                        </a:lnTo>
                        <a:lnTo>
                          <a:pt x="270" y="122"/>
                        </a:lnTo>
                        <a:lnTo>
                          <a:pt x="267" y="105"/>
                        </a:lnTo>
                        <a:lnTo>
                          <a:pt x="277" y="105"/>
                        </a:lnTo>
                        <a:close/>
                        <a:moveTo>
                          <a:pt x="231" y="52"/>
                        </a:moveTo>
                        <a:lnTo>
                          <a:pt x="230" y="57"/>
                        </a:lnTo>
                        <a:lnTo>
                          <a:pt x="230" y="67"/>
                        </a:lnTo>
                        <a:lnTo>
                          <a:pt x="237" y="69"/>
                        </a:lnTo>
                        <a:lnTo>
                          <a:pt x="240" y="80"/>
                        </a:lnTo>
                        <a:lnTo>
                          <a:pt x="239" y="87"/>
                        </a:lnTo>
                        <a:lnTo>
                          <a:pt x="232" y="88"/>
                        </a:lnTo>
                        <a:lnTo>
                          <a:pt x="229" y="82"/>
                        </a:lnTo>
                        <a:lnTo>
                          <a:pt x="220" y="80"/>
                        </a:lnTo>
                        <a:lnTo>
                          <a:pt x="215" y="74"/>
                        </a:lnTo>
                        <a:lnTo>
                          <a:pt x="216" y="68"/>
                        </a:lnTo>
                        <a:lnTo>
                          <a:pt x="219" y="65"/>
                        </a:lnTo>
                        <a:lnTo>
                          <a:pt x="224" y="57"/>
                        </a:lnTo>
                        <a:lnTo>
                          <a:pt x="221" y="52"/>
                        </a:lnTo>
                        <a:lnTo>
                          <a:pt x="225" y="48"/>
                        </a:lnTo>
                        <a:lnTo>
                          <a:pt x="231" y="52"/>
                        </a:lnTo>
                        <a:close/>
                        <a:moveTo>
                          <a:pt x="1" y="0"/>
                        </a:moveTo>
                        <a:lnTo>
                          <a:pt x="12" y="13"/>
                        </a:lnTo>
                        <a:lnTo>
                          <a:pt x="17" y="17"/>
                        </a:lnTo>
                        <a:lnTo>
                          <a:pt x="23" y="13"/>
                        </a:lnTo>
                        <a:lnTo>
                          <a:pt x="35" y="18"/>
                        </a:lnTo>
                        <a:lnTo>
                          <a:pt x="40" y="25"/>
                        </a:lnTo>
                        <a:lnTo>
                          <a:pt x="50" y="32"/>
                        </a:lnTo>
                        <a:lnTo>
                          <a:pt x="57" y="40"/>
                        </a:lnTo>
                        <a:lnTo>
                          <a:pt x="74" y="53"/>
                        </a:lnTo>
                        <a:lnTo>
                          <a:pt x="85" y="55"/>
                        </a:lnTo>
                        <a:lnTo>
                          <a:pt x="89" y="64"/>
                        </a:lnTo>
                        <a:lnTo>
                          <a:pt x="92" y="69"/>
                        </a:lnTo>
                        <a:lnTo>
                          <a:pt x="98" y="70"/>
                        </a:lnTo>
                        <a:lnTo>
                          <a:pt x="98" y="79"/>
                        </a:lnTo>
                        <a:lnTo>
                          <a:pt x="106" y="85"/>
                        </a:lnTo>
                        <a:lnTo>
                          <a:pt x="111" y="92"/>
                        </a:lnTo>
                        <a:lnTo>
                          <a:pt x="113" y="97"/>
                        </a:lnTo>
                        <a:lnTo>
                          <a:pt x="121" y="99"/>
                        </a:lnTo>
                        <a:lnTo>
                          <a:pt x="128" y="105"/>
                        </a:lnTo>
                        <a:lnTo>
                          <a:pt x="133" y="105"/>
                        </a:lnTo>
                        <a:lnTo>
                          <a:pt x="143" y="113"/>
                        </a:lnTo>
                        <a:lnTo>
                          <a:pt x="154" y="123"/>
                        </a:lnTo>
                        <a:lnTo>
                          <a:pt x="166" y="132"/>
                        </a:lnTo>
                        <a:lnTo>
                          <a:pt x="178" y="145"/>
                        </a:lnTo>
                        <a:lnTo>
                          <a:pt x="185" y="149"/>
                        </a:lnTo>
                        <a:lnTo>
                          <a:pt x="193" y="157"/>
                        </a:lnTo>
                        <a:lnTo>
                          <a:pt x="199" y="159"/>
                        </a:lnTo>
                        <a:lnTo>
                          <a:pt x="203" y="162"/>
                        </a:lnTo>
                        <a:lnTo>
                          <a:pt x="205" y="168"/>
                        </a:lnTo>
                        <a:lnTo>
                          <a:pt x="209" y="174"/>
                        </a:lnTo>
                        <a:lnTo>
                          <a:pt x="208" y="182"/>
                        </a:lnTo>
                        <a:lnTo>
                          <a:pt x="200" y="187"/>
                        </a:lnTo>
                        <a:lnTo>
                          <a:pt x="199" y="183"/>
                        </a:lnTo>
                        <a:lnTo>
                          <a:pt x="191" y="188"/>
                        </a:lnTo>
                        <a:lnTo>
                          <a:pt x="181" y="178"/>
                        </a:lnTo>
                        <a:lnTo>
                          <a:pt x="170" y="179"/>
                        </a:lnTo>
                        <a:lnTo>
                          <a:pt x="158" y="168"/>
                        </a:lnTo>
                        <a:lnTo>
                          <a:pt x="154" y="168"/>
                        </a:lnTo>
                        <a:lnTo>
                          <a:pt x="148" y="162"/>
                        </a:lnTo>
                        <a:lnTo>
                          <a:pt x="146" y="152"/>
                        </a:lnTo>
                        <a:lnTo>
                          <a:pt x="133" y="149"/>
                        </a:lnTo>
                        <a:lnTo>
                          <a:pt x="129" y="144"/>
                        </a:lnTo>
                        <a:lnTo>
                          <a:pt x="125" y="144"/>
                        </a:lnTo>
                        <a:lnTo>
                          <a:pt x="119" y="134"/>
                        </a:lnTo>
                        <a:lnTo>
                          <a:pt x="115" y="137"/>
                        </a:lnTo>
                        <a:lnTo>
                          <a:pt x="103" y="129"/>
                        </a:lnTo>
                        <a:lnTo>
                          <a:pt x="100" y="124"/>
                        </a:lnTo>
                        <a:lnTo>
                          <a:pt x="96" y="125"/>
                        </a:lnTo>
                        <a:lnTo>
                          <a:pt x="89" y="122"/>
                        </a:lnTo>
                        <a:lnTo>
                          <a:pt x="86" y="117"/>
                        </a:lnTo>
                        <a:lnTo>
                          <a:pt x="80" y="114"/>
                        </a:lnTo>
                        <a:lnTo>
                          <a:pt x="76" y="107"/>
                        </a:lnTo>
                        <a:lnTo>
                          <a:pt x="68" y="99"/>
                        </a:lnTo>
                        <a:lnTo>
                          <a:pt x="63" y="98"/>
                        </a:lnTo>
                        <a:lnTo>
                          <a:pt x="58" y="89"/>
                        </a:lnTo>
                        <a:lnTo>
                          <a:pt x="56" y="84"/>
                        </a:lnTo>
                        <a:lnTo>
                          <a:pt x="50" y="80"/>
                        </a:lnTo>
                        <a:lnTo>
                          <a:pt x="45" y="73"/>
                        </a:lnTo>
                        <a:lnTo>
                          <a:pt x="45" y="70"/>
                        </a:lnTo>
                        <a:lnTo>
                          <a:pt x="35" y="65"/>
                        </a:lnTo>
                        <a:lnTo>
                          <a:pt x="25" y="55"/>
                        </a:lnTo>
                        <a:lnTo>
                          <a:pt x="24" y="50"/>
                        </a:lnTo>
                        <a:lnTo>
                          <a:pt x="20" y="40"/>
                        </a:lnTo>
                        <a:lnTo>
                          <a:pt x="13" y="35"/>
                        </a:lnTo>
                        <a:lnTo>
                          <a:pt x="11" y="28"/>
                        </a:lnTo>
                        <a:lnTo>
                          <a:pt x="11" y="20"/>
                        </a:lnTo>
                        <a:lnTo>
                          <a:pt x="9" y="18"/>
                        </a:lnTo>
                        <a:lnTo>
                          <a:pt x="3" y="18"/>
                        </a:lnTo>
                        <a:lnTo>
                          <a:pt x="0" y="14"/>
                        </a:lnTo>
                        <a:lnTo>
                          <a:pt x="4" y="5"/>
                        </a:lnTo>
                        <a:lnTo>
                          <a:pt x="1"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5" name="Nauru" descr="{&quot;Key&quot;:&quot;nauru&quot;,&quot;Name&quot;:&quot;Nauru&quot;,&quot;Value&quot;:1.0,&quot;Formula&quot;:&quot;&quot;,&quot;Text&quot;:&quot;&quot;,&quot;OfficeApplication&quot;:1,&quot;HasValue&quot;:true}">
                    <a:extLst>
                      <a:ext uri="{FF2B5EF4-FFF2-40B4-BE49-F238E27FC236}">
                        <a16:creationId xmlns:a16="http://schemas.microsoft.com/office/drawing/2014/main" id="{0721363C-E156-927F-7148-24DC913B8542}"/>
                      </a:ext>
                    </a:extLst>
                  </p:cNvPr>
                  <p:cNvSpPr>
                    <a:spLocks noChangeArrowheads="1"/>
                  </p:cNvSpPr>
                  <p:nvPr/>
                </p:nvSpPr>
                <p:spPr bwMode="auto">
                  <a:xfrm>
                    <a:off x="4156" y="2796"/>
                    <a:ext cx="1" cy="1"/>
                  </a:xfrm>
                  <a:prstGeom prst="rect">
                    <a:avLst/>
                  </a:pr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6" name="Palau" descr="{&quot;Key&quot;:&quot;palau&quot;,&quot;Name&quot;:&quot;Palau&quot;,&quot;Value&quot;:1.0,&quot;Formula&quot;:&quot;&quot;,&quot;Text&quot;:&quot;&quot;,&quot;OfficeApplication&quot;:1,&quot;HasValue&quot;:true}">
                    <a:extLst>
                      <a:ext uri="{FF2B5EF4-FFF2-40B4-BE49-F238E27FC236}">
                        <a16:creationId xmlns:a16="http://schemas.microsoft.com/office/drawing/2014/main" id="{57712904-9C81-64D9-F5D3-5446BB0FF949}"/>
                      </a:ext>
                    </a:extLst>
                  </p:cNvPr>
                  <p:cNvSpPr>
                    <a:spLocks/>
                  </p:cNvSpPr>
                  <p:nvPr/>
                </p:nvSpPr>
                <p:spPr bwMode="auto">
                  <a:xfrm>
                    <a:off x="3508" y="2612"/>
                    <a:ext cx="3" cy="6"/>
                  </a:xfrm>
                  <a:custGeom>
                    <a:avLst/>
                    <a:gdLst>
                      <a:gd name="T0" fmla="*/ 12 w 12"/>
                      <a:gd name="T1" fmla="*/ 1 h 20"/>
                      <a:gd name="T2" fmla="*/ 7 w 12"/>
                      <a:gd name="T3" fmla="*/ 15 h 20"/>
                      <a:gd name="T4" fmla="*/ 2 w 12"/>
                      <a:gd name="T5" fmla="*/ 20 h 20"/>
                      <a:gd name="T6" fmla="*/ 0 w 12"/>
                      <a:gd name="T7" fmla="*/ 11 h 20"/>
                      <a:gd name="T8" fmla="*/ 6 w 12"/>
                      <a:gd name="T9" fmla="*/ 0 h 20"/>
                      <a:gd name="T10" fmla="*/ 12 w 12"/>
                      <a:gd name="T11" fmla="*/ 1 h 20"/>
                    </a:gdLst>
                    <a:ahLst/>
                    <a:cxnLst>
                      <a:cxn ang="0">
                        <a:pos x="T0" y="T1"/>
                      </a:cxn>
                      <a:cxn ang="0">
                        <a:pos x="T2" y="T3"/>
                      </a:cxn>
                      <a:cxn ang="0">
                        <a:pos x="T4" y="T5"/>
                      </a:cxn>
                      <a:cxn ang="0">
                        <a:pos x="T6" y="T7"/>
                      </a:cxn>
                      <a:cxn ang="0">
                        <a:pos x="T8" y="T9"/>
                      </a:cxn>
                      <a:cxn ang="0">
                        <a:pos x="T10" y="T11"/>
                      </a:cxn>
                    </a:cxnLst>
                    <a:rect l="0" t="0" r="r" b="b"/>
                    <a:pathLst>
                      <a:path w="12" h="20">
                        <a:moveTo>
                          <a:pt x="12" y="1"/>
                        </a:moveTo>
                        <a:lnTo>
                          <a:pt x="7" y="15"/>
                        </a:lnTo>
                        <a:lnTo>
                          <a:pt x="2" y="20"/>
                        </a:lnTo>
                        <a:lnTo>
                          <a:pt x="0" y="11"/>
                        </a:lnTo>
                        <a:lnTo>
                          <a:pt x="6" y="0"/>
                        </a:lnTo>
                        <a:lnTo>
                          <a:pt x="12" y="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387" name="Puerto Rico" descr="{&quot;Key&quot;:&quot;puerto rico&quot;,&quot;Name&quot;:&quot;Puerto Rico&quot;,&quot;Value&quot;:1.0,&quot;Formula&quot;:&quot;&quot;,&quot;Text&quot;:&quot;&quot;,&quot;OfficeApplication&quot;:1,&quot;HasValue&quot;:true}">
                    <a:extLst>
                      <a:ext uri="{FF2B5EF4-FFF2-40B4-BE49-F238E27FC236}">
                        <a16:creationId xmlns:a16="http://schemas.microsoft.com/office/drawing/2014/main" id="{D68297DA-2253-1FB5-C12B-5A6327A56D25}"/>
                      </a:ext>
                    </a:extLst>
                  </p:cNvPr>
                  <p:cNvSpPr>
                    <a:spLocks noEditPoints="1"/>
                  </p:cNvSpPr>
                  <p:nvPr/>
                </p:nvSpPr>
                <p:spPr bwMode="auto">
                  <a:xfrm>
                    <a:off x="6631" y="2365"/>
                    <a:ext cx="41" cy="13"/>
                  </a:xfrm>
                  <a:custGeom>
                    <a:avLst/>
                    <a:gdLst>
                      <a:gd name="T0" fmla="*/ 145 w 145"/>
                      <a:gd name="T1" fmla="*/ 32 h 49"/>
                      <a:gd name="T2" fmla="*/ 133 w 145"/>
                      <a:gd name="T3" fmla="*/ 36 h 49"/>
                      <a:gd name="T4" fmla="*/ 131 w 145"/>
                      <a:gd name="T5" fmla="*/ 31 h 49"/>
                      <a:gd name="T6" fmla="*/ 136 w 145"/>
                      <a:gd name="T7" fmla="*/ 29 h 49"/>
                      <a:gd name="T8" fmla="*/ 145 w 145"/>
                      <a:gd name="T9" fmla="*/ 32 h 49"/>
                      <a:gd name="T10" fmla="*/ 16 w 145"/>
                      <a:gd name="T11" fmla="*/ 2 h 49"/>
                      <a:gd name="T12" fmla="*/ 24 w 145"/>
                      <a:gd name="T13" fmla="*/ 4 h 49"/>
                      <a:gd name="T14" fmla="*/ 43 w 145"/>
                      <a:gd name="T15" fmla="*/ 3 h 49"/>
                      <a:gd name="T16" fmla="*/ 55 w 145"/>
                      <a:gd name="T17" fmla="*/ 4 h 49"/>
                      <a:gd name="T18" fmla="*/ 61 w 145"/>
                      <a:gd name="T19" fmla="*/ 3 h 49"/>
                      <a:gd name="T20" fmla="*/ 70 w 145"/>
                      <a:gd name="T21" fmla="*/ 4 h 49"/>
                      <a:gd name="T22" fmla="*/ 80 w 145"/>
                      <a:gd name="T23" fmla="*/ 7 h 49"/>
                      <a:gd name="T24" fmla="*/ 90 w 145"/>
                      <a:gd name="T25" fmla="*/ 6 h 49"/>
                      <a:gd name="T26" fmla="*/ 100 w 145"/>
                      <a:gd name="T27" fmla="*/ 8 h 49"/>
                      <a:gd name="T28" fmla="*/ 114 w 145"/>
                      <a:gd name="T29" fmla="*/ 13 h 49"/>
                      <a:gd name="T30" fmla="*/ 117 w 145"/>
                      <a:gd name="T31" fmla="*/ 22 h 49"/>
                      <a:gd name="T32" fmla="*/ 121 w 145"/>
                      <a:gd name="T33" fmla="*/ 24 h 49"/>
                      <a:gd name="T34" fmla="*/ 112 w 145"/>
                      <a:gd name="T35" fmla="*/ 28 h 49"/>
                      <a:gd name="T36" fmla="*/ 107 w 145"/>
                      <a:gd name="T37" fmla="*/ 40 h 49"/>
                      <a:gd name="T38" fmla="*/ 101 w 145"/>
                      <a:gd name="T39" fmla="*/ 45 h 49"/>
                      <a:gd name="T40" fmla="*/ 96 w 145"/>
                      <a:gd name="T41" fmla="*/ 45 h 49"/>
                      <a:gd name="T42" fmla="*/ 86 w 145"/>
                      <a:gd name="T43" fmla="*/ 49 h 49"/>
                      <a:gd name="T44" fmla="*/ 76 w 145"/>
                      <a:gd name="T45" fmla="*/ 48 h 49"/>
                      <a:gd name="T46" fmla="*/ 74 w 145"/>
                      <a:gd name="T47" fmla="*/ 45 h 49"/>
                      <a:gd name="T48" fmla="*/ 67 w 145"/>
                      <a:gd name="T49" fmla="*/ 47 h 49"/>
                      <a:gd name="T50" fmla="*/ 64 w 145"/>
                      <a:gd name="T51" fmla="*/ 44 h 49"/>
                      <a:gd name="T52" fmla="*/ 55 w 145"/>
                      <a:gd name="T53" fmla="*/ 47 h 49"/>
                      <a:gd name="T54" fmla="*/ 42 w 145"/>
                      <a:gd name="T55" fmla="*/ 44 h 49"/>
                      <a:gd name="T56" fmla="*/ 31 w 145"/>
                      <a:gd name="T57" fmla="*/ 47 h 49"/>
                      <a:gd name="T58" fmla="*/ 21 w 145"/>
                      <a:gd name="T59" fmla="*/ 45 h 49"/>
                      <a:gd name="T60" fmla="*/ 19 w 145"/>
                      <a:gd name="T61" fmla="*/ 47 h 49"/>
                      <a:gd name="T62" fmla="*/ 11 w 145"/>
                      <a:gd name="T63" fmla="*/ 45 h 49"/>
                      <a:gd name="T64" fmla="*/ 10 w 145"/>
                      <a:gd name="T65" fmla="*/ 32 h 49"/>
                      <a:gd name="T66" fmla="*/ 11 w 145"/>
                      <a:gd name="T67" fmla="*/ 27 h 49"/>
                      <a:gd name="T68" fmla="*/ 7 w 145"/>
                      <a:gd name="T69" fmla="*/ 19 h 49"/>
                      <a:gd name="T70" fmla="*/ 0 w 145"/>
                      <a:gd name="T71" fmla="*/ 13 h 49"/>
                      <a:gd name="T72" fmla="*/ 7 w 145"/>
                      <a:gd name="T73" fmla="*/ 9 h 49"/>
                      <a:gd name="T74" fmla="*/ 5 w 145"/>
                      <a:gd name="T75" fmla="*/ 4 h 49"/>
                      <a:gd name="T76" fmla="*/ 10 w 145"/>
                      <a:gd name="T77" fmla="*/ 0 h 49"/>
                      <a:gd name="T78" fmla="*/ 16 w 145"/>
                      <a:gd name="T79"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49">
                        <a:moveTo>
                          <a:pt x="145" y="32"/>
                        </a:moveTo>
                        <a:lnTo>
                          <a:pt x="133" y="36"/>
                        </a:lnTo>
                        <a:lnTo>
                          <a:pt x="131" y="31"/>
                        </a:lnTo>
                        <a:lnTo>
                          <a:pt x="136" y="29"/>
                        </a:lnTo>
                        <a:lnTo>
                          <a:pt x="145" y="32"/>
                        </a:lnTo>
                        <a:close/>
                        <a:moveTo>
                          <a:pt x="16" y="2"/>
                        </a:moveTo>
                        <a:lnTo>
                          <a:pt x="24" y="4"/>
                        </a:lnTo>
                        <a:lnTo>
                          <a:pt x="43" y="3"/>
                        </a:lnTo>
                        <a:lnTo>
                          <a:pt x="55" y="4"/>
                        </a:lnTo>
                        <a:lnTo>
                          <a:pt x="61" y="3"/>
                        </a:lnTo>
                        <a:lnTo>
                          <a:pt x="70" y="4"/>
                        </a:lnTo>
                        <a:lnTo>
                          <a:pt x="80" y="7"/>
                        </a:lnTo>
                        <a:lnTo>
                          <a:pt x="90" y="6"/>
                        </a:lnTo>
                        <a:lnTo>
                          <a:pt x="100" y="8"/>
                        </a:lnTo>
                        <a:lnTo>
                          <a:pt x="114" y="13"/>
                        </a:lnTo>
                        <a:lnTo>
                          <a:pt x="117" y="22"/>
                        </a:lnTo>
                        <a:lnTo>
                          <a:pt x="121" y="24"/>
                        </a:lnTo>
                        <a:lnTo>
                          <a:pt x="112" y="28"/>
                        </a:lnTo>
                        <a:lnTo>
                          <a:pt x="107" y="40"/>
                        </a:lnTo>
                        <a:lnTo>
                          <a:pt x="101" y="45"/>
                        </a:lnTo>
                        <a:lnTo>
                          <a:pt x="96" y="45"/>
                        </a:lnTo>
                        <a:lnTo>
                          <a:pt x="86" y="49"/>
                        </a:lnTo>
                        <a:lnTo>
                          <a:pt x="76" y="48"/>
                        </a:lnTo>
                        <a:lnTo>
                          <a:pt x="74" y="45"/>
                        </a:lnTo>
                        <a:lnTo>
                          <a:pt x="67" y="47"/>
                        </a:lnTo>
                        <a:lnTo>
                          <a:pt x="64" y="44"/>
                        </a:lnTo>
                        <a:lnTo>
                          <a:pt x="55" y="47"/>
                        </a:lnTo>
                        <a:lnTo>
                          <a:pt x="42" y="44"/>
                        </a:lnTo>
                        <a:lnTo>
                          <a:pt x="31" y="47"/>
                        </a:lnTo>
                        <a:lnTo>
                          <a:pt x="21" y="45"/>
                        </a:lnTo>
                        <a:lnTo>
                          <a:pt x="19" y="47"/>
                        </a:lnTo>
                        <a:lnTo>
                          <a:pt x="11" y="45"/>
                        </a:lnTo>
                        <a:lnTo>
                          <a:pt x="10" y="32"/>
                        </a:lnTo>
                        <a:lnTo>
                          <a:pt x="11" y="27"/>
                        </a:lnTo>
                        <a:lnTo>
                          <a:pt x="7" y="19"/>
                        </a:lnTo>
                        <a:lnTo>
                          <a:pt x="0" y="13"/>
                        </a:lnTo>
                        <a:lnTo>
                          <a:pt x="7" y="9"/>
                        </a:lnTo>
                        <a:lnTo>
                          <a:pt x="5" y="4"/>
                        </a:lnTo>
                        <a:lnTo>
                          <a:pt x="10" y="0"/>
                        </a:lnTo>
                        <a:lnTo>
                          <a:pt x="16"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grpSp>
            <p:sp>
              <p:nvSpPr>
                <p:cNvPr id="111" name="French Polynesia" descr="{&quot;Key&quot;:&quot;french polynesia&quot;,&quot;Name&quot;:&quot;French Polynesia&quot;,&quot;Value&quot;:1.0,&quot;Formula&quot;:&quot;&quot;,&quot;Text&quot;:&quot;&quot;,&quot;OfficeApplication&quot;:1,&quot;HasValue&quot;:true}">
                  <a:extLst>
                    <a:ext uri="{FF2B5EF4-FFF2-40B4-BE49-F238E27FC236}">
                      <a16:creationId xmlns:a16="http://schemas.microsoft.com/office/drawing/2014/main" id="{3F040AA3-A3F8-CA6E-83CE-D3658422FB86}"/>
                    </a:ext>
                  </a:extLst>
                </p:cNvPr>
                <p:cNvSpPr>
                  <a:spLocks noEditPoints="1"/>
                </p:cNvSpPr>
                <p:nvPr/>
              </p:nvSpPr>
              <p:spPr bwMode="auto">
                <a:xfrm>
                  <a:off x="7908768" y="4643734"/>
                  <a:ext cx="414338" cy="327025"/>
                </a:xfrm>
                <a:custGeom>
                  <a:avLst/>
                  <a:gdLst>
                    <a:gd name="T0" fmla="*/ 750 w 938"/>
                    <a:gd name="T1" fmla="*/ 738 h 739"/>
                    <a:gd name="T2" fmla="*/ 748 w 938"/>
                    <a:gd name="T3" fmla="*/ 737 h 739"/>
                    <a:gd name="T4" fmla="*/ 753 w 938"/>
                    <a:gd name="T5" fmla="*/ 729 h 739"/>
                    <a:gd name="T6" fmla="*/ 760 w 938"/>
                    <a:gd name="T7" fmla="*/ 726 h 739"/>
                    <a:gd name="T8" fmla="*/ 764 w 938"/>
                    <a:gd name="T9" fmla="*/ 728 h 739"/>
                    <a:gd name="T10" fmla="*/ 750 w 938"/>
                    <a:gd name="T11" fmla="*/ 738 h 739"/>
                    <a:gd name="T12" fmla="*/ 150 w 938"/>
                    <a:gd name="T13" fmla="*/ 726 h 739"/>
                    <a:gd name="T14" fmla="*/ 158 w 938"/>
                    <a:gd name="T15" fmla="*/ 728 h 739"/>
                    <a:gd name="T16" fmla="*/ 160 w 938"/>
                    <a:gd name="T17" fmla="*/ 733 h 739"/>
                    <a:gd name="T18" fmla="*/ 156 w 938"/>
                    <a:gd name="T19" fmla="*/ 739 h 739"/>
                    <a:gd name="T20" fmla="*/ 150 w 938"/>
                    <a:gd name="T21" fmla="*/ 737 h 739"/>
                    <a:gd name="T22" fmla="*/ 146 w 938"/>
                    <a:gd name="T23" fmla="*/ 727 h 739"/>
                    <a:gd name="T24" fmla="*/ 139 w 938"/>
                    <a:gd name="T25" fmla="*/ 730 h 739"/>
                    <a:gd name="T26" fmla="*/ 129 w 938"/>
                    <a:gd name="T27" fmla="*/ 728 h 739"/>
                    <a:gd name="T28" fmla="*/ 126 w 938"/>
                    <a:gd name="T29" fmla="*/ 717 h 739"/>
                    <a:gd name="T30" fmla="*/ 130 w 938"/>
                    <a:gd name="T31" fmla="*/ 710 h 739"/>
                    <a:gd name="T32" fmla="*/ 136 w 938"/>
                    <a:gd name="T33" fmla="*/ 709 h 739"/>
                    <a:gd name="T34" fmla="*/ 143 w 938"/>
                    <a:gd name="T35" fmla="*/ 709 h 739"/>
                    <a:gd name="T36" fmla="*/ 148 w 938"/>
                    <a:gd name="T37" fmla="*/ 712 h 739"/>
                    <a:gd name="T38" fmla="*/ 150 w 938"/>
                    <a:gd name="T39" fmla="*/ 726 h 739"/>
                    <a:gd name="T40" fmla="*/ 118 w 938"/>
                    <a:gd name="T41" fmla="*/ 707 h 739"/>
                    <a:gd name="T42" fmla="*/ 113 w 938"/>
                    <a:gd name="T43" fmla="*/ 714 h 739"/>
                    <a:gd name="T44" fmla="*/ 110 w 938"/>
                    <a:gd name="T45" fmla="*/ 708 h 739"/>
                    <a:gd name="T46" fmla="*/ 118 w 938"/>
                    <a:gd name="T47" fmla="*/ 707 h 739"/>
                    <a:gd name="T48" fmla="*/ 9 w 938"/>
                    <a:gd name="T49" fmla="*/ 657 h 739"/>
                    <a:gd name="T50" fmla="*/ 1 w 938"/>
                    <a:gd name="T51" fmla="*/ 659 h 739"/>
                    <a:gd name="T52" fmla="*/ 0 w 938"/>
                    <a:gd name="T53" fmla="*/ 649 h 739"/>
                    <a:gd name="T54" fmla="*/ 4 w 938"/>
                    <a:gd name="T55" fmla="*/ 647 h 739"/>
                    <a:gd name="T56" fmla="*/ 9 w 938"/>
                    <a:gd name="T57" fmla="*/ 657 h 739"/>
                    <a:gd name="T58" fmla="*/ 919 w 938"/>
                    <a:gd name="T59" fmla="*/ 99 h 739"/>
                    <a:gd name="T60" fmla="*/ 916 w 938"/>
                    <a:gd name="T61" fmla="*/ 94 h 739"/>
                    <a:gd name="T62" fmla="*/ 920 w 938"/>
                    <a:gd name="T63" fmla="*/ 91 h 739"/>
                    <a:gd name="T64" fmla="*/ 924 w 938"/>
                    <a:gd name="T65" fmla="*/ 93 h 739"/>
                    <a:gd name="T66" fmla="*/ 919 w 938"/>
                    <a:gd name="T67" fmla="*/ 99 h 739"/>
                    <a:gd name="T68" fmla="*/ 936 w 938"/>
                    <a:gd name="T69" fmla="*/ 79 h 739"/>
                    <a:gd name="T70" fmla="*/ 938 w 938"/>
                    <a:gd name="T71" fmla="*/ 82 h 739"/>
                    <a:gd name="T72" fmla="*/ 916 w 938"/>
                    <a:gd name="T73" fmla="*/ 84 h 739"/>
                    <a:gd name="T74" fmla="*/ 916 w 938"/>
                    <a:gd name="T75" fmla="*/ 79 h 739"/>
                    <a:gd name="T76" fmla="*/ 925 w 938"/>
                    <a:gd name="T77" fmla="*/ 76 h 739"/>
                    <a:gd name="T78" fmla="*/ 936 w 938"/>
                    <a:gd name="T79" fmla="*/ 79 h 739"/>
                    <a:gd name="T80" fmla="*/ 854 w 938"/>
                    <a:gd name="T81" fmla="*/ 45 h 739"/>
                    <a:gd name="T82" fmla="*/ 854 w 938"/>
                    <a:gd name="T83" fmla="*/ 53 h 739"/>
                    <a:gd name="T84" fmla="*/ 850 w 938"/>
                    <a:gd name="T85" fmla="*/ 53 h 739"/>
                    <a:gd name="T86" fmla="*/ 846 w 938"/>
                    <a:gd name="T87" fmla="*/ 48 h 739"/>
                    <a:gd name="T88" fmla="*/ 851 w 938"/>
                    <a:gd name="T89" fmla="*/ 44 h 739"/>
                    <a:gd name="T90" fmla="*/ 854 w 938"/>
                    <a:gd name="T91" fmla="*/ 45 h 739"/>
                    <a:gd name="T92" fmla="*/ 845 w 938"/>
                    <a:gd name="T93" fmla="*/ 0 h 739"/>
                    <a:gd name="T94" fmla="*/ 856 w 938"/>
                    <a:gd name="T95" fmla="*/ 2 h 739"/>
                    <a:gd name="T96" fmla="*/ 859 w 938"/>
                    <a:gd name="T97" fmla="*/ 8 h 739"/>
                    <a:gd name="T98" fmla="*/ 853 w 938"/>
                    <a:gd name="T99" fmla="*/ 12 h 739"/>
                    <a:gd name="T100" fmla="*/ 844 w 938"/>
                    <a:gd name="T101" fmla="*/ 12 h 739"/>
                    <a:gd name="T102" fmla="*/ 843 w 938"/>
                    <a:gd name="T103" fmla="*/ 4 h 739"/>
                    <a:gd name="T104" fmla="*/ 845 w 938"/>
                    <a:gd name="T105" fmla="*/ 0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8" h="739">
                      <a:moveTo>
                        <a:pt x="750" y="738"/>
                      </a:moveTo>
                      <a:lnTo>
                        <a:pt x="748" y="737"/>
                      </a:lnTo>
                      <a:lnTo>
                        <a:pt x="753" y="729"/>
                      </a:lnTo>
                      <a:lnTo>
                        <a:pt x="760" y="726"/>
                      </a:lnTo>
                      <a:lnTo>
                        <a:pt x="764" y="728"/>
                      </a:lnTo>
                      <a:lnTo>
                        <a:pt x="750" y="738"/>
                      </a:lnTo>
                      <a:close/>
                      <a:moveTo>
                        <a:pt x="150" y="726"/>
                      </a:moveTo>
                      <a:lnTo>
                        <a:pt x="158" y="728"/>
                      </a:lnTo>
                      <a:lnTo>
                        <a:pt x="160" y="733"/>
                      </a:lnTo>
                      <a:lnTo>
                        <a:pt x="156" y="739"/>
                      </a:lnTo>
                      <a:lnTo>
                        <a:pt x="150" y="737"/>
                      </a:lnTo>
                      <a:lnTo>
                        <a:pt x="146" y="727"/>
                      </a:lnTo>
                      <a:lnTo>
                        <a:pt x="139" y="730"/>
                      </a:lnTo>
                      <a:lnTo>
                        <a:pt x="129" y="728"/>
                      </a:lnTo>
                      <a:lnTo>
                        <a:pt x="126" y="717"/>
                      </a:lnTo>
                      <a:lnTo>
                        <a:pt x="130" y="710"/>
                      </a:lnTo>
                      <a:lnTo>
                        <a:pt x="136" y="709"/>
                      </a:lnTo>
                      <a:lnTo>
                        <a:pt x="143" y="709"/>
                      </a:lnTo>
                      <a:lnTo>
                        <a:pt x="148" y="712"/>
                      </a:lnTo>
                      <a:lnTo>
                        <a:pt x="150" y="726"/>
                      </a:lnTo>
                      <a:close/>
                      <a:moveTo>
                        <a:pt x="118" y="707"/>
                      </a:moveTo>
                      <a:lnTo>
                        <a:pt x="113" y="714"/>
                      </a:lnTo>
                      <a:lnTo>
                        <a:pt x="110" y="708"/>
                      </a:lnTo>
                      <a:lnTo>
                        <a:pt x="118" y="707"/>
                      </a:lnTo>
                      <a:close/>
                      <a:moveTo>
                        <a:pt x="9" y="657"/>
                      </a:moveTo>
                      <a:lnTo>
                        <a:pt x="1" y="659"/>
                      </a:lnTo>
                      <a:lnTo>
                        <a:pt x="0" y="649"/>
                      </a:lnTo>
                      <a:lnTo>
                        <a:pt x="4" y="647"/>
                      </a:lnTo>
                      <a:lnTo>
                        <a:pt x="9" y="657"/>
                      </a:lnTo>
                      <a:close/>
                      <a:moveTo>
                        <a:pt x="919" y="99"/>
                      </a:moveTo>
                      <a:lnTo>
                        <a:pt x="916" y="94"/>
                      </a:lnTo>
                      <a:lnTo>
                        <a:pt x="920" y="91"/>
                      </a:lnTo>
                      <a:lnTo>
                        <a:pt x="924" y="93"/>
                      </a:lnTo>
                      <a:lnTo>
                        <a:pt x="919" y="99"/>
                      </a:lnTo>
                      <a:close/>
                      <a:moveTo>
                        <a:pt x="936" y="79"/>
                      </a:moveTo>
                      <a:lnTo>
                        <a:pt x="938" y="82"/>
                      </a:lnTo>
                      <a:lnTo>
                        <a:pt x="916" y="84"/>
                      </a:lnTo>
                      <a:lnTo>
                        <a:pt x="916" y="79"/>
                      </a:lnTo>
                      <a:lnTo>
                        <a:pt x="925" y="76"/>
                      </a:lnTo>
                      <a:lnTo>
                        <a:pt x="936" y="79"/>
                      </a:lnTo>
                      <a:close/>
                      <a:moveTo>
                        <a:pt x="854" y="45"/>
                      </a:moveTo>
                      <a:lnTo>
                        <a:pt x="854" y="53"/>
                      </a:lnTo>
                      <a:lnTo>
                        <a:pt x="850" y="53"/>
                      </a:lnTo>
                      <a:lnTo>
                        <a:pt x="846" y="48"/>
                      </a:lnTo>
                      <a:lnTo>
                        <a:pt x="851" y="44"/>
                      </a:lnTo>
                      <a:lnTo>
                        <a:pt x="854" y="45"/>
                      </a:lnTo>
                      <a:close/>
                      <a:moveTo>
                        <a:pt x="845" y="0"/>
                      </a:moveTo>
                      <a:lnTo>
                        <a:pt x="856" y="2"/>
                      </a:lnTo>
                      <a:lnTo>
                        <a:pt x="859" y="8"/>
                      </a:lnTo>
                      <a:lnTo>
                        <a:pt x="853" y="12"/>
                      </a:lnTo>
                      <a:lnTo>
                        <a:pt x="844" y="12"/>
                      </a:lnTo>
                      <a:lnTo>
                        <a:pt x="843" y="4"/>
                      </a:lnTo>
                      <a:lnTo>
                        <a:pt x="845"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2" name="Salomon Islands" descr="{&quot;Key&quot;:&quot;salomon islands&quot;,&quot;Name&quot;:&quot;Salomon Islands&quot;,&quot;Value&quot;:1.0,&quot;Formula&quot;:&quot;&quot;,&quot;Text&quot;:&quot;&quot;,&quot;OfficeApplication&quot;:1,&quot;HasValue&quot;:true}">
                  <a:extLst>
                    <a:ext uri="{FF2B5EF4-FFF2-40B4-BE49-F238E27FC236}">
                      <a16:creationId xmlns:a16="http://schemas.microsoft.com/office/drawing/2014/main" id="{1D007D42-4FCA-A64A-156D-6D4DDF6244EE}"/>
                    </a:ext>
                  </a:extLst>
                </p:cNvPr>
                <p:cNvSpPr>
                  <a:spLocks noEditPoints="1"/>
                </p:cNvSpPr>
                <p:nvPr/>
              </p:nvSpPr>
              <p:spPr bwMode="auto">
                <a:xfrm>
                  <a:off x="6251418" y="4564359"/>
                  <a:ext cx="355600" cy="188913"/>
                </a:xfrm>
                <a:custGeom>
                  <a:avLst/>
                  <a:gdLst>
                    <a:gd name="T0" fmla="*/ 791 w 802"/>
                    <a:gd name="T1" fmla="*/ 409 h 426"/>
                    <a:gd name="T2" fmla="*/ 336 w 802"/>
                    <a:gd name="T3" fmla="*/ 411 h 426"/>
                    <a:gd name="T4" fmla="*/ 329 w 802"/>
                    <a:gd name="T5" fmla="*/ 414 h 426"/>
                    <a:gd name="T6" fmla="*/ 311 w 802"/>
                    <a:gd name="T7" fmla="*/ 398 h 426"/>
                    <a:gd name="T8" fmla="*/ 732 w 802"/>
                    <a:gd name="T9" fmla="*/ 339 h 426"/>
                    <a:gd name="T10" fmla="*/ 729 w 802"/>
                    <a:gd name="T11" fmla="*/ 330 h 426"/>
                    <a:gd name="T12" fmla="*/ 432 w 802"/>
                    <a:gd name="T13" fmla="*/ 309 h 426"/>
                    <a:gd name="T14" fmla="*/ 462 w 802"/>
                    <a:gd name="T15" fmla="*/ 317 h 426"/>
                    <a:gd name="T16" fmla="*/ 452 w 802"/>
                    <a:gd name="T17" fmla="*/ 339 h 426"/>
                    <a:gd name="T18" fmla="*/ 418 w 802"/>
                    <a:gd name="T19" fmla="*/ 317 h 426"/>
                    <a:gd name="T20" fmla="*/ 411 w 802"/>
                    <a:gd name="T21" fmla="*/ 229 h 426"/>
                    <a:gd name="T22" fmla="*/ 408 w 802"/>
                    <a:gd name="T23" fmla="*/ 235 h 426"/>
                    <a:gd name="T24" fmla="*/ 335 w 802"/>
                    <a:gd name="T25" fmla="*/ 229 h 426"/>
                    <a:gd name="T26" fmla="*/ 357 w 802"/>
                    <a:gd name="T27" fmla="*/ 251 h 426"/>
                    <a:gd name="T28" fmla="*/ 340 w 802"/>
                    <a:gd name="T29" fmla="*/ 268 h 426"/>
                    <a:gd name="T30" fmla="*/ 283 w 802"/>
                    <a:gd name="T31" fmla="*/ 241 h 426"/>
                    <a:gd name="T32" fmla="*/ 305 w 802"/>
                    <a:gd name="T33" fmla="*/ 230 h 426"/>
                    <a:gd name="T34" fmla="*/ 337 w 802"/>
                    <a:gd name="T35" fmla="*/ 206 h 426"/>
                    <a:gd name="T36" fmla="*/ 322 w 802"/>
                    <a:gd name="T37" fmla="*/ 201 h 426"/>
                    <a:gd name="T38" fmla="*/ 250 w 802"/>
                    <a:gd name="T39" fmla="*/ 203 h 426"/>
                    <a:gd name="T40" fmla="*/ 140 w 802"/>
                    <a:gd name="T41" fmla="*/ 179 h 426"/>
                    <a:gd name="T42" fmla="*/ 177 w 802"/>
                    <a:gd name="T43" fmla="*/ 179 h 426"/>
                    <a:gd name="T44" fmla="*/ 175 w 802"/>
                    <a:gd name="T45" fmla="*/ 156 h 426"/>
                    <a:gd name="T46" fmla="*/ 157 w 802"/>
                    <a:gd name="T47" fmla="*/ 169 h 426"/>
                    <a:gd name="T48" fmla="*/ 115 w 802"/>
                    <a:gd name="T49" fmla="*/ 164 h 426"/>
                    <a:gd name="T50" fmla="*/ 285 w 802"/>
                    <a:gd name="T51" fmla="*/ 153 h 426"/>
                    <a:gd name="T52" fmla="*/ 285 w 802"/>
                    <a:gd name="T53" fmla="*/ 153 h 426"/>
                    <a:gd name="T54" fmla="*/ 377 w 802"/>
                    <a:gd name="T55" fmla="*/ 170 h 426"/>
                    <a:gd name="T56" fmla="*/ 395 w 802"/>
                    <a:gd name="T57" fmla="*/ 206 h 426"/>
                    <a:gd name="T58" fmla="*/ 397 w 802"/>
                    <a:gd name="T59" fmla="*/ 231 h 426"/>
                    <a:gd name="T60" fmla="*/ 366 w 802"/>
                    <a:gd name="T61" fmla="*/ 196 h 426"/>
                    <a:gd name="T62" fmla="*/ 360 w 802"/>
                    <a:gd name="T63" fmla="*/ 154 h 426"/>
                    <a:gd name="T64" fmla="*/ 367 w 802"/>
                    <a:gd name="T65" fmla="*/ 143 h 426"/>
                    <a:gd name="T66" fmla="*/ 160 w 802"/>
                    <a:gd name="T67" fmla="*/ 154 h 426"/>
                    <a:gd name="T68" fmla="*/ 136 w 802"/>
                    <a:gd name="T69" fmla="*/ 136 h 426"/>
                    <a:gd name="T70" fmla="*/ 111 w 802"/>
                    <a:gd name="T71" fmla="*/ 131 h 426"/>
                    <a:gd name="T72" fmla="*/ 136 w 802"/>
                    <a:gd name="T73" fmla="*/ 114 h 426"/>
                    <a:gd name="T74" fmla="*/ 67 w 802"/>
                    <a:gd name="T75" fmla="*/ 118 h 426"/>
                    <a:gd name="T76" fmla="*/ 91 w 802"/>
                    <a:gd name="T77" fmla="*/ 113 h 426"/>
                    <a:gd name="T78" fmla="*/ 67 w 802"/>
                    <a:gd name="T79" fmla="*/ 79 h 426"/>
                    <a:gd name="T80" fmla="*/ 67 w 802"/>
                    <a:gd name="T81" fmla="*/ 104 h 426"/>
                    <a:gd name="T82" fmla="*/ 210 w 802"/>
                    <a:gd name="T83" fmla="*/ 80 h 426"/>
                    <a:gd name="T84" fmla="*/ 237 w 802"/>
                    <a:gd name="T85" fmla="*/ 100 h 426"/>
                    <a:gd name="T86" fmla="*/ 298 w 802"/>
                    <a:gd name="T87" fmla="*/ 140 h 426"/>
                    <a:gd name="T88" fmla="*/ 277 w 802"/>
                    <a:gd name="T89" fmla="*/ 141 h 426"/>
                    <a:gd name="T90" fmla="*/ 233 w 802"/>
                    <a:gd name="T91" fmla="*/ 115 h 426"/>
                    <a:gd name="T92" fmla="*/ 200 w 802"/>
                    <a:gd name="T93" fmla="*/ 79 h 426"/>
                    <a:gd name="T94" fmla="*/ 147 w 802"/>
                    <a:gd name="T95" fmla="*/ 64 h 426"/>
                    <a:gd name="T96" fmla="*/ 0 w 802"/>
                    <a:gd name="T97" fmla="*/ 39 h 426"/>
                    <a:gd name="T98" fmla="*/ 76 w 802"/>
                    <a:gd name="T99" fmla="*/ 11 h 426"/>
                    <a:gd name="T100" fmla="*/ 115 w 802"/>
                    <a:gd name="T101" fmla="*/ 50 h 426"/>
                    <a:gd name="T102" fmla="*/ 127 w 802"/>
                    <a:gd name="T103" fmla="*/ 66 h 426"/>
                    <a:gd name="T104" fmla="*/ 90 w 802"/>
                    <a:gd name="T105" fmla="*/ 49 h 426"/>
                    <a:gd name="T106" fmla="*/ 56 w 802"/>
                    <a:gd name="T107" fmla="*/ 5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2" h="426">
                      <a:moveTo>
                        <a:pt x="797" y="405"/>
                      </a:moveTo>
                      <a:lnTo>
                        <a:pt x="802" y="408"/>
                      </a:lnTo>
                      <a:lnTo>
                        <a:pt x="801" y="413"/>
                      </a:lnTo>
                      <a:lnTo>
                        <a:pt x="796" y="415"/>
                      </a:lnTo>
                      <a:lnTo>
                        <a:pt x="791" y="409"/>
                      </a:lnTo>
                      <a:lnTo>
                        <a:pt x="797" y="405"/>
                      </a:lnTo>
                      <a:close/>
                      <a:moveTo>
                        <a:pt x="311" y="398"/>
                      </a:moveTo>
                      <a:lnTo>
                        <a:pt x="313" y="398"/>
                      </a:lnTo>
                      <a:lnTo>
                        <a:pt x="329" y="407"/>
                      </a:lnTo>
                      <a:lnTo>
                        <a:pt x="336" y="411"/>
                      </a:lnTo>
                      <a:lnTo>
                        <a:pt x="347" y="420"/>
                      </a:lnTo>
                      <a:lnTo>
                        <a:pt x="342" y="426"/>
                      </a:lnTo>
                      <a:lnTo>
                        <a:pt x="335" y="421"/>
                      </a:lnTo>
                      <a:lnTo>
                        <a:pt x="334" y="416"/>
                      </a:lnTo>
                      <a:lnTo>
                        <a:pt x="329" y="414"/>
                      </a:lnTo>
                      <a:lnTo>
                        <a:pt x="323" y="409"/>
                      </a:lnTo>
                      <a:lnTo>
                        <a:pt x="320" y="410"/>
                      </a:lnTo>
                      <a:lnTo>
                        <a:pt x="308" y="405"/>
                      </a:lnTo>
                      <a:lnTo>
                        <a:pt x="305" y="400"/>
                      </a:lnTo>
                      <a:lnTo>
                        <a:pt x="311" y="398"/>
                      </a:lnTo>
                      <a:close/>
                      <a:moveTo>
                        <a:pt x="741" y="329"/>
                      </a:moveTo>
                      <a:lnTo>
                        <a:pt x="747" y="330"/>
                      </a:lnTo>
                      <a:lnTo>
                        <a:pt x="746" y="335"/>
                      </a:lnTo>
                      <a:lnTo>
                        <a:pt x="741" y="339"/>
                      </a:lnTo>
                      <a:lnTo>
                        <a:pt x="732" y="339"/>
                      </a:lnTo>
                      <a:lnTo>
                        <a:pt x="726" y="344"/>
                      </a:lnTo>
                      <a:lnTo>
                        <a:pt x="720" y="342"/>
                      </a:lnTo>
                      <a:lnTo>
                        <a:pt x="719" y="337"/>
                      </a:lnTo>
                      <a:lnTo>
                        <a:pt x="725" y="337"/>
                      </a:lnTo>
                      <a:lnTo>
                        <a:pt x="729" y="330"/>
                      </a:lnTo>
                      <a:lnTo>
                        <a:pt x="741" y="329"/>
                      </a:lnTo>
                      <a:close/>
                      <a:moveTo>
                        <a:pt x="404" y="294"/>
                      </a:moveTo>
                      <a:lnTo>
                        <a:pt x="409" y="293"/>
                      </a:lnTo>
                      <a:lnTo>
                        <a:pt x="416" y="296"/>
                      </a:lnTo>
                      <a:lnTo>
                        <a:pt x="432" y="309"/>
                      </a:lnTo>
                      <a:lnTo>
                        <a:pt x="440" y="312"/>
                      </a:lnTo>
                      <a:lnTo>
                        <a:pt x="448" y="312"/>
                      </a:lnTo>
                      <a:lnTo>
                        <a:pt x="452" y="315"/>
                      </a:lnTo>
                      <a:lnTo>
                        <a:pt x="460" y="314"/>
                      </a:lnTo>
                      <a:lnTo>
                        <a:pt x="462" y="317"/>
                      </a:lnTo>
                      <a:lnTo>
                        <a:pt x="467" y="327"/>
                      </a:lnTo>
                      <a:lnTo>
                        <a:pt x="471" y="331"/>
                      </a:lnTo>
                      <a:lnTo>
                        <a:pt x="472" y="339"/>
                      </a:lnTo>
                      <a:lnTo>
                        <a:pt x="462" y="344"/>
                      </a:lnTo>
                      <a:lnTo>
                        <a:pt x="452" y="339"/>
                      </a:lnTo>
                      <a:lnTo>
                        <a:pt x="448" y="340"/>
                      </a:lnTo>
                      <a:lnTo>
                        <a:pt x="436" y="336"/>
                      </a:lnTo>
                      <a:lnTo>
                        <a:pt x="433" y="331"/>
                      </a:lnTo>
                      <a:lnTo>
                        <a:pt x="417" y="322"/>
                      </a:lnTo>
                      <a:lnTo>
                        <a:pt x="418" y="317"/>
                      </a:lnTo>
                      <a:lnTo>
                        <a:pt x="416" y="311"/>
                      </a:lnTo>
                      <a:lnTo>
                        <a:pt x="416" y="306"/>
                      </a:lnTo>
                      <a:lnTo>
                        <a:pt x="400" y="301"/>
                      </a:lnTo>
                      <a:lnTo>
                        <a:pt x="404" y="294"/>
                      </a:lnTo>
                      <a:close/>
                      <a:moveTo>
                        <a:pt x="411" y="229"/>
                      </a:moveTo>
                      <a:lnTo>
                        <a:pt x="420" y="244"/>
                      </a:lnTo>
                      <a:lnTo>
                        <a:pt x="421" y="256"/>
                      </a:lnTo>
                      <a:lnTo>
                        <a:pt x="408" y="248"/>
                      </a:lnTo>
                      <a:lnTo>
                        <a:pt x="408" y="245"/>
                      </a:lnTo>
                      <a:lnTo>
                        <a:pt x="408" y="235"/>
                      </a:lnTo>
                      <a:lnTo>
                        <a:pt x="411" y="229"/>
                      </a:lnTo>
                      <a:close/>
                      <a:moveTo>
                        <a:pt x="305" y="230"/>
                      </a:moveTo>
                      <a:lnTo>
                        <a:pt x="312" y="229"/>
                      </a:lnTo>
                      <a:lnTo>
                        <a:pt x="317" y="230"/>
                      </a:lnTo>
                      <a:lnTo>
                        <a:pt x="335" y="229"/>
                      </a:lnTo>
                      <a:lnTo>
                        <a:pt x="342" y="234"/>
                      </a:lnTo>
                      <a:lnTo>
                        <a:pt x="345" y="239"/>
                      </a:lnTo>
                      <a:lnTo>
                        <a:pt x="351" y="240"/>
                      </a:lnTo>
                      <a:lnTo>
                        <a:pt x="356" y="245"/>
                      </a:lnTo>
                      <a:lnTo>
                        <a:pt x="357" y="251"/>
                      </a:lnTo>
                      <a:lnTo>
                        <a:pt x="365" y="254"/>
                      </a:lnTo>
                      <a:lnTo>
                        <a:pt x="367" y="265"/>
                      </a:lnTo>
                      <a:lnTo>
                        <a:pt x="355" y="271"/>
                      </a:lnTo>
                      <a:lnTo>
                        <a:pt x="345" y="268"/>
                      </a:lnTo>
                      <a:lnTo>
                        <a:pt x="340" y="268"/>
                      </a:lnTo>
                      <a:lnTo>
                        <a:pt x="331" y="261"/>
                      </a:lnTo>
                      <a:lnTo>
                        <a:pt x="317" y="261"/>
                      </a:lnTo>
                      <a:lnTo>
                        <a:pt x="297" y="260"/>
                      </a:lnTo>
                      <a:lnTo>
                        <a:pt x="288" y="253"/>
                      </a:lnTo>
                      <a:lnTo>
                        <a:pt x="283" y="241"/>
                      </a:lnTo>
                      <a:lnTo>
                        <a:pt x="280" y="236"/>
                      </a:lnTo>
                      <a:lnTo>
                        <a:pt x="281" y="219"/>
                      </a:lnTo>
                      <a:lnTo>
                        <a:pt x="288" y="215"/>
                      </a:lnTo>
                      <a:lnTo>
                        <a:pt x="293" y="218"/>
                      </a:lnTo>
                      <a:lnTo>
                        <a:pt x="305" y="230"/>
                      </a:lnTo>
                      <a:close/>
                      <a:moveTo>
                        <a:pt x="337" y="206"/>
                      </a:moveTo>
                      <a:lnTo>
                        <a:pt x="335" y="210"/>
                      </a:lnTo>
                      <a:lnTo>
                        <a:pt x="330" y="205"/>
                      </a:lnTo>
                      <a:lnTo>
                        <a:pt x="332" y="200"/>
                      </a:lnTo>
                      <a:lnTo>
                        <a:pt x="337" y="206"/>
                      </a:lnTo>
                      <a:close/>
                      <a:moveTo>
                        <a:pt x="320" y="195"/>
                      </a:moveTo>
                      <a:lnTo>
                        <a:pt x="327" y="196"/>
                      </a:lnTo>
                      <a:lnTo>
                        <a:pt x="331" y="200"/>
                      </a:lnTo>
                      <a:lnTo>
                        <a:pt x="327" y="205"/>
                      </a:lnTo>
                      <a:lnTo>
                        <a:pt x="322" y="201"/>
                      </a:lnTo>
                      <a:lnTo>
                        <a:pt x="317" y="201"/>
                      </a:lnTo>
                      <a:lnTo>
                        <a:pt x="320" y="195"/>
                      </a:lnTo>
                      <a:close/>
                      <a:moveTo>
                        <a:pt x="247" y="194"/>
                      </a:moveTo>
                      <a:lnTo>
                        <a:pt x="251" y="196"/>
                      </a:lnTo>
                      <a:lnTo>
                        <a:pt x="250" y="203"/>
                      </a:lnTo>
                      <a:lnTo>
                        <a:pt x="245" y="205"/>
                      </a:lnTo>
                      <a:lnTo>
                        <a:pt x="241" y="200"/>
                      </a:lnTo>
                      <a:lnTo>
                        <a:pt x="247" y="194"/>
                      </a:lnTo>
                      <a:close/>
                      <a:moveTo>
                        <a:pt x="137" y="171"/>
                      </a:moveTo>
                      <a:lnTo>
                        <a:pt x="140" y="179"/>
                      </a:lnTo>
                      <a:lnTo>
                        <a:pt x="128" y="174"/>
                      </a:lnTo>
                      <a:lnTo>
                        <a:pt x="133" y="170"/>
                      </a:lnTo>
                      <a:lnTo>
                        <a:pt x="137" y="171"/>
                      </a:lnTo>
                      <a:close/>
                      <a:moveTo>
                        <a:pt x="181" y="181"/>
                      </a:moveTo>
                      <a:lnTo>
                        <a:pt x="177" y="179"/>
                      </a:lnTo>
                      <a:lnTo>
                        <a:pt x="182" y="170"/>
                      </a:lnTo>
                      <a:lnTo>
                        <a:pt x="183" y="179"/>
                      </a:lnTo>
                      <a:lnTo>
                        <a:pt x="181" y="181"/>
                      </a:lnTo>
                      <a:close/>
                      <a:moveTo>
                        <a:pt x="167" y="158"/>
                      </a:moveTo>
                      <a:lnTo>
                        <a:pt x="175" y="156"/>
                      </a:lnTo>
                      <a:lnTo>
                        <a:pt x="176" y="160"/>
                      </a:lnTo>
                      <a:lnTo>
                        <a:pt x="173" y="170"/>
                      </a:lnTo>
                      <a:lnTo>
                        <a:pt x="167" y="176"/>
                      </a:lnTo>
                      <a:lnTo>
                        <a:pt x="162" y="175"/>
                      </a:lnTo>
                      <a:lnTo>
                        <a:pt x="157" y="169"/>
                      </a:lnTo>
                      <a:lnTo>
                        <a:pt x="158" y="162"/>
                      </a:lnTo>
                      <a:lnTo>
                        <a:pt x="163" y="156"/>
                      </a:lnTo>
                      <a:lnTo>
                        <a:pt x="167" y="158"/>
                      </a:lnTo>
                      <a:close/>
                      <a:moveTo>
                        <a:pt x="122" y="160"/>
                      </a:moveTo>
                      <a:lnTo>
                        <a:pt x="115" y="164"/>
                      </a:lnTo>
                      <a:lnTo>
                        <a:pt x="110" y="160"/>
                      </a:lnTo>
                      <a:lnTo>
                        <a:pt x="120" y="148"/>
                      </a:lnTo>
                      <a:lnTo>
                        <a:pt x="125" y="154"/>
                      </a:lnTo>
                      <a:lnTo>
                        <a:pt x="122" y="160"/>
                      </a:lnTo>
                      <a:close/>
                      <a:moveTo>
                        <a:pt x="285" y="153"/>
                      </a:moveTo>
                      <a:lnTo>
                        <a:pt x="284" y="156"/>
                      </a:lnTo>
                      <a:lnTo>
                        <a:pt x="276" y="151"/>
                      </a:lnTo>
                      <a:lnTo>
                        <a:pt x="279" y="145"/>
                      </a:lnTo>
                      <a:lnTo>
                        <a:pt x="284" y="146"/>
                      </a:lnTo>
                      <a:lnTo>
                        <a:pt x="285" y="153"/>
                      </a:lnTo>
                      <a:close/>
                      <a:moveTo>
                        <a:pt x="367" y="143"/>
                      </a:moveTo>
                      <a:lnTo>
                        <a:pt x="372" y="153"/>
                      </a:lnTo>
                      <a:lnTo>
                        <a:pt x="381" y="163"/>
                      </a:lnTo>
                      <a:lnTo>
                        <a:pt x="381" y="168"/>
                      </a:lnTo>
                      <a:lnTo>
                        <a:pt x="377" y="170"/>
                      </a:lnTo>
                      <a:lnTo>
                        <a:pt x="377" y="180"/>
                      </a:lnTo>
                      <a:lnTo>
                        <a:pt x="382" y="181"/>
                      </a:lnTo>
                      <a:lnTo>
                        <a:pt x="385" y="186"/>
                      </a:lnTo>
                      <a:lnTo>
                        <a:pt x="391" y="191"/>
                      </a:lnTo>
                      <a:lnTo>
                        <a:pt x="395" y="206"/>
                      </a:lnTo>
                      <a:lnTo>
                        <a:pt x="404" y="230"/>
                      </a:lnTo>
                      <a:lnTo>
                        <a:pt x="407" y="236"/>
                      </a:lnTo>
                      <a:lnTo>
                        <a:pt x="409" y="245"/>
                      </a:lnTo>
                      <a:lnTo>
                        <a:pt x="402" y="243"/>
                      </a:lnTo>
                      <a:lnTo>
                        <a:pt x="397" y="231"/>
                      </a:lnTo>
                      <a:lnTo>
                        <a:pt x="394" y="226"/>
                      </a:lnTo>
                      <a:lnTo>
                        <a:pt x="388" y="224"/>
                      </a:lnTo>
                      <a:lnTo>
                        <a:pt x="377" y="211"/>
                      </a:lnTo>
                      <a:lnTo>
                        <a:pt x="371" y="208"/>
                      </a:lnTo>
                      <a:lnTo>
                        <a:pt x="366" y="196"/>
                      </a:lnTo>
                      <a:lnTo>
                        <a:pt x="362" y="184"/>
                      </a:lnTo>
                      <a:lnTo>
                        <a:pt x="358" y="175"/>
                      </a:lnTo>
                      <a:lnTo>
                        <a:pt x="356" y="163"/>
                      </a:lnTo>
                      <a:lnTo>
                        <a:pt x="361" y="159"/>
                      </a:lnTo>
                      <a:lnTo>
                        <a:pt x="360" y="154"/>
                      </a:lnTo>
                      <a:lnTo>
                        <a:pt x="352" y="145"/>
                      </a:lnTo>
                      <a:lnTo>
                        <a:pt x="352" y="140"/>
                      </a:lnTo>
                      <a:lnTo>
                        <a:pt x="360" y="144"/>
                      </a:lnTo>
                      <a:lnTo>
                        <a:pt x="363" y="139"/>
                      </a:lnTo>
                      <a:lnTo>
                        <a:pt x="367" y="143"/>
                      </a:lnTo>
                      <a:close/>
                      <a:moveTo>
                        <a:pt x="141" y="129"/>
                      </a:moveTo>
                      <a:lnTo>
                        <a:pt x="142" y="134"/>
                      </a:lnTo>
                      <a:lnTo>
                        <a:pt x="148" y="133"/>
                      </a:lnTo>
                      <a:lnTo>
                        <a:pt x="155" y="141"/>
                      </a:lnTo>
                      <a:lnTo>
                        <a:pt x="160" y="154"/>
                      </a:lnTo>
                      <a:lnTo>
                        <a:pt x="159" y="161"/>
                      </a:lnTo>
                      <a:lnTo>
                        <a:pt x="144" y="155"/>
                      </a:lnTo>
                      <a:lnTo>
                        <a:pt x="136" y="149"/>
                      </a:lnTo>
                      <a:lnTo>
                        <a:pt x="140" y="146"/>
                      </a:lnTo>
                      <a:lnTo>
                        <a:pt x="136" y="136"/>
                      </a:lnTo>
                      <a:lnTo>
                        <a:pt x="134" y="135"/>
                      </a:lnTo>
                      <a:lnTo>
                        <a:pt x="120" y="136"/>
                      </a:lnTo>
                      <a:lnTo>
                        <a:pt x="116" y="141"/>
                      </a:lnTo>
                      <a:lnTo>
                        <a:pt x="111" y="139"/>
                      </a:lnTo>
                      <a:lnTo>
                        <a:pt x="111" y="131"/>
                      </a:lnTo>
                      <a:lnTo>
                        <a:pt x="117" y="129"/>
                      </a:lnTo>
                      <a:lnTo>
                        <a:pt x="119" y="125"/>
                      </a:lnTo>
                      <a:lnTo>
                        <a:pt x="122" y="116"/>
                      </a:lnTo>
                      <a:lnTo>
                        <a:pt x="131" y="110"/>
                      </a:lnTo>
                      <a:lnTo>
                        <a:pt x="136" y="114"/>
                      </a:lnTo>
                      <a:lnTo>
                        <a:pt x="139" y="119"/>
                      </a:lnTo>
                      <a:lnTo>
                        <a:pt x="141" y="129"/>
                      </a:lnTo>
                      <a:close/>
                      <a:moveTo>
                        <a:pt x="66" y="129"/>
                      </a:moveTo>
                      <a:lnTo>
                        <a:pt x="62" y="119"/>
                      </a:lnTo>
                      <a:lnTo>
                        <a:pt x="67" y="118"/>
                      </a:lnTo>
                      <a:lnTo>
                        <a:pt x="66" y="129"/>
                      </a:lnTo>
                      <a:close/>
                      <a:moveTo>
                        <a:pt x="109" y="123"/>
                      </a:moveTo>
                      <a:lnTo>
                        <a:pt x="99" y="124"/>
                      </a:lnTo>
                      <a:lnTo>
                        <a:pt x="95" y="121"/>
                      </a:lnTo>
                      <a:lnTo>
                        <a:pt x="91" y="113"/>
                      </a:lnTo>
                      <a:lnTo>
                        <a:pt x="95" y="104"/>
                      </a:lnTo>
                      <a:lnTo>
                        <a:pt x="101" y="101"/>
                      </a:lnTo>
                      <a:lnTo>
                        <a:pt x="109" y="110"/>
                      </a:lnTo>
                      <a:lnTo>
                        <a:pt x="109" y="123"/>
                      </a:lnTo>
                      <a:close/>
                      <a:moveTo>
                        <a:pt x="67" y="79"/>
                      </a:moveTo>
                      <a:lnTo>
                        <a:pt x="72" y="86"/>
                      </a:lnTo>
                      <a:lnTo>
                        <a:pt x="81" y="91"/>
                      </a:lnTo>
                      <a:lnTo>
                        <a:pt x="81" y="95"/>
                      </a:lnTo>
                      <a:lnTo>
                        <a:pt x="71" y="109"/>
                      </a:lnTo>
                      <a:lnTo>
                        <a:pt x="67" y="104"/>
                      </a:lnTo>
                      <a:lnTo>
                        <a:pt x="67" y="99"/>
                      </a:lnTo>
                      <a:lnTo>
                        <a:pt x="61" y="91"/>
                      </a:lnTo>
                      <a:lnTo>
                        <a:pt x="60" y="84"/>
                      </a:lnTo>
                      <a:lnTo>
                        <a:pt x="67" y="79"/>
                      </a:lnTo>
                      <a:close/>
                      <a:moveTo>
                        <a:pt x="210" y="80"/>
                      </a:moveTo>
                      <a:lnTo>
                        <a:pt x="211" y="79"/>
                      </a:lnTo>
                      <a:lnTo>
                        <a:pt x="221" y="84"/>
                      </a:lnTo>
                      <a:lnTo>
                        <a:pt x="229" y="93"/>
                      </a:lnTo>
                      <a:lnTo>
                        <a:pt x="237" y="98"/>
                      </a:lnTo>
                      <a:lnTo>
                        <a:pt x="237" y="100"/>
                      </a:lnTo>
                      <a:lnTo>
                        <a:pt x="245" y="106"/>
                      </a:lnTo>
                      <a:lnTo>
                        <a:pt x="267" y="113"/>
                      </a:lnTo>
                      <a:lnTo>
                        <a:pt x="268" y="116"/>
                      </a:lnTo>
                      <a:lnTo>
                        <a:pt x="285" y="129"/>
                      </a:lnTo>
                      <a:lnTo>
                        <a:pt x="298" y="140"/>
                      </a:lnTo>
                      <a:lnTo>
                        <a:pt x="295" y="145"/>
                      </a:lnTo>
                      <a:lnTo>
                        <a:pt x="300" y="153"/>
                      </a:lnTo>
                      <a:lnTo>
                        <a:pt x="297" y="158"/>
                      </a:lnTo>
                      <a:lnTo>
                        <a:pt x="282" y="143"/>
                      </a:lnTo>
                      <a:lnTo>
                        <a:pt x="277" y="141"/>
                      </a:lnTo>
                      <a:lnTo>
                        <a:pt x="271" y="138"/>
                      </a:lnTo>
                      <a:lnTo>
                        <a:pt x="262" y="135"/>
                      </a:lnTo>
                      <a:lnTo>
                        <a:pt x="261" y="132"/>
                      </a:lnTo>
                      <a:lnTo>
                        <a:pt x="253" y="129"/>
                      </a:lnTo>
                      <a:lnTo>
                        <a:pt x="233" y="115"/>
                      </a:lnTo>
                      <a:lnTo>
                        <a:pt x="227" y="111"/>
                      </a:lnTo>
                      <a:lnTo>
                        <a:pt x="216" y="99"/>
                      </a:lnTo>
                      <a:lnTo>
                        <a:pt x="208" y="93"/>
                      </a:lnTo>
                      <a:lnTo>
                        <a:pt x="208" y="86"/>
                      </a:lnTo>
                      <a:lnTo>
                        <a:pt x="200" y="79"/>
                      </a:lnTo>
                      <a:lnTo>
                        <a:pt x="198" y="75"/>
                      </a:lnTo>
                      <a:lnTo>
                        <a:pt x="210" y="80"/>
                      </a:lnTo>
                      <a:close/>
                      <a:moveTo>
                        <a:pt x="152" y="70"/>
                      </a:moveTo>
                      <a:lnTo>
                        <a:pt x="144" y="69"/>
                      </a:lnTo>
                      <a:lnTo>
                        <a:pt x="147" y="64"/>
                      </a:lnTo>
                      <a:lnTo>
                        <a:pt x="152" y="70"/>
                      </a:lnTo>
                      <a:close/>
                      <a:moveTo>
                        <a:pt x="11" y="34"/>
                      </a:moveTo>
                      <a:lnTo>
                        <a:pt x="14" y="40"/>
                      </a:lnTo>
                      <a:lnTo>
                        <a:pt x="5" y="43"/>
                      </a:lnTo>
                      <a:lnTo>
                        <a:pt x="0" y="39"/>
                      </a:lnTo>
                      <a:lnTo>
                        <a:pt x="6" y="30"/>
                      </a:lnTo>
                      <a:lnTo>
                        <a:pt x="11" y="34"/>
                      </a:lnTo>
                      <a:close/>
                      <a:moveTo>
                        <a:pt x="66" y="4"/>
                      </a:moveTo>
                      <a:lnTo>
                        <a:pt x="70" y="4"/>
                      </a:lnTo>
                      <a:lnTo>
                        <a:pt x="76" y="11"/>
                      </a:lnTo>
                      <a:lnTo>
                        <a:pt x="87" y="19"/>
                      </a:lnTo>
                      <a:lnTo>
                        <a:pt x="99" y="24"/>
                      </a:lnTo>
                      <a:lnTo>
                        <a:pt x="104" y="31"/>
                      </a:lnTo>
                      <a:lnTo>
                        <a:pt x="106" y="43"/>
                      </a:lnTo>
                      <a:lnTo>
                        <a:pt x="115" y="50"/>
                      </a:lnTo>
                      <a:lnTo>
                        <a:pt x="117" y="54"/>
                      </a:lnTo>
                      <a:lnTo>
                        <a:pt x="126" y="58"/>
                      </a:lnTo>
                      <a:lnTo>
                        <a:pt x="132" y="58"/>
                      </a:lnTo>
                      <a:lnTo>
                        <a:pt x="132" y="63"/>
                      </a:lnTo>
                      <a:lnTo>
                        <a:pt x="127" y="66"/>
                      </a:lnTo>
                      <a:lnTo>
                        <a:pt x="120" y="65"/>
                      </a:lnTo>
                      <a:lnTo>
                        <a:pt x="110" y="60"/>
                      </a:lnTo>
                      <a:lnTo>
                        <a:pt x="102" y="59"/>
                      </a:lnTo>
                      <a:lnTo>
                        <a:pt x="100" y="54"/>
                      </a:lnTo>
                      <a:lnTo>
                        <a:pt x="90" y="49"/>
                      </a:lnTo>
                      <a:lnTo>
                        <a:pt x="81" y="38"/>
                      </a:lnTo>
                      <a:lnTo>
                        <a:pt x="74" y="24"/>
                      </a:lnTo>
                      <a:lnTo>
                        <a:pt x="66" y="20"/>
                      </a:lnTo>
                      <a:lnTo>
                        <a:pt x="57" y="11"/>
                      </a:lnTo>
                      <a:lnTo>
                        <a:pt x="56" y="5"/>
                      </a:lnTo>
                      <a:lnTo>
                        <a:pt x="59" y="0"/>
                      </a:lnTo>
                      <a:lnTo>
                        <a:pt x="66" y="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3" name="Sao-Tomé and Principe" descr="{&quot;Key&quot;:&quot;sao-tomé and principe&quot;,&quot;Name&quot;:&quot;Sao-Tomé and Principe&quot;,&quot;Value&quot;:1.0,&quot;Formula&quot;:&quot;&quot;,&quot;Text&quot;:&quot;&quot;,&quot;OfficeApplication&quot;:1,&quot;HasValue&quot;:true}">
                  <a:extLst>
                    <a:ext uri="{FF2B5EF4-FFF2-40B4-BE49-F238E27FC236}">
                      <a16:creationId xmlns:a16="http://schemas.microsoft.com/office/drawing/2014/main" id="{3E661AD0-E4E1-18EA-5B41-A1D4E72E6E15}"/>
                    </a:ext>
                  </a:extLst>
                </p:cNvPr>
                <p:cNvSpPr>
                  <a:spLocks noEditPoints="1"/>
                </p:cNvSpPr>
                <p:nvPr/>
              </p:nvSpPr>
              <p:spPr bwMode="auto">
                <a:xfrm>
                  <a:off x="1511143" y="4265909"/>
                  <a:ext cx="31750" cy="60325"/>
                </a:xfrm>
                <a:custGeom>
                  <a:avLst/>
                  <a:gdLst>
                    <a:gd name="T0" fmla="*/ 11 w 72"/>
                    <a:gd name="T1" fmla="*/ 132 h 134"/>
                    <a:gd name="T2" fmla="*/ 3 w 72"/>
                    <a:gd name="T3" fmla="*/ 134 h 134"/>
                    <a:gd name="T4" fmla="*/ 0 w 72"/>
                    <a:gd name="T5" fmla="*/ 119 h 134"/>
                    <a:gd name="T6" fmla="*/ 5 w 72"/>
                    <a:gd name="T7" fmla="*/ 109 h 134"/>
                    <a:gd name="T8" fmla="*/ 13 w 72"/>
                    <a:gd name="T9" fmla="*/ 104 h 134"/>
                    <a:gd name="T10" fmla="*/ 17 w 72"/>
                    <a:gd name="T11" fmla="*/ 105 h 134"/>
                    <a:gd name="T12" fmla="*/ 21 w 72"/>
                    <a:gd name="T13" fmla="*/ 114 h 134"/>
                    <a:gd name="T14" fmla="*/ 20 w 72"/>
                    <a:gd name="T15" fmla="*/ 119 h 134"/>
                    <a:gd name="T16" fmla="*/ 15 w 72"/>
                    <a:gd name="T17" fmla="*/ 129 h 134"/>
                    <a:gd name="T18" fmla="*/ 11 w 72"/>
                    <a:gd name="T19" fmla="*/ 132 h 134"/>
                    <a:gd name="T20" fmla="*/ 72 w 72"/>
                    <a:gd name="T21" fmla="*/ 7 h 134"/>
                    <a:gd name="T22" fmla="*/ 67 w 72"/>
                    <a:gd name="T23" fmla="*/ 13 h 134"/>
                    <a:gd name="T24" fmla="*/ 65 w 72"/>
                    <a:gd name="T25" fmla="*/ 7 h 134"/>
                    <a:gd name="T26" fmla="*/ 67 w 72"/>
                    <a:gd name="T27" fmla="*/ 2 h 134"/>
                    <a:gd name="T28" fmla="*/ 72 w 72"/>
                    <a:gd name="T29" fmla="*/ 0 h 134"/>
                    <a:gd name="T30" fmla="*/ 72 w 72"/>
                    <a:gd name="T31" fmla="*/ 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34">
                      <a:moveTo>
                        <a:pt x="11" y="132"/>
                      </a:moveTo>
                      <a:lnTo>
                        <a:pt x="3" y="134"/>
                      </a:lnTo>
                      <a:lnTo>
                        <a:pt x="0" y="119"/>
                      </a:lnTo>
                      <a:lnTo>
                        <a:pt x="5" y="109"/>
                      </a:lnTo>
                      <a:lnTo>
                        <a:pt x="13" y="104"/>
                      </a:lnTo>
                      <a:lnTo>
                        <a:pt x="17" y="105"/>
                      </a:lnTo>
                      <a:lnTo>
                        <a:pt x="21" y="114"/>
                      </a:lnTo>
                      <a:lnTo>
                        <a:pt x="20" y="119"/>
                      </a:lnTo>
                      <a:lnTo>
                        <a:pt x="15" y="129"/>
                      </a:lnTo>
                      <a:lnTo>
                        <a:pt x="11" y="132"/>
                      </a:lnTo>
                      <a:close/>
                      <a:moveTo>
                        <a:pt x="72" y="7"/>
                      </a:moveTo>
                      <a:lnTo>
                        <a:pt x="67" y="13"/>
                      </a:lnTo>
                      <a:lnTo>
                        <a:pt x="65" y="7"/>
                      </a:lnTo>
                      <a:lnTo>
                        <a:pt x="67" y="2"/>
                      </a:lnTo>
                      <a:lnTo>
                        <a:pt x="72" y="0"/>
                      </a:lnTo>
                      <a:lnTo>
                        <a:pt x="72" y="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4" name="Saint Martin" descr="{&quot;Key&quot;:&quot;saint martin&quot;,&quot;Name&quot;:&quot;Saint Martin&quot;,&quot;Value&quot;:1.0,&quot;Formula&quot;:&quot;&quot;,&quot;Text&quot;:&quot;&quot;,&quot;OfficeApplication&quot;:1,&quot;HasValue&quot;:true}">
                  <a:extLst>
                    <a:ext uri="{FF2B5EF4-FFF2-40B4-BE49-F238E27FC236}">
                      <a16:creationId xmlns:a16="http://schemas.microsoft.com/office/drawing/2014/main" id="{48883F0C-CA73-EDF0-FBED-8A24794DCBDB}"/>
                    </a:ext>
                  </a:extLst>
                </p:cNvPr>
                <p:cNvSpPr>
                  <a:spLocks/>
                </p:cNvSpPr>
                <p:nvPr/>
              </p:nvSpPr>
              <p:spPr bwMode="auto">
                <a:xfrm>
                  <a:off x="10672605" y="3676946"/>
                  <a:ext cx="3175" cy="1588"/>
                </a:xfrm>
                <a:custGeom>
                  <a:avLst/>
                  <a:gdLst>
                    <a:gd name="T0" fmla="*/ 6 w 6"/>
                    <a:gd name="T1" fmla="*/ 3 h 3"/>
                    <a:gd name="T2" fmla="*/ 1 w 6"/>
                    <a:gd name="T3" fmla="*/ 3 h 3"/>
                    <a:gd name="T4" fmla="*/ 0 w 6"/>
                    <a:gd name="T5" fmla="*/ 0 h 3"/>
                    <a:gd name="T6" fmla="*/ 6 w 6"/>
                    <a:gd name="T7" fmla="*/ 3 h 3"/>
                  </a:gdLst>
                  <a:ahLst/>
                  <a:cxnLst>
                    <a:cxn ang="0">
                      <a:pos x="T0" y="T1"/>
                    </a:cxn>
                    <a:cxn ang="0">
                      <a:pos x="T2" y="T3"/>
                    </a:cxn>
                    <a:cxn ang="0">
                      <a:pos x="T4" y="T5"/>
                    </a:cxn>
                    <a:cxn ang="0">
                      <a:pos x="T6" y="T7"/>
                    </a:cxn>
                  </a:cxnLst>
                  <a:rect l="0" t="0" r="r" b="b"/>
                  <a:pathLst>
                    <a:path w="6" h="3">
                      <a:moveTo>
                        <a:pt x="6" y="3"/>
                      </a:moveTo>
                      <a:lnTo>
                        <a:pt x="1" y="3"/>
                      </a:lnTo>
                      <a:lnTo>
                        <a:pt x="0" y="0"/>
                      </a:lnTo>
                      <a:lnTo>
                        <a:pt x="6" y="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5" name="Seychelles" descr="{&quot;Key&quot;:&quot;seychelles&quot;,&quot;Name&quot;:&quot;Seychelles&quot;,&quot;Value&quot;:1.0,&quot;Formula&quot;:&quot;&quot;,&quot;Text&quot;:&quot;&quot;,&quot;OfficeApplication&quot;:1,&quot;HasValue&quot;:true}">
                  <a:extLst>
                    <a:ext uri="{FF2B5EF4-FFF2-40B4-BE49-F238E27FC236}">
                      <a16:creationId xmlns:a16="http://schemas.microsoft.com/office/drawing/2014/main" id="{36FBFC5E-C48D-B308-AB3A-D9C075E1B9BE}"/>
                    </a:ext>
                  </a:extLst>
                </p:cNvPr>
                <p:cNvSpPr>
                  <a:spLocks/>
                </p:cNvSpPr>
                <p:nvPr/>
              </p:nvSpPr>
              <p:spPr bwMode="auto">
                <a:xfrm>
                  <a:off x="2790668" y="4664371"/>
                  <a:ext cx="6350" cy="1588"/>
                </a:xfrm>
                <a:custGeom>
                  <a:avLst/>
                  <a:gdLst>
                    <a:gd name="T0" fmla="*/ 14 w 14"/>
                    <a:gd name="T1" fmla="*/ 2 h 6"/>
                    <a:gd name="T2" fmla="*/ 10 w 14"/>
                    <a:gd name="T3" fmla="*/ 6 h 6"/>
                    <a:gd name="T4" fmla="*/ 0 w 14"/>
                    <a:gd name="T5" fmla="*/ 5 h 6"/>
                    <a:gd name="T6" fmla="*/ 9 w 14"/>
                    <a:gd name="T7" fmla="*/ 0 h 6"/>
                    <a:gd name="T8" fmla="*/ 14 w 14"/>
                    <a:gd name="T9" fmla="*/ 2 h 6"/>
                  </a:gdLst>
                  <a:ahLst/>
                  <a:cxnLst>
                    <a:cxn ang="0">
                      <a:pos x="T0" y="T1"/>
                    </a:cxn>
                    <a:cxn ang="0">
                      <a:pos x="T2" y="T3"/>
                    </a:cxn>
                    <a:cxn ang="0">
                      <a:pos x="T4" y="T5"/>
                    </a:cxn>
                    <a:cxn ang="0">
                      <a:pos x="T6" y="T7"/>
                    </a:cxn>
                    <a:cxn ang="0">
                      <a:pos x="T8" y="T9"/>
                    </a:cxn>
                  </a:cxnLst>
                  <a:rect l="0" t="0" r="r" b="b"/>
                  <a:pathLst>
                    <a:path w="14" h="6">
                      <a:moveTo>
                        <a:pt x="14" y="2"/>
                      </a:moveTo>
                      <a:lnTo>
                        <a:pt x="10" y="6"/>
                      </a:lnTo>
                      <a:lnTo>
                        <a:pt x="0" y="5"/>
                      </a:lnTo>
                      <a:lnTo>
                        <a:pt x="9" y="0"/>
                      </a:lnTo>
                      <a:lnTo>
                        <a:pt x="14"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6" name="Turks and Caïcos" descr="{&quot;Key&quot;:&quot;turks and caïcos&quot;,&quot;Name&quot;:&quot;Turks and Caïcos&quot;,&quot;Value&quot;:1.0,&quot;Formula&quot;:&quot;&quot;,&quot;Text&quot;:&quot;&quot;,&quot;OfficeApplication&quot;:1,&quot;HasValue&quot;:true}">
                  <a:extLst>
                    <a:ext uri="{FF2B5EF4-FFF2-40B4-BE49-F238E27FC236}">
                      <a16:creationId xmlns:a16="http://schemas.microsoft.com/office/drawing/2014/main" id="{E6F75089-7E82-5F02-DA43-1B92C9DB4951}"/>
                    </a:ext>
                  </a:extLst>
                </p:cNvPr>
                <p:cNvSpPr>
                  <a:spLocks noEditPoints="1"/>
                </p:cNvSpPr>
                <p:nvPr/>
              </p:nvSpPr>
              <p:spPr bwMode="auto">
                <a:xfrm>
                  <a:off x="10356693" y="3537246"/>
                  <a:ext cx="12700" cy="6350"/>
                </a:xfrm>
                <a:custGeom>
                  <a:avLst/>
                  <a:gdLst>
                    <a:gd name="T0" fmla="*/ 1 w 30"/>
                    <a:gd name="T1" fmla="*/ 9 h 14"/>
                    <a:gd name="T2" fmla="*/ 6 w 30"/>
                    <a:gd name="T3" fmla="*/ 12 h 14"/>
                    <a:gd name="T4" fmla="*/ 5 w 30"/>
                    <a:gd name="T5" fmla="*/ 14 h 14"/>
                    <a:gd name="T6" fmla="*/ 0 w 30"/>
                    <a:gd name="T7" fmla="*/ 11 h 14"/>
                    <a:gd name="T8" fmla="*/ 1 w 30"/>
                    <a:gd name="T9" fmla="*/ 9 h 14"/>
                    <a:gd name="T10" fmla="*/ 28 w 30"/>
                    <a:gd name="T11" fmla="*/ 0 h 14"/>
                    <a:gd name="T12" fmla="*/ 30 w 30"/>
                    <a:gd name="T13" fmla="*/ 7 h 14"/>
                    <a:gd name="T14" fmla="*/ 23 w 30"/>
                    <a:gd name="T15" fmla="*/ 5 h 14"/>
                    <a:gd name="T16" fmla="*/ 20 w 30"/>
                    <a:gd name="T17" fmla="*/ 0 h 14"/>
                    <a:gd name="T18" fmla="*/ 28 w 30"/>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4">
                      <a:moveTo>
                        <a:pt x="1" y="9"/>
                      </a:moveTo>
                      <a:lnTo>
                        <a:pt x="6" y="12"/>
                      </a:lnTo>
                      <a:lnTo>
                        <a:pt x="5" y="14"/>
                      </a:lnTo>
                      <a:lnTo>
                        <a:pt x="0" y="11"/>
                      </a:lnTo>
                      <a:lnTo>
                        <a:pt x="1" y="9"/>
                      </a:lnTo>
                      <a:close/>
                      <a:moveTo>
                        <a:pt x="28" y="0"/>
                      </a:moveTo>
                      <a:lnTo>
                        <a:pt x="30" y="7"/>
                      </a:lnTo>
                      <a:lnTo>
                        <a:pt x="23" y="5"/>
                      </a:lnTo>
                      <a:lnTo>
                        <a:pt x="20" y="0"/>
                      </a:lnTo>
                      <a:lnTo>
                        <a:pt x="28"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7" name="Tonga" descr="{&quot;Key&quot;:&quot;tonga&quot;,&quot;Name&quot;:&quot;Tonga&quot;,&quot;Value&quot;:1.0,&quot;Formula&quot;:&quot;&quot;,&quot;Text&quot;:&quot;&quot;,&quot;OfficeApplication&quot;:1,&quot;HasValue&quot;:true}">
                  <a:extLst>
                    <a:ext uri="{FF2B5EF4-FFF2-40B4-BE49-F238E27FC236}">
                      <a16:creationId xmlns:a16="http://schemas.microsoft.com/office/drawing/2014/main" id="{0ABCEE76-ADFF-263C-E8D6-5A2F501C2F51}"/>
                    </a:ext>
                  </a:extLst>
                </p:cNvPr>
                <p:cNvSpPr>
                  <a:spLocks noEditPoints="1"/>
                </p:cNvSpPr>
                <p:nvPr/>
              </p:nvSpPr>
              <p:spPr bwMode="auto">
                <a:xfrm>
                  <a:off x="7153118" y="4996159"/>
                  <a:ext cx="49213" cy="96838"/>
                </a:xfrm>
                <a:custGeom>
                  <a:avLst/>
                  <a:gdLst>
                    <a:gd name="T0" fmla="*/ 0 w 110"/>
                    <a:gd name="T1" fmla="*/ 207 h 220"/>
                    <a:gd name="T2" fmla="*/ 5 w 110"/>
                    <a:gd name="T3" fmla="*/ 206 h 220"/>
                    <a:gd name="T4" fmla="*/ 14 w 110"/>
                    <a:gd name="T5" fmla="*/ 213 h 220"/>
                    <a:gd name="T6" fmla="*/ 11 w 110"/>
                    <a:gd name="T7" fmla="*/ 220 h 220"/>
                    <a:gd name="T8" fmla="*/ 7 w 110"/>
                    <a:gd name="T9" fmla="*/ 215 h 220"/>
                    <a:gd name="T10" fmla="*/ 0 w 110"/>
                    <a:gd name="T11" fmla="*/ 212 h 220"/>
                    <a:gd name="T12" fmla="*/ 0 w 110"/>
                    <a:gd name="T13" fmla="*/ 207 h 220"/>
                    <a:gd name="T14" fmla="*/ 110 w 110"/>
                    <a:gd name="T15" fmla="*/ 3 h 220"/>
                    <a:gd name="T16" fmla="*/ 102 w 110"/>
                    <a:gd name="T17" fmla="*/ 7 h 220"/>
                    <a:gd name="T18" fmla="*/ 99 w 110"/>
                    <a:gd name="T19" fmla="*/ 5 h 220"/>
                    <a:gd name="T20" fmla="*/ 105 w 110"/>
                    <a:gd name="T21" fmla="*/ 0 h 220"/>
                    <a:gd name="T22" fmla="*/ 110 w 110"/>
                    <a:gd name="T23" fmla="*/ 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220">
                      <a:moveTo>
                        <a:pt x="0" y="207"/>
                      </a:moveTo>
                      <a:lnTo>
                        <a:pt x="5" y="206"/>
                      </a:lnTo>
                      <a:lnTo>
                        <a:pt x="14" y="213"/>
                      </a:lnTo>
                      <a:lnTo>
                        <a:pt x="11" y="220"/>
                      </a:lnTo>
                      <a:lnTo>
                        <a:pt x="7" y="215"/>
                      </a:lnTo>
                      <a:lnTo>
                        <a:pt x="0" y="212"/>
                      </a:lnTo>
                      <a:lnTo>
                        <a:pt x="0" y="207"/>
                      </a:lnTo>
                      <a:close/>
                      <a:moveTo>
                        <a:pt x="110" y="3"/>
                      </a:moveTo>
                      <a:lnTo>
                        <a:pt x="102" y="7"/>
                      </a:lnTo>
                      <a:lnTo>
                        <a:pt x="99" y="5"/>
                      </a:lnTo>
                      <a:lnTo>
                        <a:pt x="105" y="0"/>
                      </a:lnTo>
                      <a:lnTo>
                        <a:pt x="110" y="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8" name="Trinidad and Tobago" descr="{&quot;Key&quot;:&quot;trinidad and tobago&quot;,&quot;Name&quot;:&quot;Trinidad and Tobago&quot;,&quot;Value&quot;:1.0,&quot;Formula&quot;:&quot;&quot;,&quot;Text&quot;:&quot;&quot;,&quot;OfficeApplication&quot;:1,&quot;HasValue&quot;:true}">
                  <a:extLst>
                    <a:ext uri="{FF2B5EF4-FFF2-40B4-BE49-F238E27FC236}">
                      <a16:creationId xmlns:a16="http://schemas.microsoft.com/office/drawing/2014/main" id="{E4CD77FF-2E4E-A62E-FED3-F001BAC8B4C2}"/>
                    </a:ext>
                  </a:extLst>
                </p:cNvPr>
                <p:cNvSpPr>
                  <a:spLocks noEditPoints="1"/>
                </p:cNvSpPr>
                <p:nvPr/>
              </p:nvSpPr>
              <p:spPr bwMode="auto">
                <a:xfrm>
                  <a:off x="10759918" y="3919834"/>
                  <a:ext cx="34925" cy="46038"/>
                </a:xfrm>
                <a:custGeom>
                  <a:avLst/>
                  <a:gdLst>
                    <a:gd name="T0" fmla="*/ 58 w 81"/>
                    <a:gd name="T1" fmla="*/ 42 h 105"/>
                    <a:gd name="T2" fmla="*/ 56 w 81"/>
                    <a:gd name="T3" fmla="*/ 48 h 105"/>
                    <a:gd name="T4" fmla="*/ 50 w 81"/>
                    <a:gd name="T5" fmla="*/ 54 h 105"/>
                    <a:gd name="T6" fmla="*/ 53 w 81"/>
                    <a:gd name="T7" fmla="*/ 67 h 105"/>
                    <a:gd name="T8" fmla="*/ 52 w 81"/>
                    <a:gd name="T9" fmla="*/ 68 h 105"/>
                    <a:gd name="T10" fmla="*/ 53 w 81"/>
                    <a:gd name="T11" fmla="*/ 77 h 105"/>
                    <a:gd name="T12" fmla="*/ 59 w 81"/>
                    <a:gd name="T13" fmla="*/ 83 h 105"/>
                    <a:gd name="T14" fmla="*/ 57 w 81"/>
                    <a:gd name="T15" fmla="*/ 89 h 105"/>
                    <a:gd name="T16" fmla="*/ 58 w 81"/>
                    <a:gd name="T17" fmla="*/ 98 h 105"/>
                    <a:gd name="T18" fmla="*/ 44 w 81"/>
                    <a:gd name="T19" fmla="*/ 104 h 105"/>
                    <a:gd name="T20" fmla="*/ 19 w 81"/>
                    <a:gd name="T21" fmla="*/ 103 h 105"/>
                    <a:gd name="T22" fmla="*/ 13 w 81"/>
                    <a:gd name="T23" fmla="*/ 105 h 105"/>
                    <a:gd name="T24" fmla="*/ 8 w 81"/>
                    <a:gd name="T25" fmla="*/ 103 h 105"/>
                    <a:gd name="T26" fmla="*/ 0 w 81"/>
                    <a:gd name="T27" fmla="*/ 103 h 105"/>
                    <a:gd name="T28" fmla="*/ 2 w 81"/>
                    <a:gd name="T29" fmla="*/ 98 h 105"/>
                    <a:gd name="T30" fmla="*/ 7 w 81"/>
                    <a:gd name="T31" fmla="*/ 97 h 105"/>
                    <a:gd name="T32" fmla="*/ 13 w 81"/>
                    <a:gd name="T33" fmla="*/ 89 h 105"/>
                    <a:gd name="T34" fmla="*/ 20 w 81"/>
                    <a:gd name="T35" fmla="*/ 90 h 105"/>
                    <a:gd name="T36" fmla="*/ 23 w 81"/>
                    <a:gd name="T37" fmla="*/ 85 h 105"/>
                    <a:gd name="T38" fmla="*/ 20 w 81"/>
                    <a:gd name="T39" fmla="*/ 74 h 105"/>
                    <a:gd name="T40" fmla="*/ 19 w 81"/>
                    <a:gd name="T41" fmla="*/ 62 h 105"/>
                    <a:gd name="T42" fmla="*/ 16 w 81"/>
                    <a:gd name="T43" fmla="*/ 57 h 105"/>
                    <a:gd name="T44" fmla="*/ 7 w 81"/>
                    <a:gd name="T45" fmla="*/ 54 h 105"/>
                    <a:gd name="T46" fmla="*/ 9 w 81"/>
                    <a:gd name="T47" fmla="*/ 49 h 105"/>
                    <a:gd name="T48" fmla="*/ 23 w 81"/>
                    <a:gd name="T49" fmla="*/ 47 h 105"/>
                    <a:gd name="T50" fmla="*/ 25 w 81"/>
                    <a:gd name="T51" fmla="*/ 44 h 105"/>
                    <a:gd name="T52" fmla="*/ 39 w 81"/>
                    <a:gd name="T53" fmla="*/ 45 h 105"/>
                    <a:gd name="T54" fmla="*/ 40 w 81"/>
                    <a:gd name="T55" fmla="*/ 43 h 105"/>
                    <a:gd name="T56" fmla="*/ 54 w 81"/>
                    <a:gd name="T57" fmla="*/ 40 h 105"/>
                    <a:gd name="T58" fmla="*/ 58 w 81"/>
                    <a:gd name="T59" fmla="*/ 42 h 105"/>
                    <a:gd name="T60" fmla="*/ 81 w 81"/>
                    <a:gd name="T61" fmla="*/ 0 h 105"/>
                    <a:gd name="T62" fmla="*/ 81 w 81"/>
                    <a:gd name="T63" fmla="*/ 7 h 105"/>
                    <a:gd name="T64" fmla="*/ 77 w 81"/>
                    <a:gd name="T65" fmla="*/ 8 h 105"/>
                    <a:gd name="T66" fmla="*/ 62 w 81"/>
                    <a:gd name="T67" fmla="*/ 17 h 105"/>
                    <a:gd name="T68" fmla="*/ 62 w 81"/>
                    <a:gd name="T69" fmla="*/ 10 h 105"/>
                    <a:gd name="T70" fmla="*/ 71 w 81"/>
                    <a:gd name="T71" fmla="*/ 4 h 105"/>
                    <a:gd name="T72" fmla="*/ 81 w 81"/>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 h="105">
                      <a:moveTo>
                        <a:pt x="58" y="42"/>
                      </a:moveTo>
                      <a:lnTo>
                        <a:pt x="56" y="48"/>
                      </a:lnTo>
                      <a:lnTo>
                        <a:pt x="50" y="54"/>
                      </a:lnTo>
                      <a:lnTo>
                        <a:pt x="53" y="67"/>
                      </a:lnTo>
                      <a:lnTo>
                        <a:pt x="52" y="68"/>
                      </a:lnTo>
                      <a:lnTo>
                        <a:pt x="53" y="77"/>
                      </a:lnTo>
                      <a:lnTo>
                        <a:pt x="59" y="83"/>
                      </a:lnTo>
                      <a:lnTo>
                        <a:pt x="57" y="89"/>
                      </a:lnTo>
                      <a:lnTo>
                        <a:pt x="58" y="98"/>
                      </a:lnTo>
                      <a:lnTo>
                        <a:pt x="44" y="104"/>
                      </a:lnTo>
                      <a:lnTo>
                        <a:pt x="19" y="103"/>
                      </a:lnTo>
                      <a:lnTo>
                        <a:pt x="13" y="105"/>
                      </a:lnTo>
                      <a:lnTo>
                        <a:pt x="8" y="103"/>
                      </a:lnTo>
                      <a:lnTo>
                        <a:pt x="0" y="103"/>
                      </a:lnTo>
                      <a:lnTo>
                        <a:pt x="2" y="98"/>
                      </a:lnTo>
                      <a:lnTo>
                        <a:pt x="7" y="97"/>
                      </a:lnTo>
                      <a:lnTo>
                        <a:pt x="13" y="89"/>
                      </a:lnTo>
                      <a:lnTo>
                        <a:pt x="20" y="90"/>
                      </a:lnTo>
                      <a:lnTo>
                        <a:pt x="23" y="85"/>
                      </a:lnTo>
                      <a:lnTo>
                        <a:pt x="20" y="74"/>
                      </a:lnTo>
                      <a:lnTo>
                        <a:pt x="19" y="62"/>
                      </a:lnTo>
                      <a:lnTo>
                        <a:pt x="16" y="57"/>
                      </a:lnTo>
                      <a:lnTo>
                        <a:pt x="7" y="54"/>
                      </a:lnTo>
                      <a:lnTo>
                        <a:pt x="9" y="49"/>
                      </a:lnTo>
                      <a:lnTo>
                        <a:pt x="23" y="47"/>
                      </a:lnTo>
                      <a:lnTo>
                        <a:pt x="25" y="44"/>
                      </a:lnTo>
                      <a:lnTo>
                        <a:pt x="39" y="45"/>
                      </a:lnTo>
                      <a:lnTo>
                        <a:pt x="40" y="43"/>
                      </a:lnTo>
                      <a:lnTo>
                        <a:pt x="54" y="40"/>
                      </a:lnTo>
                      <a:lnTo>
                        <a:pt x="58" y="42"/>
                      </a:lnTo>
                      <a:close/>
                      <a:moveTo>
                        <a:pt x="81" y="0"/>
                      </a:moveTo>
                      <a:lnTo>
                        <a:pt x="81" y="7"/>
                      </a:lnTo>
                      <a:lnTo>
                        <a:pt x="77" y="8"/>
                      </a:lnTo>
                      <a:lnTo>
                        <a:pt x="62" y="17"/>
                      </a:lnTo>
                      <a:lnTo>
                        <a:pt x="62" y="10"/>
                      </a:lnTo>
                      <a:lnTo>
                        <a:pt x="71" y="4"/>
                      </a:lnTo>
                      <a:lnTo>
                        <a:pt x="81"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19" name="Tuvalu" descr="{&quot;Key&quot;:&quot;tuvalu&quot;,&quot;Name&quot;:&quot;Tuvalu&quot;,&quot;Value&quot;:1.0,&quot;Formula&quot;:&quot;&quot;,&quot;Text&quot;:&quot;&quot;,&quot;OfficeApplication&quot;:1,&quot;HasValue&quot;:true}">
                  <a:extLst>
                    <a:ext uri="{FF2B5EF4-FFF2-40B4-BE49-F238E27FC236}">
                      <a16:creationId xmlns:a16="http://schemas.microsoft.com/office/drawing/2014/main" id="{6E9B0E29-054C-CF4F-4F34-046A708CA062}"/>
                    </a:ext>
                  </a:extLst>
                </p:cNvPr>
                <p:cNvSpPr>
                  <a:spLocks/>
                </p:cNvSpPr>
                <p:nvPr/>
              </p:nvSpPr>
              <p:spPr bwMode="auto">
                <a:xfrm>
                  <a:off x="6997543" y="4632621"/>
                  <a:ext cx="0" cy="1588"/>
                </a:xfrm>
                <a:custGeom>
                  <a:avLst/>
                  <a:gdLst>
                    <a:gd name="T0" fmla="*/ 0 w 1"/>
                    <a:gd name="T1" fmla="*/ 2 h 2"/>
                    <a:gd name="T2" fmla="*/ 0 w 1"/>
                    <a:gd name="T3" fmla="*/ 0 h 2"/>
                    <a:gd name="T4" fmla="*/ 1 w 1"/>
                    <a:gd name="T5" fmla="*/ 2 h 2"/>
                    <a:gd name="T6" fmla="*/ 0 w 1"/>
                    <a:gd name="T7" fmla="*/ 2 h 2"/>
                  </a:gdLst>
                  <a:ahLst/>
                  <a:cxnLst>
                    <a:cxn ang="0">
                      <a:pos x="T0" y="T1"/>
                    </a:cxn>
                    <a:cxn ang="0">
                      <a:pos x="T2" y="T3"/>
                    </a:cxn>
                    <a:cxn ang="0">
                      <a:pos x="T4" y="T5"/>
                    </a:cxn>
                    <a:cxn ang="0">
                      <a:pos x="T6" y="T7"/>
                    </a:cxn>
                  </a:cxnLst>
                  <a:rect l="0" t="0" r="r" b="b"/>
                  <a:pathLst>
                    <a:path w="1" h="2">
                      <a:moveTo>
                        <a:pt x="0" y="2"/>
                      </a:moveTo>
                      <a:lnTo>
                        <a:pt x="0" y="0"/>
                      </a:lnTo>
                      <a:lnTo>
                        <a:pt x="1" y="2"/>
                      </a:lnTo>
                      <a:lnTo>
                        <a:pt x="0"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0" name="Saint Vincent and the Grenadines" descr="{&quot;Key&quot;:&quot;saint vincent and the grenadines&quot;,&quot;Name&quot;:&quot;Saint Vincent and the Grenadines&quot;,&quot;Value&quot;:1.0,&quot;Formula&quot;:&quot;&quot;,&quot;Text&quot;:&quot;&quot;,&quot;OfficeApplication&quot;:1,&quot;HasValue&quot;:true}">
                  <a:extLst>
                    <a:ext uri="{FF2B5EF4-FFF2-40B4-BE49-F238E27FC236}">
                      <a16:creationId xmlns:a16="http://schemas.microsoft.com/office/drawing/2014/main" id="{24FC0635-CCD0-86A9-50D3-E9D0B3FC86DA}"/>
                    </a:ext>
                  </a:extLst>
                </p:cNvPr>
                <p:cNvSpPr>
                  <a:spLocks/>
                </p:cNvSpPr>
                <p:nvPr/>
              </p:nvSpPr>
              <p:spPr bwMode="auto">
                <a:xfrm>
                  <a:off x="10761505" y="3845221"/>
                  <a:ext cx="4763" cy="9525"/>
                </a:xfrm>
                <a:custGeom>
                  <a:avLst/>
                  <a:gdLst>
                    <a:gd name="T0" fmla="*/ 8 w 10"/>
                    <a:gd name="T1" fmla="*/ 19 h 19"/>
                    <a:gd name="T2" fmla="*/ 1 w 10"/>
                    <a:gd name="T3" fmla="*/ 15 h 19"/>
                    <a:gd name="T4" fmla="*/ 0 w 10"/>
                    <a:gd name="T5" fmla="*/ 10 h 19"/>
                    <a:gd name="T6" fmla="*/ 2 w 10"/>
                    <a:gd name="T7" fmla="*/ 0 h 19"/>
                    <a:gd name="T8" fmla="*/ 7 w 10"/>
                    <a:gd name="T9" fmla="*/ 0 h 19"/>
                    <a:gd name="T10" fmla="*/ 10 w 10"/>
                    <a:gd name="T11" fmla="*/ 5 h 19"/>
                    <a:gd name="T12" fmla="*/ 10 w 10"/>
                    <a:gd name="T13" fmla="*/ 15 h 19"/>
                    <a:gd name="T14" fmla="*/ 8 w 10"/>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8" y="19"/>
                      </a:moveTo>
                      <a:lnTo>
                        <a:pt x="1" y="15"/>
                      </a:lnTo>
                      <a:lnTo>
                        <a:pt x="0" y="10"/>
                      </a:lnTo>
                      <a:lnTo>
                        <a:pt x="2" y="0"/>
                      </a:lnTo>
                      <a:lnTo>
                        <a:pt x="7" y="0"/>
                      </a:lnTo>
                      <a:lnTo>
                        <a:pt x="10" y="5"/>
                      </a:lnTo>
                      <a:lnTo>
                        <a:pt x="10" y="15"/>
                      </a:lnTo>
                      <a:lnTo>
                        <a:pt x="8" y="19"/>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1" name="British Virgin Islands" descr="{&quot;Key&quot;:&quot;british virgin islands&quot;,&quot;Name&quot;:&quot;British Virgin Islands&quot;,&quot;Value&quot;:1.0,&quot;Formula&quot;:&quot;&quot;,&quot;Text&quot;:&quot;&quot;,&quot;OfficeApplication&quot;:1,&quot;HasValue&quot;:true}">
                  <a:extLst>
                    <a:ext uri="{FF2B5EF4-FFF2-40B4-BE49-F238E27FC236}">
                      <a16:creationId xmlns:a16="http://schemas.microsoft.com/office/drawing/2014/main" id="{59B7D064-55EA-359A-C1D5-E18C9EFCD665}"/>
                    </a:ext>
                  </a:extLst>
                </p:cNvPr>
                <p:cNvSpPr>
                  <a:spLocks/>
                </p:cNvSpPr>
                <p:nvPr/>
              </p:nvSpPr>
              <p:spPr bwMode="auto">
                <a:xfrm>
                  <a:off x="10621805" y="3664246"/>
                  <a:ext cx="3175" cy="1588"/>
                </a:xfrm>
                <a:custGeom>
                  <a:avLst/>
                  <a:gdLst>
                    <a:gd name="T0" fmla="*/ 9 w 9"/>
                    <a:gd name="T1" fmla="*/ 0 h 5"/>
                    <a:gd name="T2" fmla="*/ 6 w 9"/>
                    <a:gd name="T3" fmla="*/ 2 h 5"/>
                    <a:gd name="T4" fmla="*/ 4 w 9"/>
                    <a:gd name="T5" fmla="*/ 2 h 5"/>
                    <a:gd name="T6" fmla="*/ 1 w 9"/>
                    <a:gd name="T7" fmla="*/ 5 h 5"/>
                    <a:gd name="T8" fmla="*/ 0 w 9"/>
                    <a:gd name="T9" fmla="*/ 1 h 5"/>
                    <a:gd name="T10" fmla="*/ 9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9" y="0"/>
                      </a:moveTo>
                      <a:lnTo>
                        <a:pt x="6" y="2"/>
                      </a:lnTo>
                      <a:lnTo>
                        <a:pt x="4" y="2"/>
                      </a:lnTo>
                      <a:lnTo>
                        <a:pt x="1" y="5"/>
                      </a:lnTo>
                      <a:lnTo>
                        <a:pt x="0" y="1"/>
                      </a:lnTo>
                      <a:lnTo>
                        <a:pt x="9"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2" name="US Virgin Islands" descr="{&quot;Key&quot;:&quot;us virgin islands&quot;,&quot;Name&quot;:&quot;US Virgin Islands&quot;,&quot;Value&quot;:1.0,&quot;Formula&quot;:&quot;&quot;,&quot;Text&quot;:&quot;&quot;,&quot;OfficeApplication&quot;:1,&quot;HasValue&quot;:true}">
                  <a:extLst>
                    <a:ext uri="{FF2B5EF4-FFF2-40B4-BE49-F238E27FC236}">
                      <a16:creationId xmlns:a16="http://schemas.microsoft.com/office/drawing/2014/main" id="{43647724-0935-AE09-B297-BAE56B5DEA40}"/>
                    </a:ext>
                  </a:extLst>
                </p:cNvPr>
                <p:cNvSpPr>
                  <a:spLocks/>
                </p:cNvSpPr>
                <p:nvPr/>
              </p:nvSpPr>
              <p:spPr bwMode="auto">
                <a:xfrm>
                  <a:off x="10618630" y="3688059"/>
                  <a:ext cx="7938" cy="3175"/>
                </a:xfrm>
                <a:custGeom>
                  <a:avLst/>
                  <a:gdLst>
                    <a:gd name="T0" fmla="*/ 11 w 16"/>
                    <a:gd name="T1" fmla="*/ 1 h 7"/>
                    <a:gd name="T2" fmla="*/ 16 w 16"/>
                    <a:gd name="T3" fmla="*/ 6 h 7"/>
                    <a:gd name="T4" fmla="*/ 2 w 16"/>
                    <a:gd name="T5" fmla="*/ 7 h 7"/>
                    <a:gd name="T6" fmla="*/ 0 w 16"/>
                    <a:gd name="T7" fmla="*/ 2 h 7"/>
                    <a:gd name="T8" fmla="*/ 7 w 16"/>
                    <a:gd name="T9" fmla="*/ 0 h 7"/>
                    <a:gd name="T10" fmla="*/ 11 w 16"/>
                    <a:gd name="T11" fmla="*/ 1 h 7"/>
                  </a:gdLst>
                  <a:ahLst/>
                  <a:cxnLst>
                    <a:cxn ang="0">
                      <a:pos x="T0" y="T1"/>
                    </a:cxn>
                    <a:cxn ang="0">
                      <a:pos x="T2" y="T3"/>
                    </a:cxn>
                    <a:cxn ang="0">
                      <a:pos x="T4" y="T5"/>
                    </a:cxn>
                    <a:cxn ang="0">
                      <a:pos x="T6" y="T7"/>
                    </a:cxn>
                    <a:cxn ang="0">
                      <a:pos x="T8" y="T9"/>
                    </a:cxn>
                    <a:cxn ang="0">
                      <a:pos x="T10" y="T11"/>
                    </a:cxn>
                  </a:cxnLst>
                  <a:rect l="0" t="0" r="r" b="b"/>
                  <a:pathLst>
                    <a:path w="16" h="7">
                      <a:moveTo>
                        <a:pt x="11" y="1"/>
                      </a:moveTo>
                      <a:lnTo>
                        <a:pt x="16" y="6"/>
                      </a:lnTo>
                      <a:lnTo>
                        <a:pt x="2" y="7"/>
                      </a:lnTo>
                      <a:lnTo>
                        <a:pt x="0" y="2"/>
                      </a:lnTo>
                      <a:lnTo>
                        <a:pt x="7" y="0"/>
                      </a:lnTo>
                      <a:lnTo>
                        <a:pt x="11" y="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3" name="Vanuatu" descr="{&quot;Key&quot;:&quot;vanuatu&quot;,&quot;Name&quot;:&quot;Vanuatu&quot;,&quot;Value&quot;:1.0,&quot;Formula&quot;:&quot;&quot;,&quot;Text&quot;:&quot;&quot;,&quot;OfficeApplication&quot;:1,&quot;HasValue&quot;:true}">
                  <a:extLst>
                    <a:ext uri="{FF2B5EF4-FFF2-40B4-BE49-F238E27FC236}">
                      <a16:creationId xmlns:a16="http://schemas.microsoft.com/office/drawing/2014/main" id="{1D3AB290-5DDB-1D90-3735-68854E29E519}"/>
                    </a:ext>
                  </a:extLst>
                </p:cNvPr>
                <p:cNvSpPr>
                  <a:spLocks noEditPoints="1"/>
                </p:cNvSpPr>
                <p:nvPr/>
              </p:nvSpPr>
              <p:spPr bwMode="auto">
                <a:xfrm>
                  <a:off x="6592730" y="4821534"/>
                  <a:ext cx="100013" cy="234950"/>
                </a:xfrm>
                <a:custGeom>
                  <a:avLst/>
                  <a:gdLst>
                    <a:gd name="T0" fmla="*/ 219 w 229"/>
                    <a:gd name="T1" fmla="*/ 523 h 531"/>
                    <a:gd name="T2" fmla="*/ 224 w 229"/>
                    <a:gd name="T3" fmla="*/ 531 h 531"/>
                    <a:gd name="T4" fmla="*/ 182 w 229"/>
                    <a:gd name="T5" fmla="*/ 470 h 531"/>
                    <a:gd name="T6" fmla="*/ 192 w 229"/>
                    <a:gd name="T7" fmla="*/ 467 h 531"/>
                    <a:gd name="T8" fmla="*/ 182 w 229"/>
                    <a:gd name="T9" fmla="*/ 408 h 531"/>
                    <a:gd name="T10" fmla="*/ 192 w 229"/>
                    <a:gd name="T11" fmla="*/ 422 h 531"/>
                    <a:gd name="T12" fmla="*/ 176 w 229"/>
                    <a:gd name="T13" fmla="*/ 425 h 531"/>
                    <a:gd name="T14" fmla="*/ 168 w 229"/>
                    <a:gd name="T15" fmla="*/ 405 h 531"/>
                    <a:gd name="T16" fmla="*/ 182 w 229"/>
                    <a:gd name="T17" fmla="*/ 408 h 531"/>
                    <a:gd name="T18" fmla="*/ 137 w 229"/>
                    <a:gd name="T19" fmla="*/ 320 h 531"/>
                    <a:gd name="T20" fmla="*/ 128 w 229"/>
                    <a:gd name="T21" fmla="*/ 335 h 531"/>
                    <a:gd name="T22" fmla="*/ 113 w 229"/>
                    <a:gd name="T23" fmla="*/ 321 h 531"/>
                    <a:gd name="T24" fmla="*/ 116 w 229"/>
                    <a:gd name="T25" fmla="*/ 233 h 531"/>
                    <a:gd name="T26" fmla="*/ 128 w 229"/>
                    <a:gd name="T27" fmla="*/ 248 h 531"/>
                    <a:gd name="T28" fmla="*/ 126 w 229"/>
                    <a:gd name="T29" fmla="*/ 250 h 531"/>
                    <a:gd name="T30" fmla="*/ 111 w 229"/>
                    <a:gd name="T31" fmla="*/ 243 h 531"/>
                    <a:gd name="T32" fmla="*/ 126 w 229"/>
                    <a:gd name="T33" fmla="*/ 212 h 531"/>
                    <a:gd name="T34" fmla="*/ 104 w 229"/>
                    <a:gd name="T35" fmla="*/ 212 h 531"/>
                    <a:gd name="T36" fmla="*/ 108 w 229"/>
                    <a:gd name="T37" fmla="*/ 201 h 531"/>
                    <a:gd name="T38" fmla="*/ 126 w 229"/>
                    <a:gd name="T39" fmla="*/ 210 h 531"/>
                    <a:gd name="T40" fmla="*/ 76 w 229"/>
                    <a:gd name="T41" fmla="*/ 204 h 531"/>
                    <a:gd name="T42" fmla="*/ 84 w 229"/>
                    <a:gd name="T43" fmla="*/ 231 h 531"/>
                    <a:gd name="T44" fmla="*/ 68 w 229"/>
                    <a:gd name="T45" fmla="*/ 233 h 531"/>
                    <a:gd name="T46" fmla="*/ 59 w 229"/>
                    <a:gd name="T47" fmla="*/ 216 h 531"/>
                    <a:gd name="T48" fmla="*/ 49 w 229"/>
                    <a:gd name="T49" fmla="*/ 199 h 531"/>
                    <a:gd name="T50" fmla="*/ 46 w 229"/>
                    <a:gd name="T51" fmla="*/ 177 h 531"/>
                    <a:gd name="T52" fmla="*/ 63 w 229"/>
                    <a:gd name="T53" fmla="*/ 195 h 531"/>
                    <a:gd name="T54" fmla="*/ 38 w 229"/>
                    <a:gd name="T55" fmla="*/ 160 h 531"/>
                    <a:gd name="T56" fmla="*/ 49 w 229"/>
                    <a:gd name="T57" fmla="*/ 165 h 531"/>
                    <a:gd name="T58" fmla="*/ 113 w 229"/>
                    <a:gd name="T59" fmla="*/ 158 h 531"/>
                    <a:gd name="T60" fmla="*/ 123 w 229"/>
                    <a:gd name="T61" fmla="*/ 182 h 531"/>
                    <a:gd name="T62" fmla="*/ 86 w 229"/>
                    <a:gd name="T63" fmla="*/ 145 h 531"/>
                    <a:gd name="T64" fmla="*/ 103 w 229"/>
                    <a:gd name="T65" fmla="*/ 127 h 531"/>
                    <a:gd name="T66" fmla="*/ 118 w 229"/>
                    <a:gd name="T67" fmla="*/ 135 h 531"/>
                    <a:gd name="T68" fmla="*/ 112 w 229"/>
                    <a:gd name="T69" fmla="*/ 100 h 531"/>
                    <a:gd name="T70" fmla="*/ 118 w 229"/>
                    <a:gd name="T71" fmla="*/ 122 h 531"/>
                    <a:gd name="T72" fmla="*/ 28 w 229"/>
                    <a:gd name="T73" fmla="*/ 117 h 531"/>
                    <a:gd name="T74" fmla="*/ 36 w 229"/>
                    <a:gd name="T75" fmla="*/ 98 h 531"/>
                    <a:gd name="T76" fmla="*/ 41 w 229"/>
                    <a:gd name="T77" fmla="*/ 116 h 531"/>
                    <a:gd name="T78" fmla="*/ 46 w 229"/>
                    <a:gd name="T79" fmla="*/ 132 h 531"/>
                    <a:gd name="T80" fmla="*/ 46 w 229"/>
                    <a:gd name="T81" fmla="*/ 147 h 531"/>
                    <a:gd name="T82" fmla="*/ 18 w 229"/>
                    <a:gd name="T83" fmla="*/ 158 h 531"/>
                    <a:gd name="T84" fmla="*/ 4 w 229"/>
                    <a:gd name="T85" fmla="*/ 101 h 531"/>
                    <a:gd name="T86" fmla="*/ 7 w 229"/>
                    <a:gd name="T87" fmla="*/ 75 h 531"/>
                    <a:gd name="T88" fmla="*/ 21 w 229"/>
                    <a:gd name="T89" fmla="*/ 118 h 531"/>
                    <a:gd name="T90" fmla="*/ 78 w 229"/>
                    <a:gd name="T91" fmla="*/ 43 h 531"/>
                    <a:gd name="T92" fmla="*/ 64 w 229"/>
                    <a:gd name="T93" fmla="*/ 40 h 531"/>
                    <a:gd name="T94" fmla="*/ 72 w 229"/>
                    <a:gd name="T95" fmla="*/ 17 h 531"/>
                    <a:gd name="T96" fmla="*/ 71 w 229"/>
                    <a:gd name="T97"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9" h="531">
                      <a:moveTo>
                        <a:pt x="224" y="531"/>
                      </a:moveTo>
                      <a:lnTo>
                        <a:pt x="217" y="528"/>
                      </a:lnTo>
                      <a:lnTo>
                        <a:pt x="219" y="523"/>
                      </a:lnTo>
                      <a:lnTo>
                        <a:pt x="224" y="522"/>
                      </a:lnTo>
                      <a:lnTo>
                        <a:pt x="229" y="527"/>
                      </a:lnTo>
                      <a:lnTo>
                        <a:pt x="224" y="531"/>
                      </a:lnTo>
                      <a:close/>
                      <a:moveTo>
                        <a:pt x="198" y="482"/>
                      </a:moveTo>
                      <a:lnTo>
                        <a:pt x="192" y="482"/>
                      </a:lnTo>
                      <a:lnTo>
                        <a:pt x="182" y="470"/>
                      </a:lnTo>
                      <a:lnTo>
                        <a:pt x="184" y="457"/>
                      </a:lnTo>
                      <a:lnTo>
                        <a:pt x="192" y="457"/>
                      </a:lnTo>
                      <a:lnTo>
                        <a:pt x="192" y="467"/>
                      </a:lnTo>
                      <a:lnTo>
                        <a:pt x="202" y="473"/>
                      </a:lnTo>
                      <a:lnTo>
                        <a:pt x="198" y="482"/>
                      </a:lnTo>
                      <a:close/>
                      <a:moveTo>
                        <a:pt x="182" y="408"/>
                      </a:moveTo>
                      <a:lnTo>
                        <a:pt x="188" y="411"/>
                      </a:lnTo>
                      <a:lnTo>
                        <a:pt x="184" y="416"/>
                      </a:lnTo>
                      <a:lnTo>
                        <a:pt x="192" y="422"/>
                      </a:lnTo>
                      <a:lnTo>
                        <a:pt x="192" y="427"/>
                      </a:lnTo>
                      <a:lnTo>
                        <a:pt x="186" y="428"/>
                      </a:lnTo>
                      <a:lnTo>
                        <a:pt x="176" y="425"/>
                      </a:lnTo>
                      <a:lnTo>
                        <a:pt x="168" y="420"/>
                      </a:lnTo>
                      <a:lnTo>
                        <a:pt x="168" y="415"/>
                      </a:lnTo>
                      <a:lnTo>
                        <a:pt x="168" y="405"/>
                      </a:lnTo>
                      <a:lnTo>
                        <a:pt x="172" y="400"/>
                      </a:lnTo>
                      <a:lnTo>
                        <a:pt x="179" y="401"/>
                      </a:lnTo>
                      <a:lnTo>
                        <a:pt x="182" y="408"/>
                      </a:lnTo>
                      <a:close/>
                      <a:moveTo>
                        <a:pt x="124" y="312"/>
                      </a:moveTo>
                      <a:lnTo>
                        <a:pt x="133" y="312"/>
                      </a:lnTo>
                      <a:lnTo>
                        <a:pt x="137" y="320"/>
                      </a:lnTo>
                      <a:lnTo>
                        <a:pt x="142" y="325"/>
                      </a:lnTo>
                      <a:lnTo>
                        <a:pt x="138" y="332"/>
                      </a:lnTo>
                      <a:lnTo>
                        <a:pt x="128" y="335"/>
                      </a:lnTo>
                      <a:lnTo>
                        <a:pt x="123" y="331"/>
                      </a:lnTo>
                      <a:lnTo>
                        <a:pt x="121" y="325"/>
                      </a:lnTo>
                      <a:lnTo>
                        <a:pt x="113" y="321"/>
                      </a:lnTo>
                      <a:lnTo>
                        <a:pt x="122" y="311"/>
                      </a:lnTo>
                      <a:lnTo>
                        <a:pt x="124" y="312"/>
                      </a:lnTo>
                      <a:close/>
                      <a:moveTo>
                        <a:pt x="116" y="233"/>
                      </a:moveTo>
                      <a:lnTo>
                        <a:pt x="119" y="241"/>
                      </a:lnTo>
                      <a:lnTo>
                        <a:pt x="124" y="242"/>
                      </a:lnTo>
                      <a:lnTo>
                        <a:pt x="128" y="248"/>
                      </a:lnTo>
                      <a:lnTo>
                        <a:pt x="136" y="250"/>
                      </a:lnTo>
                      <a:lnTo>
                        <a:pt x="134" y="255"/>
                      </a:lnTo>
                      <a:lnTo>
                        <a:pt x="126" y="250"/>
                      </a:lnTo>
                      <a:lnTo>
                        <a:pt x="118" y="253"/>
                      </a:lnTo>
                      <a:lnTo>
                        <a:pt x="114" y="252"/>
                      </a:lnTo>
                      <a:lnTo>
                        <a:pt x="111" y="243"/>
                      </a:lnTo>
                      <a:lnTo>
                        <a:pt x="113" y="233"/>
                      </a:lnTo>
                      <a:lnTo>
                        <a:pt x="116" y="233"/>
                      </a:lnTo>
                      <a:close/>
                      <a:moveTo>
                        <a:pt x="126" y="212"/>
                      </a:moveTo>
                      <a:lnTo>
                        <a:pt x="123" y="213"/>
                      </a:lnTo>
                      <a:lnTo>
                        <a:pt x="113" y="216"/>
                      </a:lnTo>
                      <a:lnTo>
                        <a:pt x="104" y="212"/>
                      </a:lnTo>
                      <a:lnTo>
                        <a:pt x="98" y="207"/>
                      </a:lnTo>
                      <a:lnTo>
                        <a:pt x="98" y="203"/>
                      </a:lnTo>
                      <a:lnTo>
                        <a:pt x="108" y="201"/>
                      </a:lnTo>
                      <a:lnTo>
                        <a:pt x="116" y="192"/>
                      </a:lnTo>
                      <a:lnTo>
                        <a:pt x="119" y="205"/>
                      </a:lnTo>
                      <a:lnTo>
                        <a:pt x="126" y="210"/>
                      </a:lnTo>
                      <a:lnTo>
                        <a:pt x="126" y="212"/>
                      </a:lnTo>
                      <a:close/>
                      <a:moveTo>
                        <a:pt x="63" y="195"/>
                      </a:moveTo>
                      <a:lnTo>
                        <a:pt x="76" y="204"/>
                      </a:lnTo>
                      <a:lnTo>
                        <a:pt x="86" y="213"/>
                      </a:lnTo>
                      <a:lnTo>
                        <a:pt x="92" y="223"/>
                      </a:lnTo>
                      <a:lnTo>
                        <a:pt x="84" y="231"/>
                      </a:lnTo>
                      <a:lnTo>
                        <a:pt x="79" y="227"/>
                      </a:lnTo>
                      <a:lnTo>
                        <a:pt x="74" y="227"/>
                      </a:lnTo>
                      <a:lnTo>
                        <a:pt x="68" y="233"/>
                      </a:lnTo>
                      <a:lnTo>
                        <a:pt x="64" y="232"/>
                      </a:lnTo>
                      <a:lnTo>
                        <a:pt x="63" y="223"/>
                      </a:lnTo>
                      <a:lnTo>
                        <a:pt x="59" y="216"/>
                      </a:lnTo>
                      <a:lnTo>
                        <a:pt x="59" y="202"/>
                      </a:lnTo>
                      <a:lnTo>
                        <a:pt x="56" y="196"/>
                      </a:lnTo>
                      <a:lnTo>
                        <a:pt x="49" y="199"/>
                      </a:lnTo>
                      <a:lnTo>
                        <a:pt x="43" y="193"/>
                      </a:lnTo>
                      <a:lnTo>
                        <a:pt x="46" y="186"/>
                      </a:lnTo>
                      <a:lnTo>
                        <a:pt x="46" y="177"/>
                      </a:lnTo>
                      <a:lnTo>
                        <a:pt x="49" y="174"/>
                      </a:lnTo>
                      <a:lnTo>
                        <a:pt x="57" y="178"/>
                      </a:lnTo>
                      <a:lnTo>
                        <a:pt x="63" y="195"/>
                      </a:lnTo>
                      <a:close/>
                      <a:moveTo>
                        <a:pt x="49" y="165"/>
                      </a:moveTo>
                      <a:lnTo>
                        <a:pt x="47" y="166"/>
                      </a:lnTo>
                      <a:lnTo>
                        <a:pt x="38" y="160"/>
                      </a:lnTo>
                      <a:lnTo>
                        <a:pt x="42" y="156"/>
                      </a:lnTo>
                      <a:lnTo>
                        <a:pt x="49" y="157"/>
                      </a:lnTo>
                      <a:lnTo>
                        <a:pt x="49" y="165"/>
                      </a:lnTo>
                      <a:close/>
                      <a:moveTo>
                        <a:pt x="119" y="186"/>
                      </a:moveTo>
                      <a:lnTo>
                        <a:pt x="117" y="183"/>
                      </a:lnTo>
                      <a:lnTo>
                        <a:pt x="113" y="158"/>
                      </a:lnTo>
                      <a:lnTo>
                        <a:pt x="118" y="155"/>
                      </a:lnTo>
                      <a:lnTo>
                        <a:pt x="123" y="175"/>
                      </a:lnTo>
                      <a:lnTo>
                        <a:pt x="123" y="182"/>
                      </a:lnTo>
                      <a:lnTo>
                        <a:pt x="119" y="186"/>
                      </a:lnTo>
                      <a:close/>
                      <a:moveTo>
                        <a:pt x="94" y="143"/>
                      </a:moveTo>
                      <a:lnTo>
                        <a:pt x="86" y="145"/>
                      </a:lnTo>
                      <a:lnTo>
                        <a:pt x="82" y="140"/>
                      </a:lnTo>
                      <a:lnTo>
                        <a:pt x="91" y="131"/>
                      </a:lnTo>
                      <a:lnTo>
                        <a:pt x="103" y="127"/>
                      </a:lnTo>
                      <a:lnTo>
                        <a:pt x="99" y="140"/>
                      </a:lnTo>
                      <a:lnTo>
                        <a:pt x="94" y="143"/>
                      </a:lnTo>
                      <a:close/>
                      <a:moveTo>
                        <a:pt x="118" y="135"/>
                      </a:moveTo>
                      <a:lnTo>
                        <a:pt x="114" y="133"/>
                      </a:lnTo>
                      <a:lnTo>
                        <a:pt x="114" y="117"/>
                      </a:lnTo>
                      <a:lnTo>
                        <a:pt x="112" y="100"/>
                      </a:lnTo>
                      <a:lnTo>
                        <a:pt x="116" y="102"/>
                      </a:lnTo>
                      <a:lnTo>
                        <a:pt x="117" y="118"/>
                      </a:lnTo>
                      <a:lnTo>
                        <a:pt x="118" y="122"/>
                      </a:lnTo>
                      <a:lnTo>
                        <a:pt x="118" y="135"/>
                      </a:lnTo>
                      <a:close/>
                      <a:moveTo>
                        <a:pt x="21" y="118"/>
                      </a:moveTo>
                      <a:lnTo>
                        <a:pt x="28" y="117"/>
                      </a:lnTo>
                      <a:lnTo>
                        <a:pt x="32" y="113"/>
                      </a:lnTo>
                      <a:lnTo>
                        <a:pt x="32" y="103"/>
                      </a:lnTo>
                      <a:lnTo>
                        <a:pt x="36" y="98"/>
                      </a:lnTo>
                      <a:lnTo>
                        <a:pt x="39" y="100"/>
                      </a:lnTo>
                      <a:lnTo>
                        <a:pt x="38" y="105"/>
                      </a:lnTo>
                      <a:lnTo>
                        <a:pt x="41" y="116"/>
                      </a:lnTo>
                      <a:lnTo>
                        <a:pt x="44" y="117"/>
                      </a:lnTo>
                      <a:lnTo>
                        <a:pt x="47" y="130"/>
                      </a:lnTo>
                      <a:lnTo>
                        <a:pt x="46" y="132"/>
                      </a:lnTo>
                      <a:lnTo>
                        <a:pt x="47" y="138"/>
                      </a:lnTo>
                      <a:lnTo>
                        <a:pt x="51" y="145"/>
                      </a:lnTo>
                      <a:lnTo>
                        <a:pt x="46" y="147"/>
                      </a:lnTo>
                      <a:lnTo>
                        <a:pt x="41" y="152"/>
                      </a:lnTo>
                      <a:lnTo>
                        <a:pt x="29" y="152"/>
                      </a:lnTo>
                      <a:lnTo>
                        <a:pt x="18" y="158"/>
                      </a:lnTo>
                      <a:lnTo>
                        <a:pt x="7" y="136"/>
                      </a:lnTo>
                      <a:lnTo>
                        <a:pt x="9" y="126"/>
                      </a:lnTo>
                      <a:lnTo>
                        <a:pt x="4" y="101"/>
                      </a:lnTo>
                      <a:lnTo>
                        <a:pt x="0" y="91"/>
                      </a:lnTo>
                      <a:lnTo>
                        <a:pt x="3" y="76"/>
                      </a:lnTo>
                      <a:lnTo>
                        <a:pt x="7" y="75"/>
                      </a:lnTo>
                      <a:lnTo>
                        <a:pt x="12" y="87"/>
                      </a:lnTo>
                      <a:lnTo>
                        <a:pt x="15" y="91"/>
                      </a:lnTo>
                      <a:lnTo>
                        <a:pt x="21" y="118"/>
                      </a:lnTo>
                      <a:close/>
                      <a:moveTo>
                        <a:pt x="73" y="35"/>
                      </a:moveTo>
                      <a:lnTo>
                        <a:pt x="78" y="38"/>
                      </a:lnTo>
                      <a:lnTo>
                        <a:pt x="78" y="43"/>
                      </a:lnTo>
                      <a:lnTo>
                        <a:pt x="73" y="50"/>
                      </a:lnTo>
                      <a:lnTo>
                        <a:pt x="66" y="50"/>
                      </a:lnTo>
                      <a:lnTo>
                        <a:pt x="64" y="40"/>
                      </a:lnTo>
                      <a:lnTo>
                        <a:pt x="73" y="35"/>
                      </a:lnTo>
                      <a:close/>
                      <a:moveTo>
                        <a:pt x="77" y="11"/>
                      </a:moveTo>
                      <a:lnTo>
                        <a:pt x="72" y="17"/>
                      </a:lnTo>
                      <a:lnTo>
                        <a:pt x="64" y="7"/>
                      </a:lnTo>
                      <a:lnTo>
                        <a:pt x="64" y="3"/>
                      </a:lnTo>
                      <a:lnTo>
                        <a:pt x="71" y="0"/>
                      </a:lnTo>
                      <a:lnTo>
                        <a:pt x="77" y="1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4" name="Samoa" descr="{&quot;Key&quot;:&quot;samoa&quot;,&quot;Name&quot;:&quot;Samoa&quot;,&quot;Value&quot;:1.0,&quot;Formula&quot;:&quot;&quot;,&quot;Text&quot;:&quot;&quot;,&quot;OfficeApplication&quot;:1,&quot;HasValue&quot;:true}">
                  <a:extLst>
                    <a:ext uri="{FF2B5EF4-FFF2-40B4-BE49-F238E27FC236}">
                      <a16:creationId xmlns:a16="http://schemas.microsoft.com/office/drawing/2014/main" id="{9D9782DB-45EE-6C85-FBD4-5851615B5DF1}"/>
                    </a:ext>
                  </a:extLst>
                </p:cNvPr>
                <p:cNvSpPr>
                  <a:spLocks noEditPoints="1"/>
                </p:cNvSpPr>
                <p:nvPr/>
              </p:nvSpPr>
              <p:spPr bwMode="auto">
                <a:xfrm>
                  <a:off x="7246780" y="4812009"/>
                  <a:ext cx="39688" cy="20638"/>
                </a:xfrm>
                <a:custGeom>
                  <a:avLst/>
                  <a:gdLst>
                    <a:gd name="T0" fmla="*/ 84 w 90"/>
                    <a:gd name="T1" fmla="*/ 38 h 47"/>
                    <a:gd name="T2" fmla="*/ 90 w 90"/>
                    <a:gd name="T3" fmla="*/ 41 h 47"/>
                    <a:gd name="T4" fmla="*/ 90 w 90"/>
                    <a:gd name="T5" fmla="*/ 47 h 47"/>
                    <a:gd name="T6" fmla="*/ 75 w 90"/>
                    <a:gd name="T7" fmla="*/ 47 h 47"/>
                    <a:gd name="T8" fmla="*/ 70 w 90"/>
                    <a:gd name="T9" fmla="*/ 47 h 47"/>
                    <a:gd name="T10" fmla="*/ 64 w 90"/>
                    <a:gd name="T11" fmla="*/ 43 h 47"/>
                    <a:gd name="T12" fmla="*/ 56 w 90"/>
                    <a:gd name="T13" fmla="*/ 42 h 47"/>
                    <a:gd name="T14" fmla="*/ 55 w 90"/>
                    <a:gd name="T15" fmla="*/ 40 h 47"/>
                    <a:gd name="T16" fmla="*/ 49 w 90"/>
                    <a:gd name="T17" fmla="*/ 36 h 47"/>
                    <a:gd name="T18" fmla="*/ 50 w 90"/>
                    <a:gd name="T19" fmla="*/ 31 h 47"/>
                    <a:gd name="T20" fmla="*/ 61 w 90"/>
                    <a:gd name="T21" fmla="*/ 27 h 47"/>
                    <a:gd name="T22" fmla="*/ 68 w 90"/>
                    <a:gd name="T23" fmla="*/ 28 h 47"/>
                    <a:gd name="T24" fmla="*/ 84 w 90"/>
                    <a:gd name="T25" fmla="*/ 35 h 47"/>
                    <a:gd name="T26" fmla="*/ 84 w 90"/>
                    <a:gd name="T27" fmla="*/ 38 h 47"/>
                    <a:gd name="T28" fmla="*/ 34 w 90"/>
                    <a:gd name="T29" fmla="*/ 2 h 47"/>
                    <a:gd name="T30" fmla="*/ 40 w 90"/>
                    <a:gd name="T31" fmla="*/ 11 h 47"/>
                    <a:gd name="T32" fmla="*/ 40 w 90"/>
                    <a:gd name="T33" fmla="*/ 20 h 47"/>
                    <a:gd name="T34" fmla="*/ 38 w 90"/>
                    <a:gd name="T35" fmla="*/ 27 h 47"/>
                    <a:gd name="T36" fmla="*/ 33 w 90"/>
                    <a:gd name="T37" fmla="*/ 25 h 47"/>
                    <a:gd name="T38" fmla="*/ 16 w 90"/>
                    <a:gd name="T39" fmla="*/ 27 h 47"/>
                    <a:gd name="T40" fmla="*/ 11 w 90"/>
                    <a:gd name="T41" fmla="*/ 20 h 47"/>
                    <a:gd name="T42" fmla="*/ 0 w 90"/>
                    <a:gd name="T43" fmla="*/ 10 h 47"/>
                    <a:gd name="T44" fmla="*/ 0 w 90"/>
                    <a:gd name="T45" fmla="*/ 3 h 47"/>
                    <a:gd name="T46" fmla="*/ 9 w 90"/>
                    <a:gd name="T47" fmla="*/ 5 h 47"/>
                    <a:gd name="T48" fmla="*/ 16 w 90"/>
                    <a:gd name="T49" fmla="*/ 2 h 47"/>
                    <a:gd name="T50" fmla="*/ 27 w 90"/>
                    <a:gd name="T51" fmla="*/ 0 h 47"/>
                    <a:gd name="T52" fmla="*/ 34 w 90"/>
                    <a:gd name="T53"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 h="47">
                      <a:moveTo>
                        <a:pt x="84" y="38"/>
                      </a:moveTo>
                      <a:lnTo>
                        <a:pt x="90" y="41"/>
                      </a:lnTo>
                      <a:lnTo>
                        <a:pt x="90" y="47"/>
                      </a:lnTo>
                      <a:lnTo>
                        <a:pt x="75" y="47"/>
                      </a:lnTo>
                      <a:lnTo>
                        <a:pt x="70" y="47"/>
                      </a:lnTo>
                      <a:lnTo>
                        <a:pt x="64" y="43"/>
                      </a:lnTo>
                      <a:lnTo>
                        <a:pt x="56" y="42"/>
                      </a:lnTo>
                      <a:lnTo>
                        <a:pt x="55" y="40"/>
                      </a:lnTo>
                      <a:lnTo>
                        <a:pt x="49" y="36"/>
                      </a:lnTo>
                      <a:lnTo>
                        <a:pt x="50" y="31"/>
                      </a:lnTo>
                      <a:lnTo>
                        <a:pt x="61" y="27"/>
                      </a:lnTo>
                      <a:lnTo>
                        <a:pt x="68" y="28"/>
                      </a:lnTo>
                      <a:lnTo>
                        <a:pt x="84" y="35"/>
                      </a:lnTo>
                      <a:lnTo>
                        <a:pt x="84" y="38"/>
                      </a:lnTo>
                      <a:close/>
                      <a:moveTo>
                        <a:pt x="34" y="2"/>
                      </a:moveTo>
                      <a:lnTo>
                        <a:pt x="40" y="11"/>
                      </a:lnTo>
                      <a:lnTo>
                        <a:pt x="40" y="20"/>
                      </a:lnTo>
                      <a:lnTo>
                        <a:pt x="38" y="27"/>
                      </a:lnTo>
                      <a:lnTo>
                        <a:pt x="33" y="25"/>
                      </a:lnTo>
                      <a:lnTo>
                        <a:pt x="16" y="27"/>
                      </a:lnTo>
                      <a:lnTo>
                        <a:pt x="11" y="20"/>
                      </a:lnTo>
                      <a:lnTo>
                        <a:pt x="0" y="10"/>
                      </a:lnTo>
                      <a:lnTo>
                        <a:pt x="0" y="3"/>
                      </a:lnTo>
                      <a:lnTo>
                        <a:pt x="9" y="5"/>
                      </a:lnTo>
                      <a:lnTo>
                        <a:pt x="16" y="2"/>
                      </a:lnTo>
                      <a:lnTo>
                        <a:pt x="27" y="0"/>
                      </a:lnTo>
                      <a:lnTo>
                        <a:pt x="34"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5" name="Bonaire" descr="{&quot;Key&quot;:&quot;bonaire&quot;,&quot;Name&quot;:&quot;Bonaire&quot;,&quot;Value&quot;:1.0,&quot;Formula&quot;:&quot;&quot;,&quot;Text&quot;:&quot;&quot;,&quot;OfficeApplication&quot;:1,&quot;HasValue&quot;:true}">
                  <a:extLst>
                    <a:ext uri="{FF2B5EF4-FFF2-40B4-BE49-F238E27FC236}">
                      <a16:creationId xmlns:a16="http://schemas.microsoft.com/office/drawing/2014/main" id="{6EAD20E8-023B-8601-18C7-4485C5D861A8}"/>
                    </a:ext>
                  </a:extLst>
                </p:cNvPr>
                <p:cNvSpPr>
                  <a:spLocks/>
                </p:cNvSpPr>
                <p:nvPr/>
              </p:nvSpPr>
              <p:spPr bwMode="auto">
                <a:xfrm>
                  <a:off x="10542430" y="3884909"/>
                  <a:ext cx="6350" cy="9525"/>
                </a:xfrm>
                <a:custGeom>
                  <a:avLst/>
                  <a:gdLst>
                    <a:gd name="T0" fmla="*/ 15 w 16"/>
                    <a:gd name="T1" fmla="*/ 22 h 22"/>
                    <a:gd name="T2" fmla="*/ 10 w 16"/>
                    <a:gd name="T3" fmla="*/ 15 h 22"/>
                    <a:gd name="T4" fmla="*/ 9 w 16"/>
                    <a:gd name="T5" fmla="*/ 7 h 22"/>
                    <a:gd name="T6" fmla="*/ 0 w 16"/>
                    <a:gd name="T7" fmla="*/ 4 h 22"/>
                    <a:gd name="T8" fmla="*/ 0 w 16"/>
                    <a:gd name="T9" fmla="*/ 0 h 22"/>
                    <a:gd name="T10" fmla="*/ 16 w 16"/>
                    <a:gd name="T11" fmla="*/ 6 h 22"/>
                    <a:gd name="T12" fmla="*/ 15 w 1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6" h="22">
                      <a:moveTo>
                        <a:pt x="15" y="22"/>
                      </a:moveTo>
                      <a:lnTo>
                        <a:pt x="10" y="15"/>
                      </a:lnTo>
                      <a:lnTo>
                        <a:pt x="9" y="7"/>
                      </a:lnTo>
                      <a:lnTo>
                        <a:pt x="0" y="4"/>
                      </a:lnTo>
                      <a:lnTo>
                        <a:pt x="0" y="0"/>
                      </a:lnTo>
                      <a:lnTo>
                        <a:pt x="16" y="6"/>
                      </a:lnTo>
                      <a:lnTo>
                        <a:pt x="15" y="2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6" name="Nevis" descr="{&quot;Key&quot;:&quot;nevis&quot;,&quot;Name&quot;:&quot;Nevis&quot;,&quot;Value&quot;:1.0,&quot;Formula&quot;:&quot;&quot;,&quot;Text&quot;:&quot;&quot;,&quot;OfficeApplication&quot;:1,&quot;HasValue&quot;:true}">
                  <a:extLst>
                    <a:ext uri="{FF2B5EF4-FFF2-40B4-BE49-F238E27FC236}">
                      <a16:creationId xmlns:a16="http://schemas.microsoft.com/office/drawing/2014/main" id="{4215F4E2-4A64-A76E-A63A-A424C1A13D4C}"/>
                    </a:ext>
                  </a:extLst>
                </p:cNvPr>
                <p:cNvSpPr>
                  <a:spLocks/>
                </p:cNvSpPr>
                <p:nvPr/>
              </p:nvSpPr>
              <p:spPr bwMode="auto">
                <a:xfrm>
                  <a:off x="10680543" y="3697584"/>
                  <a:ext cx="1588" cy="1588"/>
                </a:xfrm>
                <a:custGeom>
                  <a:avLst/>
                  <a:gdLst>
                    <a:gd name="T0" fmla="*/ 3 w 3"/>
                    <a:gd name="T1" fmla="*/ 3 h 4"/>
                    <a:gd name="T2" fmla="*/ 1 w 3"/>
                    <a:gd name="T3" fmla="*/ 4 h 4"/>
                    <a:gd name="T4" fmla="*/ 0 w 3"/>
                    <a:gd name="T5" fmla="*/ 1 h 4"/>
                    <a:gd name="T6" fmla="*/ 1 w 3"/>
                    <a:gd name="T7" fmla="*/ 0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lnTo>
                        <a:pt x="1" y="4"/>
                      </a:lnTo>
                      <a:lnTo>
                        <a:pt x="0" y="1"/>
                      </a:lnTo>
                      <a:lnTo>
                        <a:pt x="1" y="0"/>
                      </a:lnTo>
                      <a:lnTo>
                        <a:pt x="3" y="3"/>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7" name="Saint Eustiatius" descr="{&quot;Key&quot;:&quot;saint eustiatius&quot;,&quot;Name&quot;:&quot;Saint Eustiatius&quot;,&quot;Value&quot;:1.0,&quot;Formula&quot;:&quot;&quot;,&quot;Text&quot;:&quot;&quot;,&quot;OfficeApplication&quot;:1,&quot;HasValue&quot;:true}">
                  <a:extLst>
                    <a:ext uri="{FF2B5EF4-FFF2-40B4-BE49-F238E27FC236}">
                      <a16:creationId xmlns:a16="http://schemas.microsoft.com/office/drawing/2014/main" id="{FD29350B-A77A-7DD1-9364-170AEE00C839}"/>
                    </a:ext>
                  </a:extLst>
                </p:cNvPr>
                <p:cNvSpPr>
                  <a:spLocks/>
                </p:cNvSpPr>
                <p:nvPr/>
              </p:nvSpPr>
              <p:spPr bwMode="auto">
                <a:xfrm>
                  <a:off x="10671018" y="3692821"/>
                  <a:ext cx="1588" cy="0"/>
                </a:xfrm>
                <a:custGeom>
                  <a:avLst/>
                  <a:gdLst>
                    <a:gd name="T0" fmla="*/ 1 w 1"/>
                    <a:gd name="T1" fmla="*/ 2 h 2"/>
                    <a:gd name="T2" fmla="*/ 0 w 1"/>
                    <a:gd name="T3" fmla="*/ 2 h 2"/>
                    <a:gd name="T4" fmla="*/ 0 w 1"/>
                    <a:gd name="T5" fmla="*/ 0 h 2"/>
                    <a:gd name="T6" fmla="*/ 1 w 1"/>
                    <a:gd name="T7" fmla="*/ 1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lnTo>
                        <a:pt x="0" y="2"/>
                      </a:lnTo>
                      <a:lnTo>
                        <a:pt x="0" y="0"/>
                      </a:lnTo>
                      <a:lnTo>
                        <a:pt x="1" y="1"/>
                      </a:lnTo>
                      <a:lnTo>
                        <a:pt x="1" y="2"/>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8" name="Martinique (France)" descr="{&quot;Key&quot;:&quot;martinique (france)&quot;,&quot;Name&quot;:&quot;Martinique (France)&quot;,&quot;Value&quot;:1.0,&quot;Formula&quot;:&quot;&quot;,&quot;Text&quot;:&quot;&quot;,&quot;OfficeApplication&quot;:1,&quot;HasValue&quot;:true}">
                  <a:extLst>
                    <a:ext uri="{FF2B5EF4-FFF2-40B4-BE49-F238E27FC236}">
                      <a16:creationId xmlns:a16="http://schemas.microsoft.com/office/drawing/2014/main" id="{18FAD978-AE12-BD0C-0B13-5C0EABF25323}"/>
                    </a:ext>
                  </a:extLst>
                </p:cNvPr>
                <p:cNvSpPr>
                  <a:spLocks/>
                </p:cNvSpPr>
                <p:nvPr/>
              </p:nvSpPr>
              <p:spPr bwMode="auto">
                <a:xfrm>
                  <a:off x="10753568" y="3791246"/>
                  <a:ext cx="15875" cy="15875"/>
                </a:xfrm>
                <a:custGeom>
                  <a:avLst/>
                  <a:gdLst>
                    <a:gd name="T0" fmla="*/ 18 w 34"/>
                    <a:gd name="T1" fmla="*/ 7 h 34"/>
                    <a:gd name="T2" fmla="*/ 23 w 34"/>
                    <a:gd name="T3" fmla="*/ 16 h 34"/>
                    <a:gd name="T4" fmla="*/ 30 w 34"/>
                    <a:gd name="T5" fmla="*/ 24 h 34"/>
                    <a:gd name="T6" fmla="*/ 34 w 34"/>
                    <a:gd name="T7" fmla="*/ 34 h 34"/>
                    <a:gd name="T8" fmla="*/ 20 w 34"/>
                    <a:gd name="T9" fmla="*/ 32 h 34"/>
                    <a:gd name="T10" fmla="*/ 16 w 34"/>
                    <a:gd name="T11" fmla="*/ 34 h 34"/>
                    <a:gd name="T12" fmla="*/ 13 w 34"/>
                    <a:gd name="T13" fmla="*/ 30 h 34"/>
                    <a:gd name="T14" fmla="*/ 18 w 34"/>
                    <a:gd name="T15" fmla="*/ 24 h 34"/>
                    <a:gd name="T16" fmla="*/ 13 w 34"/>
                    <a:gd name="T17" fmla="*/ 22 h 34"/>
                    <a:gd name="T18" fmla="*/ 6 w 34"/>
                    <a:gd name="T19" fmla="*/ 17 h 34"/>
                    <a:gd name="T20" fmla="*/ 0 w 34"/>
                    <a:gd name="T21" fmla="*/ 5 h 34"/>
                    <a:gd name="T22" fmla="*/ 3 w 34"/>
                    <a:gd name="T23" fmla="*/ 0 h 34"/>
                    <a:gd name="T24" fmla="*/ 8 w 34"/>
                    <a:gd name="T25" fmla="*/ 1 h 34"/>
                    <a:gd name="T26" fmla="*/ 18 w 34"/>
                    <a:gd name="T2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4">
                      <a:moveTo>
                        <a:pt x="18" y="7"/>
                      </a:moveTo>
                      <a:lnTo>
                        <a:pt x="23" y="16"/>
                      </a:lnTo>
                      <a:lnTo>
                        <a:pt x="30" y="24"/>
                      </a:lnTo>
                      <a:lnTo>
                        <a:pt x="34" y="34"/>
                      </a:lnTo>
                      <a:lnTo>
                        <a:pt x="20" y="32"/>
                      </a:lnTo>
                      <a:lnTo>
                        <a:pt x="16" y="34"/>
                      </a:lnTo>
                      <a:lnTo>
                        <a:pt x="13" y="30"/>
                      </a:lnTo>
                      <a:lnTo>
                        <a:pt x="18" y="24"/>
                      </a:lnTo>
                      <a:lnTo>
                        <a:pt x="13" y="22"/>
                      </a:lnTo>
                      <a:lnTo>
                        <a:pt x="6" y="17"/>
                      </a:lnTo>
                      <a:lnTo>
                        <a:pt x="0" y="5"/>
                      </a:lnTo>
                      <a:lnTo>
                        <a:pt x="3" y="0"/>
                      </a:lnTo>
                      <a:lnTo>
                        <a:pt x="8" y="1"/>
                      </a:lnTo>
                      <a:lnTo>
                        <a:pt x="18" y="7"/>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29" name="Canarias" descr="{&quot;Key&quot;:&quot;canarias&quot;,&quot;Name&quot;:&quot;Canarias&quot;,&quot;Value&quot;:1.0,&quot;Formula&quot;:&quot;&quot;,&quot;Text&quot;:&quot;&quot;,&quot;OfficeApplication&quot;:1,&quot;HasValue&quot;:true}">
                  <a:extLst>
                    <a:ext uri="{FF2B5EF4-FFF2-40B4-BE49-F238E27FC236}">
                      <a16:creationId xmlns:a16="http://schemas.microsoft.com/office/drawing/2014/main" id="{86A3C00A-A06C-3F8A-FF0D-A518806245EE}"/>
                    </a:ext>
                  </a:extLst>
                </p:cNvPr>
                <p:cNvSpPr>
                  <a:spLocks noEditPoints="1"/>
                </p:cNvSpPr>
                <p:nvPr/>
              </p:nvSpPr>
              <p:spPr bwMode="auto">
                <a:xfrm>
                  <a:off x="907893" y="3278484"/>
                  <a:ext cx="165100" cy="53975"/>
                </a:xfrm>
                <a:custGeom>
                  <a:avLst/>
                  <a:gdLst>
                    <a:gd name="T0" fmla="*/ 9 w 373"/>
                    <a:gd name="T1" fmla="*/ 122 h 122"/>
                    <a:gd name="T2" fmla="*/ 0 w 373"/>
                    <a:gd name="T3" fmla="*/ 116 h 122"/>
                    <a:gd name="T4" fmla="*/ 8 w 373"/>
                    <a:gd name="T5" fmla="*/ 114 h 122"/>
                    <a:gd name="T6" fmla="*/ 21 w 373"/>
                    <a:gd name="T7" fmla="*/ 110 h 122"/>
                    <a:gd name="T8" fmla="*/ 203 w 373"/>
                    <a:gd name="T9" fmla="*/ 92 h 122"/>
                    <a:gd name="T10" fmla="*/ 197 w 373"/>
                    <a:gd name="T11" fmla="*/ 105 h 122"/>
                    <a:gd name="T12" fmla="*/ 179 w 373"/>
                    <a:gd name="T13" fmla="*/ 115 h 122"/>
                    <a:gd name="T14" fmla="*/ 169 w 373"/>
                    <a:gd name="T15" fmla="*/ 106 h 122"/>
                    <a:gd name="T16" fmla="*/ 171 w 373"/>
                    <a:gd name="T17" fmla="*/ 94 h 122"/>
                    <a:gd name="T18" fmla="*/ 184 w 373"/>
                    <a:gd name="T19" fmla="*/ 80 h 122"/>
                    <a:gd name="T20" fmla="*/ 204 w 373"/>
                    <a:gd name="T21" fmla="*/ 82 h 122"/>
                    <a:gd name="T22" fmla="*/ 72 w 373"/>
                    <a:gd name="T23" fmla="*/ 91 h 122"/>
                    <a:gd name="T24" fmla="*/ 75 w 373"/>
                    <a:gd name="T25" fmla="*/ 76 h 122"/>
                    <a:gd name="T26" fmla="*/ 86 w 373"/>
                    <a:gd name="T27" fmla="*/ 81 h 122"/>
                    <a:gd name="T28" fmla="*/ 76 w 373"/>
                    <a:gd name="T29" fmla="*/ 91 h 122"/>
                    <a:gd name="T30" fmla="*/ 146 w 373"/>
                    <a:gd name="T31" fmla="*/ 62 h 122"/>
                    <a:gd name="T32" fmla="*/ 136 w 373"/>
                    <a:gd name="T33" fmla="*/ 76 h 122"/>
                    <a:gd name="T34" fmla="*/ 121 w 373"/>
                    <a:gd name="T35" fmla="*/ 91 h 122"/>
                    <a:gd name="T36" fmla="*/ 108 w 373"/>
                    <a:gd name="T37" fmla="*/ 76 h 122"/>
                    <a:gd name="T38" fmla="*/ 114 w 373"/>
                    <a:gd name="T39" fmla="*/ 61 h 122"/>
                    <a:gd name="T40" fmla="*/ 125 w 373"/>
                    <a:gd name="T41" fmla="*/ 61 h 122"/>
                    <a:gd name="T42" fmla="*/ 147 w 373"/>
                    <a:gd name="T43" fmla="*/ 51 h 122"/>
                    <a:gd name="T44" fmla="*/ 169 w 373"/>
                    <a:gd name="T45" fmla="*/ 47 h 122"/>
                    <a:gd name="T46" fmla="*/ 279 w 373"/>
                    <a:gd name="T47" fmla="*/ 87 h 122"/>
                    <a:gd name="T48" fmla="*/ 270 w 373"/>
                    <a:gd name="T49" fmla="*/ 85 h 122"/>
                    <a:gd name="T50" fmla="*/ 290 w 373"/>
                    <a:gd name="T51" fmla="*/ 75 h 122"/>
                    <a:gd name="T52" fmla="*/ 300 w 373"/>
                    <a:gd name="T53" fmla="*/ 58 h 122"/>
                    <a:gd name="T54" fmla="*/ 320 w 373"/>
                    <a:gd name="T55" fmla="*/ 35 h 122"/>
                    <a:gd name="T56" fmla="*/ 331 w 373"/>
                    <a:gd name="T57" fmla="*/ 35 h 122"/>
                    <a:gd name="T58" fmla="*/ 322 w 373"/>
                    <a:gd name="T59" fmla="*/ 55 h 122"/>
                    <a:gd name="T60" fmla="*/ 312 w 373"/>
                    <a:gd name="T61" fmla="*/ 71 h 122"/>
                    <a:gd name="T62" fmla="*/ 299 w 373"/>
                    <a:gd name="T63" fmla="*/ 76 h 122"/>
                    <a:gd name="T64" fmla="*/ 284 w 373"/>
                    <a:gd name="T65" fmla="*/ 82 h 122"/>
                    <a:gd name="T66" fmla="*/ 62 w 373"/>
                    <a:gd name="T67" fmla="*/ 25 h 122"/>
                    <a:gd name="T68" fmla="*/ 59 w 373"/>
                    <a:gd name="T69" fmla="*/ 38 h 122"/>
                    <a:gd name="T70" fmla="*/ 46 w 373"/>
                    <a:gd name="T71" fmla="*/ 56 h 122"/>
                    <a:gd name="T72" fmla="*/ 49 w 373"/>
                    <a:gd name="T73" fmla="*/ 27 h 122"/>
                    <a:gd name="T74" fmla="*/ 373 w 373"/>
                    <a:gd name="T75" fmla="*/ 0 h 122"/>
                    <a:gd name="T76" fmla="*/ 354 w 373"/>
                    <a:gd name="T77" fmla="*/ 19 h 122"/>
                    <a:gd name="T78" fmla="*/ 340 w 373"/>
                    <a:gd name="T79" fmla="*/ 25 h 122"/>
                    <a:gd name="T80" fmla="*/ 341 w 373"/>
                    <a:gd name="T81" fmla="*/ 12 h 122"/>
                    <a:gd name="T82" fmla="*/ 359 w 373"/>
                    <a:gd name="T83" fmla="*/ 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3" h="122">
                      <a:moveTo>
                        <a:pt x="21" y="110"/>
                      </a:moveTo>
                      <a:lnTo>
                        <a:pt x="9" y="122"/>
                      </a:lnTo>
                      <a:lnTo>
                        <a:pt x="6" y="119"/>
                      </a:lnTo>
                      <a:lnTo>
                        <a:pt x="0" y="116"/>
                      </a:lnTo>
                      <a:lnTo>
                        <a:pt x="3" y="112"/>
                      </a:lnTo>
                      <a:lnTo>
                        <a:pt x="8" y="114"/>
                      </a:lnTo>
                      <a:lnTo>
                        <a:pt x="20" y="106"/>
                      </a:lnTo>
                      <a:lnTo>
                        <a:pt x="21" y="110"/>
                      </a:lnTo>
                      <a:close/>
                      <a:moveTo>
                        <a:pt x="204" y="82"/>
                      </a:moveTo>
                      <a:lnTo>
                        <a:pt x="203" y="92"/>
                      </a:lnTo>
                      <a:lnTo>
                        <a:pt x="197" y="101"/>
                      </a:lnTo>
                      <a:lnTo>
                        <a:pt x="197" y="105"/>
                      </a:lnTo>
                      <a:lnTo>
                        <a:pt x="190" y="110"/>
                      </a:lnTo>
                      <a:lnTo>
                        <a:pt x="179" y="115"/>
                      </a:lnTo>
                      <a:lnTo>
                        <a:pt x="172" y="112"/>
                      </a:lnTo>
                      <a:lnTo>
                        <a:pt x="169" y="106"/>
                      </a:lnTo>
                      <a:lnTo>
                        <a:pt x="169" y="101"/>
                      </a:lnTo>
                      <a:lnTo>
                        <a:pt x="171" y="94"/>
                      </a:lnTo>
                      <a:lnTo>
                        <a:pt x="179" y="89"/>
                      </a:lnTo>
                      <a:lnTo>
                        <a:pt x="184" y="80"/>
                      </a:lnTo>
                      <a:lnTo>
                        <a:pt x="191" y="81"/>
                      </a:lnTo>
                      <a:lnTo>
                        <a:pt x="204" y="82"/>
                      </a:lnTo>
                      <a:close/>
                      <a:moveTo>
                        <a:pt x="76" y="91"/>
                      </a:moveTo>
                      <a:lnTo>
                        <a:pt x="72" y="91"/>
                      </a:lnTo>
                      <a:lnTo>
                        <a:pt x="69" y="86"/>
                      </a:lnTo>
                      <a:lnTo>
                        <a:pt x="75" y="76"/>
                      </a:lnTo>
                      <a:lnTo>
                        <a:pt x="81" y="77"/>
                      </a:lnTo>
                      <a:lnTo>
                        <a:pt x="86" y="81"/>
                      </a:lnTo>
                      <a:lnTo>
                        <a:pt x="85" y="85"/>
                      </a:lnTo>
                      <a:lnTo>
                        <a:pt x="76" y="91"/>
                      </a:lnTo>
                      <a:close/>
                      <a:moveTo>
                        <a:pt x="169" y="47"/>
                      </a:moveTo>
                      <a:lnTo>
                        <a:pt x="146" y="62"/>
                      </a:lnTo>
                      <a:lnTo>
                        <a:pt x="144" y="67"/>
                      </a:lnTo>
                      <a:lnTo>
                        <a:pt x="136" y="76"/>
                      </a:lnTo>
                      <a:lnTo>
                        <a:pt x="134" y="81"/>
                      </a:lnTo>
                      <a:lnTo>
                        <a:pt x="121" y="91"/>
                      </a:lnTo>
                      <a:lnTo>
                        <a:pt x="111" y="93"/>
                      </a:lnTo>
                      <a:lnTo>
                        <a:pt x="108" y="76"/>
                      </a:lnTo>
                      <a:lnTo>
                        <a:pt x="106" y="65"/>
                      </a:lnTo>
                      <a:lnTo>
                        <a:pt x="114" y="61"/>
                      </a:lnTo>
                      <a:lnTo>
                        <a:pt x="118" y="63"/>
                      </a:lnTo>
                      <a:lnTo>
                        <a:pt x="125" y="61"/>
                      </a:lnTo>
                      <a:lnTo>
                        <a:pt x="137" y="58"/>
                      </a:lnTo>
                      <a:lnTo>
                        <a:pt x="147" y="51"/>
                      </a:lnTo>
                      <a:lnTo>
                        <a:pt x="156" y="47"/>
                      </a:lnTo>
                      <a:lnTo>
                        <a:pt x="169" y="47"/>
                      </a:lnTo>
                      <a:close/>
                      <a:moveTo>
                        <a:pt x="284" y="82"/>
                      </a:moveTo>
                      <a:lnTo>
                        <a:pt x="279" y="87"/>
                      </a:lnTo>
                      <a:lnTo>
                        <a:pt x="274" y="90"/>
                      </a:lnTo>
                      <a:lnTo>
                        <a:pt x="270" y="85"/>
                      </a:lnTo>
                      <a:lnTo>
                        <a:pt x="284" y="79"/>
                      </a:lnTo>
                      <a:lnTo>
                        <a:pt x="290" y="75"/>
                      </a:lnTo>
                      <a:lnTo>
                        <a:pt x="292" y="69"/>
                      </a:lnTo>
                      <a:lnTo>
                        <a:pt x="300" y="58"/>
                      </a:lnTo>
                      <a:lnTo>
                        <a:pt x="314" y="46"/>
                      </a:lnTo>
                      <a:lnTo>
                        <a:pt x="320" y="35"/>
                      </a:lnTo>
                      <a:lnTo>
                        <a:pt x="329" y="32"/>
                      </a:lnTo>
                      <a:lnTo>
                        <a:pt x="331" y="35"/>
                      </a:lnTo>
                      <a:lnTo>
                        <a:pt x="326" y="49"/>
                      </a:lnTo>
                      <a:lnTo>
                        <a:pt x="322" y="55"/>
                      </a:lnTo>
                      <a:lnTo>
                        <a:pt x="320" y="61"/>
                      </a:lnTo>
                      <a:lnTo>
                        <a:pt x="312" y="71"/>
                      </a:lnTo>
                      <a:lnTo>
                        <a:pt x="306" y="75"/>
                      </a:lnTo>
                      <a:lnTo>
                        <a:pt x="299" y="76"/>
                      </a:lnTo>
                      <a:lnTo>
                        <a:pt x="287" y="80"/>
                      </a:lnTo>
                      <a:lnTo>
                        <a:pt x="284" y="82"/>
                      </a:lnTo>
                      <a:close/>
                      <a:moveTo>
                        <a:pt x="57" y="25"/>
                      </a:moveTo>
                      <a:lnTo>
                        <a:pt x="62" y="25"/>
                      </a:lnTo>
                      <a:lnTo>
                        <a:pt x="64" y="33"/>
                      </a:lnTo>
                      <a:lnTo>
                        <a:pt x="59" y="38"/>
                      </a:lnTo>
                      <a:lnTo>
                        <a:pt x="57" y="42"/>
                      </a:lnTo>
                      <a:lnTo>
                        <a:pt x="46" y="56"/>
                      </a:lnTo>
                      <a:lnTo>
                        <a:pt x="45" y="32"/>
                      </a:lnTo>
                      <a:lnTo>
                        <a:pt x="49" y="27"/>
                      </a:lnTo>
                      <a:lnTo>
                        <a:pt x="57" y="25"/>
                      </a:lnTo>
                      <a:close/>
                      <a:moveTo>
                        <a:pt x="373" y="0"/>
                      </a:moveTo>
                      <a:lnTo>
                        <a:pt x="366" y="12"/>
                      </a:lnTo>
                      <a:lnTo>
                        <a:pt x="354" y="19"/>
                      </a:lnTo>
                      <a:lnTo>
                        <a:pt x="348" y="19"/>
                      </a:lnTo>
                      <a:lnTo>
                        <a:pt x="340" y="25"/>
                      </a:lnTo>
                      <a:lnTo>
                        <a:pt x="335" y="21"/>
                      </a:lnTo>
                      <a:lnTo>
                        <a:pt x="341" y="12"/>
                      </a:lnTo>
                      <a:lnTo>
                        <a:pt x="350" y="6"/>
                      </a:lnTo>
                      <a:lnTo>
                        <a:pt x="359" y="2"/>
                      </a:lnTo>
                      <a:lnTo>
                        <a:pt x="373"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0" name="Mayotte (France)" descr="{&quot;Key&quot;:&quot;mayotte (france)&quot;,&quot;Name&quot;:&quot;Mayotte (France)&quot;,&quot;Value&quot;:1.0,&quot;Formula&quot;:&quot;&quot;,&quot;Text&quot;:&quot;&quot;,&quot;OfficeApplication&quot;:1,&quot;HasValue&quot;:true}">
                  <a:extLst>
                    <a:ext uri="{FF2B5EF4-FFF2-40B4-BE49-F238E27FC236}">
                      <a16:creationId xmlns:a16="http://schemas.microsoft.com/office/drawing/2014/main" id="{64C00097-C505-EF6C-C3B1-28871416F30B}"/>
                    </a:ext>
                  </a:extLst>
                </p:cNvPr>
                <p:cNvSpPr>
                  <a:spLocks/>
                </p:cNvSpPr>
                <p:nvPr/>
              </p:nvSpPr>
              <p:spPr bwMode="auto">
                <a:xfrm>
                  <a:off x="2760505" y="4783434"/>
                  <a:ext cx="6350" cy="11113"/>
                </a:xfrm>
                <a:custGeom>
                  <a:avLst/>
                  <a:gdLst>
                    <a:gd name="T0" fmla="*/ 4 w 14"/>
                    <a:gd name="T1" fmla="*/ 0 h 26"/>
                    <a:gd name="T2" fmla="*/ 7 w 14"/>
                    <a:gd name="T3" fmla="*/ 3 h 26"/>
                    <a:gd name="T4" fmla="*/ 14 w 14"/>
                    <a:gd name="T5" fmla="*/ 6 h 26"/>
                    <a:gd name="T6" fmla="*/ 13 w 14"/>
                    <a:gd name="T7" fmla="*/ 12 h 26"/>
                    <a:gd name="T8" fmla="*/ 14 w 14"/>
                    <a:gd name="T9" fmla="*/ 15 h 26"/>
                    <a:gd name="T10" fmla="*/ 10 w 14"/>
                    <a:gd name="T11" fmla="*/ 26 h 26"/>
                    <a:gd name="T12" fmla="*/ 7 w 14"/>
                    <a:gd name="T13" fmla="*/ 22 h 26"/>
                    <a:gd name="T14" fmla="*/ 8 w 14"/>
                    <a:gd name="T15" fmla="*/ 16 h 26"/>
                    <a:gd name="T16" fmla="*/ 4 w 14"/>
                    <a:gd name="T17" fmla="*/ 7 h 26"/>
                    <a:gd name="T18" fmla="*/ 0 w 14"/>
                    <a:gd name="T19" fmla="*/ 2 h 26"/>
                    <a:gd name="T20" fmla="*/ 4 w 1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6">
                      <a:moveTo>
                        <a:pt x="4" y="0"/>
                      </a:moveTo>
                      <a:lnTo>
                        <a:pt x="7" y="3"/>
                      </a:lnTo>
                      <a:lnTo>
                        <a:pt x="14" y="6"/>
                      </a:lnTo>
                      <a:lnTo>
                        <a:pt x="13" y="12"/>
                      </a:lnTo>
                      <a:lnTo>
                        <a:pt x="14" y="15"/>
                      </a:lnTo>
                      <a:lnTo>
                        <a:pt x="10" y="26"/>
                      </a:lnTo>
                      <a:lnTo>
                        <a:pt x="7" y="22"/>
                      </a:lnTo>
                      <a:lnTo>
                        <a:pt x="8" y="16"/>
                      </a:lnTo>
                      <a:lnTo>
                        <a:pt x="4" y="7"/>
                      </a:lnTo>
                      <a:lnTo>
                        <a:pt x="0" y="2"/>
                      </a:lnTo>
                      <a:lnTo>
                        <a:pt x="4" y="0"/>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1" name="Réunion (France)" descr="{&quot;Key&quot;:&quot;réunion (france)&quot;,&quot;Name&quot;:&quot;Réunion (France)&quot;,&quot;Value&quot;:1.0,&quot;Formula&quot;:&quot;&quot;,&quot;Text&quot;:&quot;&quot;,&quot;OfficeApplication&quot;:1,&quot;HasValue&quot;:true}">
                  <a:extLst>
                    <a:ext uri="{FF2B5EF4-FFF2-40B4-BE49-F238E27FC236}">
                      <a16:creationId xmlns:a16="http://schemas.microsoft.com/office/drawing/2014/main" id="{DC730994-35F8-A7DD-2FDB-F6DE0C410CF9}"/>
                    </a:ext>
                  </a:extLst>
                </p:cNvPr>
                <p:cNvSpPr>
                  <a:spLocks/>
                </p:cNvSpPr>
                <p:nvPr/>
              </p:nvSpPr>
              <p:spPr bwMode="auto">
                <a:xfrm>
                  <a:off x="3119280" y="5078709"/>
                  <a:ext cx="20638" cy="17463"/>
                </a:xfrm>
                <a:custGeom>
                  <a:avLst/>
                  <a:gdLst>
                    <a:gd name="T0" fmla="*/ 16 w 44"/>
                    <a:gd name="T1" fmla="*/ 1 h 41"/>
                    <a:gd name="T2" fmla="*/ 27 w 44"/>
                    <a:gd name="T3" fmla="*/ 4 h 41"/>
                    <a:gd name="T4" fmla="*/ 31 w 44"/>
                    <a:gd name="T5" fmla="*/ 7 h 41"/>
                    <a:gd name="T6" fmla="*/ 36 w 44"/>
                    <a:gd name="T7" fmla="*/ 16 h 41"/>
                    <a:gd name="T8" fmla="*/ 44 w 44"/>
                    <a:gd name="T9" fmla="*/ 24 h 41"/>
                    <a:gd name="T10" fmla="*/ 44 w 44"/>
                    <a:gd name="T11" fmla="*/ 37 h 41"/>
                    <a:gd name="T12" fmla="*/ 37 w 44"/>
                    <a:gd name="T13" fmla="*/ 41 h 41"/>
                    <a:gd name="T14" fmla="*/ 26 w 44"/>
                    <a:gd name="T15" fmla="*/ 41 h 41"/>
                    <a:gd name="T16" fmla="*/ 11 w 44"/>
                    <a:gd name="T17" fmla="*/ 34 h 41"/>
                    <a:gd name="T18" fmla="*/ 6 w 44"/>
                    <a:gd name="T19" fmla="*/ 27 h 41"/>
                    <a:gd name="T20" fmla="*/ 4 w 44"/>
                    <a:gd name="T21" fmla="*/ 24 h 41"/>
                    <a:gd name="T22" fmla="*/ 0 w 44"/>
                    <a:gd name="T23" fmla="*/ 15 h 41"/>
                    <a:gd name="T24" fmla="*/ 0 w 44"/>
                    <a:gd name="T25" fmla="*/ 11 h 41"/>
                    <a:gd name="T26" fmla="*/ 4 w 44"/>
                    <a:gd name="T27" fmla="*/ 4 h 41"/>
                    <a:gd name="T28" fmla="*/ 9 w 44"/>
                    <a:gd name="T29" fmla="*/ 0 h 41"/>
                    <a:gd name="T30" fmla="*/ 16 w 44"/>
                    <a:gd name="T31" fmla="*/ 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1">
                      <a:moveTo>
                        <a:pt x="16" y="1"/>
                      </a:moveTo>
                      <a:lnTo>
                        <a:pt x="27" y="4"/>
                      </a:lnTo>
                      <a:lnTo>
                        <a:pt x="31" y="7"/>
                      </a:lnTo>
                      <a:lnTo>
                        <a:pt x="36" y="16"/>
                      </a:lnTo>
                      <a:lnTo>
                        <a:pt x="44" y="24"/>
                      </a:lnTo>
                      <a:lnTo>
                        <a:pt x="44" y="37"/>
                      </a:lnTo>
                      <a:lnTo>
                        <a:pt x="37" y="41"/>
                      </a:lnTo>
                      <a:lnTo>
                        <a:pt x="26" y="41"/>
                      </a:lnTo>
                      <a:lnTo>
                        <a:pt x="11" y="34"/>
                      </a:lnTo>
                      <a:lnTo>
                        <a:pt x="6" y="27"/>
                      </a:lnTo>
                      <a:lnTo>
                        <a:pt x="4" y="24"/>
                      </a:lnTo>
                      <a:lnTo>
                        <a:pt x="0" y="15"/>
                      </a:lnTo>
                      <a:lnTo>
                        <a:pt x="0" y="11"/>
                      </a:lnTo>
                      <a:lnTo>
                        <a:pt x="4" y="4"/>
                      </a:lnTo>
                      <a:lnTo>
                        <a:pt x="9" y="0"/>
                      </a:lnTo>
                      <a:lnTo>
                        <a:pt x="16" y="1"/>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sp>
              <p:nvSpPr>
                <p:cNvPr id="132" name="Guadeloupe (France)" descr="{&quot;Key&quot;:&quot;guadeloupe (france)&quot;,&quot;Name&quot;:&quot;Guadeloupe (France)&quot;,&quot;Value&quot;:1.0,&quot;Formula&quot;:&quot;&quot;,&quot;Text&quot;:&quot;&quot;,&quot;OfficeApplication&quot;:1,&quot;HasValue&quot;:true}">
                  <a:extLst>
                    <a:ext uri="{FF2B5EF4-FFF2-40B4-BE49-F238E27FC236}">
                      <a16:creationId xmlns:a16="http://schemas.microsoft.com/office/drawing/2014/main" id="{1F029D69-1197-FC31-D83E-8010868E6BB1}"/>
                    </a:ext>
                  </a:extLst>
                </p:cNvPr>
                <p:cNvSpPr>
                  <a:spLocks noEditPoints="1"/>
                </p:cNvSpPr>
                <p:nvPr/>
              </p:nvSpPr>
              <p:spPr bwMode="auto">
                <a:xfrm>
                  <a:off x="10726580" y="3732509"/>
                  <a:ext cx="20638" cy="23813"/>
                </a:xfrm>
                <a:custGeom>
                  <a:avLst/>
                  <a:gdLst>
                    <a:gd name="T0" fmla="*/ 45 w 47"/>
                    <a:gd name="T1" fmla="*/ 52 h 52"/>
                    <a:gd name="T2" fmla="*/ 41 w 47"/>
                    <a:gd name="T3" fmla="*/ 52 h 52"/>
                    <a:gd name="T4" fmla="*/ 38 w 47"/>
                    <a:gd name="T5" fmla="*/ 48 h 52"/>
                    <a:gd name="T6" fmla="*/ 41 w 47"/>
                    <a:gd name="T7" fmla="*/ 42 h 52"/>
                    <a:gd name="T8" fmla="*/ 45 w 47"/>
                    <a:gd name="T9" fmla="*/ 43 h 52"/>
                    <a:gd name="T10" fmla="*/ 47 w 47"/>
                    <a:gd name="T11" fmla="*/ 49 h 52"/>
                    <a:gd name="T12" fmla="*/ 45 w 47"/>
                    <a:gd name="T13" fmla="*/ 52 h 52"/>
                    <a:gd name="T14" fmla="*/ 13 w 47"/>
                    <a:gd name="T15" fmla="*/ 19 h 52"/>
                    <a:gd name="T16" fmla="*/ 20 w 47"/>
                    <a:gd name="T17" fmla="*/ 35 h 52"/>
                    <a:gd name="T18" fmla="*/ 18 w 47"/>
                    <a:gd name="T19" fmla="*/ 42 h 52"/>
                    <a:gd name="T20" fmla="*/ 12 w 47"/>
                    <a:gd name="T21" fmla="*/ 47 h 52"/>
                    <a:gd name="T22" fmla="*/ 5 w 47"/>
                    <a:gd name="T23" fmla="*/ 35 h 52"/>
                    <a:gd name="T24" fmla="*/ 0 w 47"/>
                    <a:gd name="T25" fmla="*/ 22 h 52"/>
                    <a:gd name="T26" fmla="*/ 0 w 47"/>
                    <a:gd name="T27" fmla="*/ 14 h 52"/>
                    <a:gd name="T28" fmla="*/ 12 w 47"/>
                    <a:gd name="T29" fmla="*/ 16 h 52"/>
                    <a:gd name="T30" fmla="*/ 13 w 47"/>
                    <a:gd name="T31" fmla="*/ 19 h 52"/>
                    <a:gd name="T32" fmla="*/ 30 w 47"/>
                    <a:gd name="T33" fmla="*/ 14 h 52"/>
                    <a:gd name="T34" fmla="*/ 35 w 47"/>
                    <a:gd name="T35" fmla="*/ 15 h 52"/>
                    <a:gd name="T36" fmla="*/ 43 w 47"/>
                    <a:gd name="T37" fmla="*/ 20 h 52"/>
                    <a:gd name="T38" fmla="*/ 25 w 47"/>
                    <a:gd name="T39" fmla="*/ 25 h 52"/>
                    <a:gd name="T40" fmla="*/ 18 w 47"/>
                    <a:gd name="T41" fmla="*/ 22 h 52"/>
                    <a:gd name="T42" fmla="*/ 20 w 47"/>
                    <a:gd name="T43" fmla="*/ 13 h 52"/>
                    <a:gd name="T44" fmla="*/ 16 w 47"/>
                    <a:gd name="T45" fmla="*/ 5 h 52"/>
                    <a:gd name="T46" fmla="*/ 20 w 47"/>
                    <a:gd name="T47" fmla="*/ 0 h 52"/>
                    <a:gd name="T48" fmla="*/ 25 w 47"/>
                    <a:gd name="T49" fmla="*/ 5 h 52"/>
                    <a:gd name="T50" fmla="*/ 30 w 47"/>
                    <a:gd name="T51" fmla="*/ 1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2">
                      <a:moveTo>
                        <a:pt x="45" y="52"/>
                      </a:moveTo>
                      <a:lnTo>
                        <a:pt x="41" y="52"/>
                      </a:lnTo>
                      <a:lnTo>
                        <a:pt x="38" y="48"/>
                      </a:lnTo>
                      <a:lnTo>
                        <a:pt x="41" y="42"/>
                      </a:lnTo>
                      <a:lnTo>
                        <a:pt x="45" y="43"/>
                      </a:lnTo>
                      <a:lnTo>
                        <a:pt x="47" y="49"/>
                      </a:lnTo>
                      <a:lnTo>
                        <a:pt x="45" y="52"/>
                      </a:lnTo>
                      <a:close/>
                      <a:moveTo>
                        <a:pt x="13" y="19"/>
                      </a:moveTo>
                      <a:lnTo>
                        <a:pt x="20" y="35"/>
                      </a:lnTo>
                      <a:lnTo>
                        <a:pt x="18" y="42"/>
                      </a:lnTo>
                      <a:lnTo>
                        <a:pt x="12" y="47"/>
                      </a:lnTo>
                      <a:lnTo>
                        <a:pt x="5" y="35"/>
                      </a:lnTo>
                      <a:lnTo>
                        <a:pt x="0" y="22"/>
                      </a:lnTo>
                      <a:lnTo>
                        <a:pt x="0" y="14"/>
                      </a:lnTo>
                      <a:lnTo>
                        <a:pt x="12" y="16"/>
                      </a:lnTo>
                      <a:lnTo>
                        <a:pt x="13" y="19"/>
                      </a:lnTo>
                      <a:close/>
                      <a:moveTo>
                        <a:pt x="30" y="14"/>
                      </a:moveTo>
                      <a:lnTo>
                        <a:pt x="35" y="15"/>
                      </a:lnTo>
                      <a:lnTo>
                        <a:pt x="43" y="20"/>
                      </a:lnTo>
                      <a:lnTo>
                        <a:pt x="25" y="25"/>
                      </a:lnTo>
                      <a:lnTo>
                        <a:pt x="18" y="22"/>
                      </a:lnTo>
                      <a:lnTo>
                        <a:pt x="20" y="13"/>
                      </a:lnTo>
                      <a:lnTo>
                        <a:pt x="16" y="5"/>
                      </a:lnTo>
                      <a:lnTo>
                        <a:pt x="20" y="0"/>
                      </a:lnTo>
                      <a:lnTo>
                        <a:pt x="25" y="5"/>
                      </a:lnTo>
                      <a:lnTo>
                        <a:pt x="30" y="14"/>
                      </a:lnTo>
                      <a:close/>
                    </a:path>
                  </a:pathLst>
                </a:custGeom>
                <a:solidFill>
                  <a:srgbClr val="F2F2F2"/>
                </a:solidFill>
                <a:ln w="0" cap="rnd">
                  <a:solidFill>
                    <a:schemeClr val="lt1"/>
                  </a:solidFill>
                  <a:prstDash val="solid"/>
                  <a:round/>
                  <a:headEnd/>
                  <a:tailEnd/>
                </a:ln>
              </p:spPr>
              <p:txBody>
                <a:bodyPr vert="horz" wrap="square" lIns="68580" tIns="34290" rIns="68580" bIns="34290" numCol="1" anchor="t" anchorCtr="0" compatLnSpc="1">
                  <a:prstTxWarp prst="textNoShape">
                    <a:avLst/>
                  </a:prstTxWarp>
                </a:bodyPr>
                <a:lstStyle/>
                <a:p>
                  <a:pPr defTabSz="685766"/>
                  <a:endParaRPr lang="en-US" sz="1350" dirty="0">
                    <a:solidFill>
                      <a:prstClr val="black"/>
                    </a:solidFill>
                    <a:latin typeface="Calibri" panose="020F0502020204030204"/>
                  </a:endParaRPr>
                </a:p>
              </p:txBody>
            </p:sp>
          </p:grpSp>
          <p:grpSp>
            <p:nvGrpSpPr>
              <p:cNvPr id="8" name="GradientColorLegend">
                <a:extLst>
                  <a:ext uri="{FF2B5EF4-FFF2-40B4-BE49-F238E27FC236}">
                    <a16:creationId xmlns:a16="http://schemas.microsoft.com/office/drawing/2014/main" id="{0F671102-0F81-9D0A-5CD7-C65551CE0259}"/>
                  </a:ext>
                </a:extLst>
              </p:cNvPr>
              <p:cNvGrpSpPr/>
              <p:nvPr/>
            </p:nvGrpSpPr>
            <p:grpSpPr>
              <a:xfrm>
                <a:off x="8314496" y="4403797"/>
                <a:ext cx="120073" cy="1675395"/>
                <a:chOff x="1066170" y="2426200"/>
                <a:chExt cx="120073" cy="1675395"/>
              </a:xfrm>
            </p:grpSpPr>
            <p:sp>
              <p:nvSpPr>
                <p:cNvPr id="105" name="Etiquette - GradientColorLegend - DARK - Shape" hidden="1">
                  <a:extLst>
                    <a:ext uri="{FF2B5EF4-FFF2-40B4-BE49-F238E27FC236}">
                      <a16:creationId xmlns:a16="http://schemas.microsoft.com/office/drawing/2014/main" id="{8288E00B-EDA0-B370-2360-0762EA741301}"/>
                    </a:ext>
                  </a:extLst>
                </p:cNvPr>
                <p:cNvSpPr/>
                <p:nvPr/>
              </p:nvSpPr>
              <p:spPr>
                <a:xfrm>
                  <a:off x="1066170" y="2575168"/>
                  <a:ext cx="120073" cy="1382400"/>
                </a:xfrm>
                <a:prstGeom prst="rect">
                  <a:avLst/>
                </a:prstGeom>
                <a:gradFill flip="none" rotWithShape="1">
                  <a:gsLst>
                    <a:gs pos="0">
                      <a:srgbClr val="F2F2F2"/>
                    </a:gs>
                    <a:gs pos="100000">
                      <a:srgbClr val="F2F2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endParaRPr lang="en-US" sz="750" dirty="0">
                    <a:solidFill>
                      <a:prstClr val="white"/>
                    </a:solidFill>
                    <a:latin typeface="Calibri" panose="020F0502020204030204"/>
                  </a:endParaRPr>
                </a:p>
              </p:txBody>
            </p:sp>
            <p:sp>
              <p:nvSpPr>
                <p:cNvPr id="106" name="Etiquette - GradientColorLegend - DARK - MaxValue" hidden="1">
                  <a:extLst>
                    <a:ext uri="{FF2B5EF4-FFF2-40B4-BE49-F238E27FC236}">
                      <a16:creationId xmlns:a16="http://schemas.microsoft.com/office/drawing/2014/main" id="{222C7F79-912E-9429-BA94-93BFCA0C6054}"/>
                    </a:ext>
                  </a:extLst>
                </p:cNvPr>
                <p:cNvSpPr txBox="1"/>
                <p:nvPr/>
              </p:nvSpPr>
              <p:spPr>
                <a:xfrm>
                  <a:off x="1096746" y="2426200"/>
                  <a:ext cx="58922" cy="141412"/>
                </a:xfrm>
                <a:prstGeom prst="rect">
                  <a:avLst/>
                </a:prstGeom>
                <a:noFill/>
              </p:spPr>
              <p:txBody>
                <a:bodyPr wrap="none" lIns="0" tIns="0" rIns="0" bIns="0" rtlCol="0" anchor="b">
                  <a:spAutoFit/>
                </a:bodyPr>
                <a:lstStyle/>
                <a:p>
                  <a:pPr algn="ctr" defTabSz="685766"/>
                  <a:r>
                    <a:rPr lang="en-US" sz="750">
                      <a:solidFill>
                        <a:prstClr val="black"/>
                      </a:solidFill>
                      <a:latin typeface="Calibri" panose="020F0502020204030204"/>
                    </a:rPr>
                    <a:t>1</a:t>
                  </a:r>
                  <a:endParaRPr lang="en-US" sz="750" dirty="0">
                    <a:solidFill>
                      <a:prstClr val="black"/>
                    </a:solidFill>
                    <a:latin typeface="Calibri" panose="020F0502020204030204"/>
                  </a:endParaRPr>
                </a:p>
              </p:txBody>
            </p:sp>
            <p:sp>
              <p:nvSpPr>
                <p:cNvPr id="107" name="Etiquette - GradientColorLegend - DARK - MinValue" hidden="1">
                  <a:extLst>
                    <a:ext uri="{FF2B5EF4-FFF2-40B4-BE49-F238E27FC236}">
                      <a16:creationId xmlns:a16="http://schemas.microsoft.com/office/drawing/2014/main" id="{685BE433-DB5F-4BAC-1336-36E14F47A65E}"/>
                    </a:ext>
                  </a:extLst>
                </p:cNvPr>
                <p:cNvSpPr txBox="1"/>
                <p:nvPr/>
              </p:nvSpPr>
              <p:spPr>
                <a:xfrm>
                  <a:off x="1096746" y="3960183"/>
                  <a:ext cx="58922" cy="141412"/>
                </a:xfrm>
                <a:prstGeom prst="rect">
                  <a:avLst/>
                </a:prstGeom>
                <a:noFill/>
              </p:spPr>
              <p:txBody>
                <a:bodyPr wrap="none" lIns="0" tIns="0" rIns="0" bIns="0" rtlCol="0">
                  <a:spAutoFit/>
                </a:bodyPr>
                <a:lstStyle/>
                <a:p>
                  <a:pPr algn="ctr" defTabSz="685766"/>
                  <a:r>
                    <a:rPr lang="en-US" sz="750">
                      <a:solidFill>
                        <a:prstClr val="black"/>
                      </a:solidFill>
                      <a:latin typeface="Calibri" panose="020F0502020204030204"/>
                    </a:rPr>
                    <a:t>1</a:t>
                  </a:r>
                  <a:endParaRPr lang="en-US" sz="750" dirty="0">
                    <a:solidFill>
                      <a:prstClr val="black"/>
                    </a:solidFill>
                    <a:latin typeface="Calibri" panose="020F0502020204030204"/>
                  </a:endParaRPr>
                </a:p>
              </p:txBody>
            </p:sp>
          </p:grpSp>
          <p:grpSp>
            <p:nvGrpSpPr>
              <p:cNvPr id="12" name="RangeColorLegend">
                <a:extLst>
                  <a:ext uri="{FF2B5EF4-FFF2-40B4-BE49-F238E27FC236}">
                    <a16:creationId xmlns:a16="http://schemas.microsoft.com/office/drawing/2014/main" id="{8A2825F8-A47F-092B-AFE7-586D3FB63FED}"/>
                  </a:ext>
                </a:extLst>
              </p:cNvPr>
              <p:cNvGrpSpPr/>
              <p:nvPr/>
            </p:nvGrpSpPr>
            <p:grpSpPr>
              <a:xfrm>
                <a:off x="7809385" y="4845259"/>
                <a:ext cx="1270800" cy="1538880"/>
                <a:chOff x="9228362" y="4919762"/>
                <a:chExt cx="1270800" cy="1538880"/>
              </a:xfrm>
            </p:grpSpPr>
            <p:sp>
              <p:nvSpPr>
                <p:cNvPr id="16" name="Etiquette - RangeColorLegend - DARK - Color - 2" hidden="1">
                  <a:extLst>
                    <a:ext uri="{FF2B5EF4-FFF2-40B4-BE49-F238E27FC236}">
                      <a16:creationId xmlns:a16="http://schemas.microsoft.com/office/drawing/2014/main" id="{815D2CD2-79EC-079C-A71D-6F9FB8546889}"/>
                    </a:ext>
                  </a:extLst>
                </p:cNvPr>
                <p:cNvSpPr/>
                <p:nvPr/>
              </p:nvSpPr>
              <p:spPr>
                <a:xfrm>
                  <a:off x="9228362" y="5073650"/>
                  <a:ext cx="154800" cy="153888"/>
                </a:xfrm>
                <a:prstGeom prst="rect">
                  <a:avLst/>
                </a:prstGeom>
                <a:solidFill>
                  <a:srgbClr val="92D05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18" name="Etiquette - RangeColorLegend - DARK - Color - 1" hidden="1">
                  <a:extLst>
                    <a:ext uri="{FF2B5EF4-FFF2-40B4-BE49-F238E27FC236}">
                      <a16:creationId xmlns:a16="http://schemas.microsoft.com/office/drawing/2014/main" id="{FFFA839B-C9AC-6770-A8F3-65FCA5802C3F}"/>
                    </a:ext>
                  </a:extLst>
                </p:cNvPr>
                <p:cNvSpPr/>
                <p:nvPr/>
              </p:nvSpPr>
              <p:spPr>
                <a:xfrm>
                  <a:off x="9228362" y="4919762"/>
                  <a:ext cx="154800" cy="153888"/>
                </a:xfrm>
                <a:prstGeom prst="rect">
                  <a:avLst/>
                </a:prstGeom>
                <a:solidFill>
                  <a:srgbClr val="00B05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19" name="Etiquette - RangeColorLegend - DARK - Number - 2" hidden="1">
                  <a:extLst>
                    <a:ext uri="{FF2B5EF4-FFF2-40B4-BE49-F238E27FC236}">
                      <a16:creationId xmlns:a16="http://schemas.microsoft.com/office/drawing/2014/main" id="{93CCA918-F28D-AD47-168B-719F16E5E309}"/>
                    </a:ext>
                  </a:extLst>
                </p:cNvPr>
                <p:cNvSpPr/>
                <p:nvPr/>
              </p:nvSpPr>
              <p:spPr>
                <a:xfrm>
                  <a:off x="9383162" y="5073650"/>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100 to 200[</a:t>
                  </a:r>
                </a:p>
              </p:txBody>
            </p:sp>
            <p:sp>
              <p:nvSpPr>
                <p:cNvPr id="25" name="Etiquette - RangeColorLegend - DARK - Number - 1" hidden="1">
                  <a:extLst>
                    <a:ext uri="{FF2B5EF4-FFF2-40B4-BE49-F238E27FC236}">
                      <a16:creationId xmlns:a16="http://schemas.microsoft.com/office/drawing/2014/main" id="{4C29A791-2C2A-A009-E56E-9C30F6149593}"/>
                    </a:ext>
                  </a:extLst>
                </p:cNvPr>
                <p:cNvSpPr/>
                <p:nvPr/>
              </p:nvSpPr>
              <p:spPr>
                <a:xfrm>
                  <a:off x="9383162" y="4919762"/>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0 to 100[</a:t>
                  </a:r>
                </a:p>
              </p:txBody>
            </p:sp>
            <p:sp>
              <p:nvSpPr>
                <p:cNvPr id="27" name="Etiquette - RangeColorLegend - DARK - Color - 4" hidden="1">
                  <a:extLst>
                    <a:ext uri="{FF2B5EF4-FFF2-40B4-BE49-F238E27FC236}">
                      <a16:creationId xmlns:a16="http://schemas.microsoft.com/office/drawing/2014/main" id="{298AD52A-C629-732A-DAF2-3F2100897E64}"/>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33" name="Etiquette - RangeColorLegend - DARK - Color - 3" hidden="1">
                  <a:extLst>
                    <a:ext uri="{FF2B5EF4-FFF2-40B4-BE49-F238E27FC236}">
                      <a16:creationId xmlns:a16="http://schemas.microsoft.com/office/drawing/2014/main" id="{20AA7656-FB89-D9B1-9A53-1EFC7993CE7C}"/>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35" name="Etiquette - RangeColorLegend - DARK - Number - 4" hidden="1">
                  <a:extLst>
                    <a:ext uri="{FF2B5EF4-FFF2-40B4-BE49-F238E27FC236}">
                      <a16:creationId xmlns:a16="http://schemas.microsoft.com/office/drawing/2014/main" id="{1434E5CE-2FD6-C76B-2564-F572AEABF8CA}"/>
                    </a:ext>
                  </a:extLst>
                </p:cNvPr>
                <p:cNvSpPr/>
                <p:nvPr/>
              </p:nvSpPr>
              <p:spPr>
                <a:xfrm>
                  <a:off x="9383162" y="5381426"/>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300 to 400[</a:t>
                  </a:r>
                </a:p>
              </p:txBody>
            </p:sp>
            <p:sp>
              <p:nvSpPr>
                <p:cNvPr id="36" name="Etiquette - RangeColorLegend - DARK - Number - 3" hidden="1">
                  <a:extLst>
                    <a:ext uri="{FF2B5EF4-FFF2-40B4-BE49-F238E27FC236}">
                      <a16:creationId xmlns:a16="http://schemas.microsoft.com/office/drawing/2014/main" id="{98C8E8AC-AB76-92AE-D19D-9BD2ED4AC832}"/>
                    </a:ext>
                  </a:extLst>
                </p:cNvPr>
                <p:cNvSpPr/>
                <p:nvPr/>
              </p:nvSpPr>
              <p:spPr>
                <a:xfrm>
                  <a:off x="9383162" y="5227538"/>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200 to 300[</a:t>
                  </a:r>
                </a:p>
              </p:txBody>
            </p:sp>
            <p:sp>
              <p:nvSpPr>
                <p:cNvPr id="40" name="Etiquette - RangeColorLegend - DARK - Color - 5" hidden="1">
                  <a:extLst>
                    <a:ext uri="{FF2B5EF4-FFF2-40B4-BE49-F238E27FC236}">
                      <a16:creationId xmlns:a16="http://schemas.microsoft.com/office/drawing/2014/main" id="{41F6673C-8C9F-8FA0-86D1-E2A911E06ECC}"/>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41" name="Etiquette - RangeColorLegend - DARK - Number - 5" hidden="1">
                  <a:extLst>
                    <a:ext uri="{FF2B5EF4-FFF2-40B4-BE49-F238E27FC236}">
                      <a16:creationId xmlns:a16="http://schemas.microsoft.com/office/drawing/2014/main" id="{C71406B1-91E2-8C6D-0C1E-09BC7D22FAD7}"/>
                    </a:ext>
                  </a:extLst>
                </p:cNvPr>
                <p:cNvSpPr/>
                <p:nvPr/>
              </p:nvSpPr>
              <p:spPr>
                <a:xfrm>
                  <a:off x="9383162" y="5535314"/>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400+</a:t>
                  </a:r>
                </a:p>
              </p:txBody>
            </p:sp>
            <p:sp>
              <p:nvSpPr>
                <p:cNvPr id="45" name="Etiquette - RangeColorLegend - DARK - Color - 6" hidden="1">
                  <a:extLst>
                    <a:ext uri="{FF2B5EF4-FFF2-40B4-BE49-F238E27FC236}">
                      <a16:creationId xmlns:a16="http://schemas.microsoft.com/office/drawing/2014/main" id="{3F09216C-3FD3-151A-1CB0-AB0E7EC0B3A6}"/>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48" name="Etiquette - RangeColorLegend - DARK - Number - 6" hidden="1">
                  <a:extLst>
                    <a:ext uri="{FF2B5EF4-FFF2-40B4-BE49-F238E27FC236}">
                      <a16:creationId xmlns:a16="http://schemas.microsoft.com/office/drawing/2014/main" id="{F8718403-593C-B328-DFA7-DF3E861A0B84}"/>
                    </a:ext>
                  </a:extLst>
                </p:cNvPr>
                <p:cNvSpPr/>
                <p:nvPr/>
              </p:nvSpPr>
              <p:spPr>
                <a:xfrm>
                  <a:off x="9383162" y="5689202"/>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400+</a:t>
                  </a:r>
                </a:p>
              </p:txBody>
            </p:sp>
            <p:sp>
              <p:nvSpPr>
                <p:cNvPr id="82" name="Etiquette - RangeColorLegend - DARK - Color - 7" hidden="1">
                  <a:extLst>
                    <a:ext uri="{FF2B5EF4-FFF2-40B4-BE49-F238E27FC236}">
                      <a16:creationId xmlns:a16="http://schemas.microsoft.com/office/drawing/2014/main" id="{360B5234-E3C0-A623-29DC-1FB96CE0B3C8}"/>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98" name="Etiquette - RangeColorLegend - DARK - Number - 7" hidden="1">
                  <a:extLst>
                    <a:ext uri="{FF2B5EF4-FFF2-40B4-BE49-F238E27FC236}">
                      <a16:creationId xmlns:a16="http://schemas.microsoft.com/office/drawing/2014/main" id="{8F786257-5B80-24EE-09DF-4D3E65364CB4}"/>
                    </a:ext>
                  </a:extLst>
                </p:cNvPr>
                <p:cNvSpPr/>
                <p:nvPr/>
              </p:nvSpPr>
              <p:spPr>
                <a:xfrm>
                  <a:off x="9383162" y="5843090"/>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400+</a:t>
                  </a:r>
                </a:p>
              </p:txBody>
            </p:sp>
            <p:sp>
              <p:nvSpPr>
                <p:cNvPr id="99" name="Etiquette - RangeColorLegend - DARK - Color - 8" hidden="1">
                  <a:extLst>
                    <a:ext uri="{FF2B5EF4-FFF2-40B4-BE49-F238E27FC236}">
                      <a16:creationId xmlns:a16="http://schemas.microsoft.com/office/drawing/2014/main" id="{C8295CC0-0F3C-7EAB-02FF-B1E0342748A0}"/>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100" name="Etiquette - RangeColorLegend - DARK - Number - 8" hidden="1">
                  <a:extLst>
                    <a:ext uri="{FF2B5EF4-FFF2-40B4-BE49-F238E27FC236}">
                      <a16:creationId xmlns:a16="http://schemas.microsoft.com/office/drawing/2014/main" id="{8CA903C0-E5A3-39DA-4935-2576BB0FD2F9}"/>
                    </a:ext>
                  </a:extLst>
                </p:cNvPr>
                <p:cNvSpPr/>
                <p:nvPr/>
              </p:nvSpPr>
              <p:spPr>
                <a:xfrm>
                  <a:off x="9383162" y="5996978"/>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400+</a:t>
                  </a:r>
                </a:p>
              </p:txBody>
            </p:sp>
            <p:sp>
              <p:nvSpPr>
                <p:cNvPr id="101" name="Etiquette - RangeColorLegend - DARK - Color - 9" hidden="1">
                  <a:extLst>
                    <a:ext uri="{FF2B5EF4-FFF2-40B4-BE49-F238E27FC236}">
                      <a16:creationId xmlns:a16="http://schemas.microsoft.com/office/drawing/2014/main" id="{1A37F17B-1F91-077C-9557-6F1A4D72B054}"/>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102" name="Etiquette - RangeColorLegend - DARK - Number - 9" hidden="1">
                  <a:extLst>
                    <a:ext uri="{FF2B5EF4-FFF2-40B4-BE49-F238E27FC236}">
                      <a16:creationId xmlns:a16="http://schemas.microsoft.com/office/drawing/2014/main" id="{57B9CDB9-5DBD-8122-B221-D6CE22744C03}"/>
                    </a:ext>
                  </a:extLst>
                </p:cNvPr>
                <p:cNvSpPr/>
                <p:nvPr/>
              </p:nvSpPr>
              <p:spPr>
                <a:xfrm>
                  <a:off x="9383162" y="6150866"/>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400+</a:t>
                  </a:r>
                </a:p>
              </p:txBody>
            </p:sp>
            <p:sp>
              <p:nvSpPr>
                <p:cNvPr id="103" name="Etiquette - RangeColorLegend - DARK - Color - 10" hidden="1">
                  <a:extLst>
                    <a:ext uri="{FF2B5EF4-FFF2-40B4-BE49-F238E27FC236}">
                      <a16:creationId xmlns:a16="http://schemas.microsoft.com/office/drawing/2014/main" id="{06EB2F6F-68EA-649B-2498-89F79EC19615}"/>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nchor="ctr">
                  <a:noAutofit/>
                </a:bodyPr>
                <a:lstStyle/>
                <a:p>
                  <a:pPr algn="ctr" defTabSz="685766"/>
                  <a:endParaRPr lang="en-US" sz="750" dirty="0">
                    <a:solidFill>
                      <a:prstClr val="black"/>
                    </a:solidFill>
                    <a:latin typeface="Calibri" panose="020F0502020204030204"/>
                  </a:endParaRPr>
                </a:p>
              </p:txBody>
            </p:sp>
            <p:sp>
              <p:nvSpPr>
                <p:cNvPr id="104" name="Etiquette - RangeColorLegend - DARK - Number - 10" hidden="1">
                  <a:extLst>
                    <a:ext uri="{FF2B5EF4-FFF2-40B4-BE49-F238E27FC236}">
                      <a16:creationId xmlns:a16="http://schemas.microsoft.com/office/drawing/2014/main" id="{1A0EAF91-8E19-EE27-3863-F40BF409AE42}"/>
                    </a:ext>
                  </a:extLst>
                </p:cNvPr>
                <p:cNvSpPr/>
                <p:nvPr/>
              </p:nvSpPr>
              <p:spPr>
                <a:xfrm>
                  <a:off x="9383162" y="6304754"/>
                  <a:ext cx="1116000" cy="153888"/>
                </a:xfrm>
                <a:prstGeom prst="rect">
                  <a:avLst/>
                </a:prstGeom>
                <a:ln>
                  <a:noFill/>
                </a:ln>
              </p:spPr>
              <p:txBody>
                <a:bodyPr wrap="none" lIns="54000" tIns="0" rIns="0" bIns="0" anchor="ctr">
                  <a:noAutofit/>
                </a:bodyPr>
                <a:lstStyle/>
                <a:p>
                  <a:pPr defTabSz="685766"/>
                  <a:r>
                    <a:rPr lang="en-US" sz="750" dirty="0">
                      <a:solidFill>
                        <a:prstClr val="black"/>
                      </a:solidFill>
                      <a:latin typeface="Calibri" panose="020F0502020204030204"/>
                    </a:rPr>
                    <a:t>400+</a:t>
                  </a:r>
                </a:p>
              </p:txBody>
            </p:sp>
          </p:grpSp>
        </p:grpSp>
        <p:sp>
          <p:nvSpPr>
            <p:cNvPr id="6" name="POWER_USER_DATA_MAP_STORAGE">
              <a:extLst>
                <a:ext uri="{FF2B5EF4-FFF2-40B4-BE49-F238E27FC236}">
                  <a16:creationId xmlns:a16="http://schemas.microsoft.com/office/drawing/2014/main" id="{37EAD3DC-4807-1334-4E3C-0BF71C40F6EE}"/>
                </a:ext>
              </a:extLst>
            </p:cNvPr>
            <p:cNvSpPr/>
            <p:nvPr/>
          </p:nvSpPr>
          <p:spPr>
            <a:xfrm>
              <a:off x="569118" y="1632491"/>
              <a:ext cx="0" cy="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defTabSz="685766"/>
              <a:endParaRPr lang="en-AT" sz="1350">
                <a:solidFill>
                  <a:prstClr val="white"/>
                </a:solidFill>
                <a:latin typeface="Calibri" panose="020F0502020204030204"/>
              </a:endParaRPr>
            </a:p>
          </p:txBody>
        </p:sp>
      </p:grpSp>
      <p:sp>
        <p:nvSpPr>
          <p:cNvPr id="9" name="TextBox 14">
            <a:extLst>
              <a:ext uri="{FF2B5EF4-FFF2-40B4-BE49-F238E27FC236}">
                <a16:creationId xmlns:a16="http://schemas.microsoft.com/office/drawing/2014/main" id="{681F3F27-368B-1D2D-F12C-6265A9999658}"/>
              </a:ext>
            </a:extLst>
          </p:cNvPr>
          <p:cNvSpPr txBox="1"/>
          <p:nvPr/>
        </p:nvSpPr>
        <p:spPr>
          <a:xfrm>
            <a:off x="771982" y="2475830"/>
            <a:ext cx="390171" cy="173124"/>
          </a:xfrm>
          <a:prstGeom prst="rect">
            <a:avLst/>
          </a:prstGeom>
          <a:noFill/>
          <a:ln cap="flat">
            <a:noFill/>
          </a:ln>
        </p:spPr>
        <p:txBody>
          <a:bodyPr vert="horz" wrap="none" lIns="68580" tIns="34290" rIns="68580" bIns="34290" anchor="t" anchorCtr="0" compatLnSpc="1">
            <a:spAutoFit/>
          </a:bodyPr>
          <a:lstStyle/>
          <a:p>
            <a:pPr defTabSz="514337">
              <a:defRPr sz="1800" b="0" i="0" u="none" strike="noStrike" kern="0" cap="none" spc="0" baseline="0">
                <a:solidFill>
                  <a:srgbClr val="000000"/>
                </a:solidFill>
                <a:uFillTx/>
              </a:defRPr>
            </a:pPr>
            <a:r>
              <a:rPr lang="en-US" sz="675" dirty="0">
                <a:solidFill>
                  <a:prstClr val="white">
                    <a:lumMod val="85000"/>
                  </a:prstClr>
                </a:solidFill>
                <a:latin typeface="Calibri"/>
              </a:rPr>
              <a:t>growth</a:t>
            </a:r>
          </a:p>
        </p:txBody>
      </p:sp>
      <p:sp>
        <p:nvSpPr>
          <p:cNvPr id="10" name="TextBox 15">
            <a:extLst>
              <a:ext uri="{FF2B5EF4-FFF2-40B4-BE49-F238E27FC236}">
                <a16:creationId xmlns:a16="http://schemas.microsoft.com/office/drawing/2014/main" id="{CE75B616-249E-1F6E-E571-8CF08B95A592}"/>
              </a:ext>
            </a:extLst>
          </p:cNvPr>
          <p:cNvSpPr txBox="1"/>
          <p:nvPr/>
        </p:nvSpPr>
        <p:spPr>
          <a:xfrm>
            <a:off x="771983" y="2673272"/>
            <a:ext cx="476734" cy="173124"/>
          </a:xfrm>
          <a:prstGeom prst="rect">
            <a:avLst/>
          </a:prstGeom>
          <a:noFill/>
          <a:ln cap="flat">
            <a:noFill/>
          </a:ln>
        </p:spPr>
        <p:txBody>
          <a:bodyPr vert="horz" wrap="none" lIns="68580" tIns="34290" rIns="68580" bIns="34290" anchor="t" anchorCtr="0" compatLnSpc="1">
            <a:spAutoFit/>
          </a:bodyPr>
          <a:lstStyle/>
          <a:p>
            <a:pPr defTabSz="514337">
              <a:defRPr sz="1800" b="0" i="0" u="none" strike="noStrike" kern="0" cap="none" spc="0" baseline="0">
                <a:solidFill>
                  <a:srgbClr val="000000"/>
                </a:solidFill>
                <a:uFillTx/>
              </a:defRPr>
            </a:pPr>
            <a:r>
              <a:rPr lang="en-US" sz="675" dirty="0">
                <a:solidFill>
                  <a:prstClr val="white">
                    <a:lumMod val="85000"/>
                  </a:prstClr>
                </a:solidFill>
                <a:latin typeface="Calibri"/>
              </a:rPr>
              <a:t>reduction</a:t>
            </a:r>
          </a:p>
        </p:txBody>
      </p:sp>
      <p:sp>
        <p:nvSpPr>
          <p:cNvPr id="14" name="TextBox 21">
            <a:extLst>
              <a:ext uri="{FF2B5EF4-FFF2-40B4-BE49-F238E27FC236}">
                <a16:creationId xmlns:a16="http://schemas.microsoft.com/office/drawing/2014/main" id="{BD85F769-E7D8-2104-3E74-1D3E5BA4B579}"/>
              </a:ext>
            </a:extLst>
          </p:cNvPr>
          <p:cNvSpPr txBox="1"/>
          <p:nvPr/>
        </p:nvSpPr>
        <p:spPr>
          <a:xfrm>
            <a:off x="-32231" y="5042668"/>
            <a:ext cx="810158" cy="115416"/>
          </a:xfrm>
          <a:prstGeom prst="rect">
            <a:avLst/>
          </a:prstGeom>
          <a:noFill/>
          <a:ln cap="flat">
            <a:noFill/>
          </a:ln>
        </p:spPr>
        <p:txBody>
          <a:bodyPr vert="horz" wrap="none" lIns="68580" tIns="34290" rIns="68580" bIns="34290" anchor="t" anchorCtr="0" compatLnSpc="1">
            <a:spAutoFit/>
          </a:bodyPr>
          <a:lstStyle/>
          <a:p>
            <a:pPr defTabSz="514337">
              <a:defRPr sz="1800" b="0" i="0" u="none" strike="noStrike" kern="0" cap="none" spc="0" baseline="0">
                <a:solidFill>
                  <a:srgbClr val="000000"/>
                </a:solidFill>
                <a:uFillTx/>
              </a:defRPr>
            </a:pPr>
            <a:r>
              <a:rPr lang="en-US" sz="300" dirty="0">
                <a:solidFill>
                  <a:srgbClr val="7F7F7F"/>
                </a:solidFill>
                <a:latin typeface="Calibri"/>
              </a:rPr>
              <a:t>2023/01 SG – Conceptual – Zero Landscape</a:t>
            </a:r>
          </a:p>
        </p:txBody>
      </p:sp>
      <p:cxnSp>
        <p:nvCxnSpPr>
          <p:cNvPr id="15" name="Straight Connector 22">
            <a:extLst>
              <a:ext uri="{FF2B5EF4-FFF2-40B4-BE49-F238E27FC236}">
                <a16:creationId xmlns:a16="http://schemas.microsoft.com/office/drawing/2014/main" id="{FC04939E-2072-CFD4-C357-AFAD613AECAB}"/>
              </a:ext>
            </a:extLst>
          </p:cNvPr>
          <p:cNvCxnSpPr/>
          <p:nvPr/>
        </p:nvCxnSpPr>
        <p:spPr>
          <a:xfrm>
            <a:off x="1810256" y="2308912"/>
            <a:ext cx="0" cy="1076261"/>
          </a:xfrm>
          <a:prstGeom prst="straightConnector1">
            <a:avLst/>
          </a:prstGeom>
          <a:noFill/>
          <a:ln w="6345" cap="flat">
            <a:solidFill>
              <a:schemeClr val="bg1">
                <a:lumMod val="75000"/>
              </a:schemeClr>
            </a:solidFill>
            <a:prstDash val="solid"/>
            <a:miter/>
          </a:ln>
        </p:spPr>
      </p:cxnSp>
      <p:sp>
        <p:nvSpPr>
          <p:cNvPr id="17" name="TextBox 29">
            <a:extLst>
              <a:ext uri="{FF2B5EF4-FFF2-40B4-BE49-F238E27FC236}">
                <a16:creationId xmlns:a16="http://schemas.microsoft.com/office/drawing/2014/main" id="{2912C3A9-99FC-0904-BA53-FDC5DE3D3A9F}"/>
              </a:ext>
            </a:extLst>
          </p:cNvPr>
          <p:cNvSpPr txBox="1"/>
          <p:nvPr/>
        </p:nvSpPr>
        <p:spPr>
          <a:xfrm>
            <a:off x="1545059" y="2679237"/>
            <a:ext cx="311624" cy="173124"/>
          </a:xfrm>
          <a:prstGeom prst="rect">
            <a:avLst/>
          </a:prstGeom>
          <a:noFill/>
          <a:ln cap="flat">
            <a:noFill/>
          </a:ln>
        </p:spPr>
        <p:txBody>
          <a:bodyPr vert="horz" wrap="none" lIns="68580" tIns="34290" rIns="68580" bIns="34290" anchor="t" anchorCtr="0" compatLnSpc="1">
            <a:spAutoFit/>
          </a:bodyPr>
          <a:lstStyle/>
          <a:p>
            <a:pPr defTabSz="514337">
              <a:defRPr sz="1800" b="0" i="0" u="none" strike="noStrike" kern="0" cap="none" spc="0" baseline="0">
                <a:solidFill>
                  <a:srgbClr val="000000"/>
                </a:solidFill>
                <a:uFillTx/>
              </a:defRPr>
            </a:pPr>
            <a:r>
              <a:rPr lang="en-US" sz="675" dirty="0">
                <a:solidFill>
                  <a:srgbClr val="7F7F7F"/>
                </a:solidFill>
                <a:latin typeface="Calibri"/>
              </a:rPr>
              <a:t>2023</a:t>
            </a:r>
          </a:p>
        </p:txBody>
      </p:sp>
      <p:sp>
        <p:nvSpPr>
          <p:cNvPr id="23" name="TextBox 35">
            <a:extLst>
              <a:ext uri="{FF2B5EF4-FFF2-40B4-BE49-F238E27FC236}">
                <a16:creationId xmlns:a16="http://schemas.microsoft.com/office/drawing/2014/main" id="{FA0DC213-D040-2854-E110-29C957923CBF}"/>
              </a:ext>
            </a:extLst>
          </p:cNvPr>
          <p:cNvSpPr txBox="1"/>
          <p:nvPr/>
        </p:nvSpPr>
        <p:spPr>
          <a:xfrm>
            <a:off x="451094" y="1976022"/>
            <a:ext cx="1245021" cy="369332"/>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prstClr val="white">
                    <a:lumMod val="85000"/>
                  </a:prstClr>
                </a:solidFill>
                <a:latin typeface="Calibri"/>
              </a:rPr>
              <a:t>Cruise Skills</a:t>
            </a:r>
          </a:p>
          <a:p>
            <a:pPr algn="r" defTabSz="514337">
              <a:defRPr sz="1800" b="0" i="0" u="none" strike="noStrike" kern="0" cap="none" spc="0" baseline="0">
                <a:solidFill>
                  <a:srgbClr val="000000"/>
                </a:solidFill>
                <a:uFillTx/>
              </a:defRPr>
            </a:pPr>
            <a:r>
              <a:rPr lang="en-US" sz="600" dirty="0">
                <a:solidFill>
                  <a:prstClr val="white">
                    <a:lumMod val="85000"/>
                  </a:prstClr>
                </a:solidFill>
                <a:latin typeface="Calibri"/>
              </a:rPr>
              <a:t>(Home Grown Talent –  Ship Crew / Infrastructure / Green Skills  )</a:t>
            </a:r>
          </a:p>
        </p:txBody>
      </p:sp>
      <p:sp>
        <p:nvSpPr>
          <p:cNvPr id="24" name="TextBox 36">
            <a:extLst>
              <a:ext uri="{FF2B5EF4-FFF2-40B4-BE49-F238E27FC236}">
                <a16:creationId xmlns:a16="http://schemas.microsoft.com/office/drawing/2014/main" id="{1D6843A4-758D-D072-B41E-2DBC15F20D20}"/>
              </a:ext>
            </a:extLst>
          </p:cNvPr>
          <p:cNvSpPr txBox="1"/>
          <p:nvPr/>
        </p:nvSpPr>
        <p:spPr>
          <a:xfrm>
            <a:off x="1843239" y="1220091"/>
            <a:ext cx="813214" cy="369332"/>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srgbClr val="000000"/>
                </a:solidFill>
                <a:latin typeface="Calibri"/>
              </a:rPr>
              <a:t>Biodiversity </a:t>
            </a:r>
          </a:p>
          <a:p>
            <a:pPr algn="r" defTabSz="514337">
              <a:defRPr sz="1800" b="0" i="0" u="none" strike="noStrike" kern="0" cap="none" spc="0" baseline="0">
                <a:solidFill>
                  <a:srgbClr val="000000"/>
                </a:solidFill>
                <a:uFillTx/>
              </a:defRPr>
            </a:pPr>
            <a:r>
              <a:rPr lang="en-US" sz="600" dirty="0">
                <a:solidFill>
                  <a:srgbClr val="7F7F7F"/>
                </a:solidFill>
                <a:latin typeface="Calibri"/>
              </a:rPr>
              <a:t>(Society of Maritime Industries)</a:t>
            </a:r>
          </a:p>
        </p:txBody>
      </p:sp>
      <p:sp>
        <p:nvSpPr>
          <p:cNvPr id="26" name="TextBox 38">
            <a:extLst>
              <a:ext uri="{FF2B5EF4-FFF2-40B4-BE49-F238E27FC236}">
                <a16:creationId xmlns:a16="http://schemas.microsoft.com/office/drawing/2014/main" id="{AA9A05CE-2912-A35F-728B-415C9108462E}"/>
              </a:ext>
            </a:extLst>
          </p:cNvPr>
          <p:cNvSpPr txBox="1"/>
          <p:nvPr/>
        </p:nvSpPr>
        <p:spPr>
          <a:xfrm>
            <a:off x="478589" y="2833602"/>
            <a:ext cx="1369107" cy="276999"/>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srgbClr val="000000"/>
                </a:solidFill>
                <a:latin typeface="Calibri"/>
              </a:rPr>
              <a:t>UK Green Taxonomy</a:t>
            </a:r>
          </a:p>
          <a:p>
            <a:pPr algn="r" defTabSz="514337">
              <a:defRPr sz="1800" b="0" i="0" u="none" strike="noStrike" kern="0" cap="none" spc="0" baseline="0">
                <a:solidFill>
                  <a:srgbClr val="000000"/>
                </a:solidFill>
                <a:uFillTx/>
              </a:defRPr>
            </a:pPr>
            <a:r>
              <a:rPr lang="en-US" sz="600" dirty="0">
                <a:solidFill>
                  <a:srgbClr val="7F7F7F"/>
                </a:solidFill>
                <a:latin typeface="Calibri"/>
              </a:rPr>
              <a:t>(Treasury and BEIS)</a:t>
            </a:r>
          </a:p>
        </p:txBody>
      </p:sp>
      <p:sp>
        <p:nvSpPr>
          <p:cNvPr id="29" name="TextBox 41">
            <a:extLst>
              <a:ext uri="{FF2B5EF4-FFF2-40B4-BE49-F238E27FC236}">
                <a16:creationId xmlns:a16="http://schemas.microsoft.com/office/drawing/2014/main" id="{AE8AD3E8-B7DF-7D44-4B9B-F23F4FEE8C1D}"/>
              </a:ext>
            </a:extLst>
          </p:cNvPr>
          <p:cNvSpPr txBox="1"/>
          <p:nvPr/>
        </p:nvSpPr>
        <p:spPr>
          <a:xfrm>
            <a:off x="660765" y="3002728"/>
            <a:ext cx="949565" cy="484748"/>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prstClr val="white">
                    <a:lumMod val="85000"/>
                  </a:prstClr>
                </a:solidFill>
                <a:latin typeface="Calibri"/>
              </a:rPr>
              <a:t>Ports and Port Infrastructure</a:t>
            </a:r>
          </a:p>
          <a:p>
            <a:pPr algn="r" defTabSz="514337">
              <a:defRPr sz="1800" b="0" i="0" u="none" strike="noStrike" kern="0" cap="none" spc="0" baseline="0">
                <a:solidFill>
                  <a:srgbClr val="000000"/>
                </a:solidFill>
                <a:uFillTx/>
              </a:defRPr>
            </a:pPr>
            <a:r>
              <a:rPr lang="en-US" sz="600" dirty="0">
                <a:solidFill>
                  <a:prstClr val="white">
                    <a:lumMod val="85000"/>
                  </a:prstClr>
                </a:solidFill>
                <a:latin typeface="Calibri"/>
              </a:rPr>
              <a:t>(Alternative Fuel Infrastructure)</a:t>
            </a:r>
          </a:p>
        </p:txBody>
      </p:sp>
      <p:sp>
        <p:nvSpPr>
          <p:cNvPr id="30" name="TextBox 42">
            <a:extLst>
              <a:ext uri="{FF2B5EF4-FFF2-40B4-BE49-F238E27FC236}">
                <a16:creationId xmlns:a16="http://schemas.microsoft.com/office/drawing/2014/main" id="{145604B3-D534-5B9A-7020-2FBBC6A4DEA8}"/>
              </a:ext>
            </a:extLst>
          </p:cNvPr>
          <p:cNvSpPr txBox="1"/>
          <p:nvPr/>
        </p:nvSpPr>
        <p:spPr>
          <a:xfrm>
            <a:off x="1749327" y="3236736"/>
            <a:ext cx="904048" cy="484748"/>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prstClr val="white">
                    <a:lumMod val="85000"/>
                  </a:prstClr>
                </a:solidFill>
                <a:latin typeface="Calibri"/>
              </a:rPr>
              <a:t>Shore Side Electricity</a:t>
            </a:r>
          </a:p>
          <a:p>
            <a:pPr algn="r" defTabSz="514337">
              <a:defRPr sz="1800" b="0" i="0" u="none" strike="noStrike" kern="0" cap="none" spc="0" baseline="0">
                <a:solidFill>
                  <a:srgbClr val="000000"/>
                </a:solidFill>
                <a:uFillTx/>
              </a:defRPr>
            </a:pPr>
            <a:r>
              <a:rPr lang="en-US" sz="600" dirty="0">
                <a:solidFill>
                  <a:prstClr val="white">
                    <a:lumMod val="85000"/>
                  </a:prstClr>
                </a:solidFill>
                <a:latin typeface="Calibri"/>
              </a:rPr>
              <a:t>(Maritime UK, Chamber of Shipping and CLIA)</a:t>
            </a:r>
          </a:p>
        </p:txBody>
      </p:sp>
      <p:sp>
        <p:nvSpPr>
          <p:cNvPr id="31" name="TextBox 43">
            <a:extLst>
              <a:ext uri="{FF2B5EF4-FFF2-40B4-BE49-F238E27FC236}">
                <a16:creationId xmlns:a16="http://schemas.microsoft.com/office/drawing/2014/main" id="{773FAB49-E35C-16D5-0CDC-A2A330B3822F}"/>
              </a:ext>
            </a:extLst>
          </p:cNvPr>
          <p:cNvSpPr txBox="1"/>
          <p:nvPr/>
        </p:nvSpPr>
        <p:spPr>
          <a:xfrm>
            <a:off x="1651991" y="1690356"/>
            <a:ext cx="1061136" cy="507831"/>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prstClr val="white">
                    <a:lumMod val="85000"/>
                  </a:prstClr>
                </a:solidFill>
                <a:latin typeface="Calibri"/>
              </a:rPr>
              <a:t>Education and Engagement with stakeholders</a:t>
            </a:r>
          </a:p>
          <a:p>
            <a:pPr algn="r" defTabSz="514337">
              <a:defRPr sz="1800" b="0" i="0" u="none" strike="noStrike" kern="0" cap="none" spc="0" baseline="0">
                <a:solidFill>
                  <a:srgbClr val="000000"/>
                </a:solidFill>
                <a:uFillTx/>
              </a:defRPr>
            </a:pPr>
            <a:r>
              <a:rPr lang="en-US" sz="600" dirty="0">
                <a:solidFill>
                  <a:prstClr val="white">
                    <a:lumMod val="85000"/>
                  </a:prstClr>
                </a:solidFill>
                <a:latin typeface="Calibri"/>
              </a:rPr>
              <a:t>(Travel Agent Education)</a:t>
            </a:r>
          </a:p>
        </p:txBody>
      </p:sp>
      <p:sp>
        <p:nvSpPr>
          <p:cNvPr id="32" name="TextBox 44">
            <a:extLst>
              <a:ext uri="{FF2B5EF4-FFF2-40B4-BE49-F238E27FC236}">
                <a16:creationId xmlns:a16="http://schemas.microsoft.com/office/drawing/2014/main" id="{00C53FEB-3691-CE1C-D34A-488F7351537A}"/>
              </a:ext>
            </a:extLst>
          </p:cNvPr>
          <p:cNvSpPr txBox="1"/>
          <p:nvPr/>
        </p:nvSpPr>
        <p:spPr>
          <a:xfrm>
            <a:off x="883420" y="1371838"/>
            <a:ext cx="860690" cy="530915"/>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kern="0" dirty="0">
                <a:solidFill>
                  <a:srgbClr val="000000"/>
                </a:solidFill>
                <a:latin typeface="Calibri"/>
              </a:rPr>
              <a:t>UK Government Border Strategy</a:t>
            </a:r>
          </a:p>
          <a:p>
            <a:pPr algn="r" defTabSz="514337">
              <a:defRPr sz="1800" b="0" i="0" u="none" strike="noStrike" kern="0" cap="none" spc="0" baseline="0">
                <a:solidFill>
                  <a:srgbClr val="000000"/>
                </a:solidFill>
                <a:uFillTx/>
              </a:defRPr>
            </a:pPr>
            <a:r>
              <a:rPr lang="en-US" sz="750" dirty="0">
                <a:solidFill>
                  <a:srgbClr val="000000"/>
                </a:solidFill>
                <a:latin typeface="Calibri"/>
              </a:rPr>
              <a:t>(Border Security –EES)</a:t>
            </a:r>
            <a:endParaRPr lang="en-US" sz="600" dirty="0">
              <a:solidFill>
                <a:srgbClr val="7F7F7F"/>
              </a:solidFill>
              <a:latin typeface="Calibri"/>
            </a:endParaRPr>
          </a:p>
        </p:txBody>
      </p:sp>
      <p:sp>
        <p:nvSpPr>
          <p:cNvPr id="44" name="TextBox 43">
            <a:extLst>
              <a:ext uri="{FF2B5EF4-FFF2-40B4-BE49-F238E27FC236}">
                <a16:creationId xmlns:a16="http://schemas.microsoft.com/office/drawing/2014/main" id="{F7CA8B4A-E93B-04E8-60CB-1D515F041E40}"/>
              </a:ext>
            </a:extLst>
          </p:cNvPr>
          <p:cNvSpPr txBox="1"/>
          <p:nvPr/>
        </p:nvSpPr>
        <p:spPr>
          <a:xfrm>
            <a:off x="-1" y="1"/>
            <a:ext cx="9144001" cy="567558"/>
          </a:xfrm>
          <a:prstGeom prst="rect">
            <a:avLst/>
          </a:prstGeom>
        </p:spPr>
        <p:txBody>
          <a:bodyPr vert="horz" lIns="68580" tIns="34290" rIns="68580" bIns="34290" rtlCol="0" anchor="t">
            <a:noAutofit/>
          </a:bodyPr>
          <a:lstStyle/>
          <a:p>
            <a:pPr defTabSz="685783">
              <a:lnSpc>
                <a:spcPct val="90000"/>
              </a:lnSpc>
              <a:spcBef>
                <a:spcPct val="0"/>
              </a:spcBef>
              <a:spcAft>
                <a:spcPts val="450"/>
              </a:spcAft>
            </a:pPr>
            <a:r>
              <a:rPr lang="en-US" sz="3000" dirty="0">
                <a:solidFill>
                  <a:prstClr val="white">
                    <a:lumMod val="50000"/>
                  </a:prstClr>
                </a:solidFill>
                <a:latin typeface="Calibri Light" panose="020F0302020204030204"/>
              </a:rPr>
              <a:t>A Realistic Timeline </a:t>
            </a:r>
            <a:r>
              <a:rPr lang="en-US" sz="900" dirty="0">
                <a:solidFill>
                  <a:prstClr val="white">
                    <a:lumMod val="50000"/>
                  </a:prstClr>
                </a:solidFill>
                <a:latin typeface="Calibri Light" panose="020F0302020204030204"/>
              </a:rPr>
              <a:t>– managing short-term perception  </a:t>
            </a:r>
          </a:p>
        </p:txBody>
      </p:sp>
      <p:sp>
        <p:nvSpPr>
          <p:cNvPr id="64" name="TextBox 35">
            <a:extLst>
              <a:ext uri="{FF2B5EF4-FFF2-40B4-BE49-F238E27FC236}">
                <a16:creationId xmlns:a16="http://schemas.microsoft.com/office/drawing/2014/main" id="{779E80F0-838C-5FEB-DCF7-79F6DD21E5B2}"/>
              </a:ext>
            </a:extLst>
          </p:cNvPr>
          <p:cNvSpPr txBox="1"/>
          <p:nvPr/>
        </p:nvSpPr>
        <p:spPr>
          <a:xfrm>
            <a:off x="1219212" y="2642258"/>
            <a:ext cx="1149739" cy="276999"/>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prstClr val="white">
                    <a:lumMod val="85000"/>
                  </a:prstClr>
                </a:solidFill>
                <a:latin typeface="Calibri"/>
              </a:rPr>
              <a:t>The European Green Deal</a:t>
            </a:r>
          </a:p>
          <a:p>
            <a:pPr algn="r" defTabSz="514337">
              <a:defRPr sz="1800" b="0" i="0" u="none" strike="noStrike" kern="0" cap="none" spc="0" baseline="0">
                <a:solidFill>
                  <a:srgbClr val="000000"/>
                </a:solidFill>
                <a:uFillTx/>
              </a:defRPr>
            </a:pPr>
            <a:r>
              <a:rPr lang="en-US" sz="600" dirty="0">
                <a:solidFill>
                  <a:prstClr val="white">
                    <a:lumMod val="85000"/>
                  </a:prstClr>
                </a:solidFill>
                <a:latin typeface="Calibri"/>
              </a:rPr>
              <a:t>(2020)</a:t>
            </a:r>
          </a:p>
        </p:txBody>
      </p:sp>
      <p:sp>
        <p:nvSpPr>
          <p:cNvPr id="13" name="TextBox 35">
            <a:extLst>
              <a:ext uri="{FF2B5EF4-FFF2-40B4-BE49-F238E27FC236}">
                <a16:creationId xmlns:a16="http://schemas.microsoft.com/office/drawing/2014/main" id="{3C2A0B7E-E166-21A2-1782-46FEC44EAA85}"/>
              </a:ext>
            </a:extLst>
          </p:cNvPr>
          <p:cNvSpPr txBox="1"/>
          <p:nvPr/>
        </p:nvSpPr>
        <p:spPr>
          <a:xfrm>
            <a:off x="485806" y="3606168"/>
            <a:ext cx="1149739" cy="276999"/>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srgbClr val="000000"/>
                </a:solidFill>
                <a:latin typeface="Calibri"/>
              </a:rPr>
              <a:t>Clean Maritime Plan</a:t>
            </a:r>
            <a:r>
              <a:rPr lang="en-US" sz="750" kern="0" dirty="0">
                <a:solidFill>
                  <a:srgbClr val="000000"/>
                </a:solidFill>
                <a:latin typeface="Calibri"/>
              </a:rPr>
              <a:t> </a:t>
            </a:r>
            <a:r>
              <a:rPr lang="en-US" sz="600" dirty="0">
                <a:solidFill>
                  <a:srgbClr val="7F7F7F"/>
                </a:solidFill>
                <a:latin typeface="Calibri"/>
              </a:rPr>
              <a:t>(Maritime 2050)</a:t>
            </a:r>
          </a:p>
        </p:txBody>
      </p:sp>
      <p:sp>
        <p:nvSpPr>
          <p:cNvPr id="37" name="TextBox 43">
            <a:extLst>
              <a:ext uri="{FF2B5EF4-FFF2-40B4-BE49-F238E27FC236}">
                <a16:creationId xmlns:a16="http://schemas.microsoft.com/office/drawing/2014/main" id="{FC6AC5DC-68F4-3212-EAED-D72D84E5585B}"/>
              </a:ext>
            </a:extLst>
          </p:cNvPr>
          <p:cNvSpPr txBox="1"/>
          <p:nvPr/>
        </p:nvSpPr>
        <p:spPr>
          <a:xfrm>
            <a:off x="1698895" y="2839898"/>
            <a:ext cx="1061136" cy="392415"/>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kern="0" dirty="0">
                <a:solidFill>
                  <a:srgbClr val="000000"/>
                </a:solidFill>
                <a:latin typeface="Calibri"/>
              </a:rPr>
              <a:t>Cruise Industry Government Forum</a:t>
            </a:r>
            <a:endParaRPr lang="en-US" sz="750" dirty="0">
              <a:solidFill>
                <a:srgbClr val="000000"/>
              </a:solidFill>
              <a:latin typeface="Calibri"/>
            </a:endParaRPr>
          </a:p>
          <a:p>
            <a:pPr algn="r" defTabSz="514337">
              <a:defRPr sz="1800" b="0" i="0" u="none" strike="noStrike" kern="0" cap="none" spc="0" baseline="0">
                <a:solidFill>
                  <a:srgbClr val="000000"/>
                </a:solidFill>
                <a:uFillTx/>
              </a:defRPr>
            </a:pPr>
            <a:r>
              <a:rPr lang="en-US" sz="600" dirty="0">
                <a:solidFill>
                  <a:srgbClr val="7F7F7F"/>
                </a:solidFill>
                <a:latin typeface="Calibri"/>
              </a:rPr>
              <a:t>(Policy 2050)</a:t>
            </a:r>
          </a:p>
        </p:txBody>
      </p:sp>
      <p:sp>
        <p:nvSpPr>
          <p:cNvPr id="38" name="TextBox 47">
            <a:extLst>
              <a:ext uri="{FF2B5EF4-FFF2-40B4-BE49-F238E27FC236}">
                <a16:creationId xmlns:a16="http://schemas.microsoft.com/office/drawing/2014/main" id="{D4A2134F-55F4-563D-D1A7-D2CDBDCD2B92}"/>
              </a:ext>
            </a:extLst>
          </p:cNvPr>
          <p:cNvSpPr txBox="1"/>
          <p:nvPr/>
        </p:nvSpPr>
        <p:spPr>
          <a:xfrm>
            <a:off x="261304" y="2742916"/>
            <a:ext cx="1091978" cy="392415"/>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kern="0" dirty="0">
                <a:solidFill>
                  <a:prstClr val="white">
                    <a:lumMod val="85000"/>
                  </a:prstClr>
                </a:solidFill>
                <a:latin typeface="Calibri"/>
              </a:rPr>
              <a:t>Zero Emissions Vessel and Infrastructure Plan</a:t>
            </a:r>
            <a:endParaRPr lang="en-US" sz="750" dirty="0">
              <a:solidFill>
                <a:prstClr val="white">
                  <a:lumMod val="85000"/>
                </a:prstClr>
              </a:solidFill>
              <a:latin typeface="Calibri"/>
            </a:endParaRPr>
          </a:p>
          <a:p>
            <a:pPr algn="r" defTabSz="514337">
              <a:defRPr sz="1800" b="0" i="0" u="none" strike="noStrike" kern="0" cap="none" spc="0" baseline="0">
                <a:solidFill>
                  <a:srgbClr val="000000"/>
                </a:solidFill>
                <a:uFillTx/>
              </a:defRPr>
            </a:pPr>
            <a:r>
              <a:rPr lang="en-US" sz="600" dirty="0">
                <a:solidFill>
                  <a:prstClr val="white">
                    <a:lumMod val="85000"/>
                  </a:prstClr>
                </a:solidFill>
                <a:latin typeface="Calibri"/>
              </a:rPr>
              <a:t>(UK Shore)</a:t>
            </a:r>
          </a:p>
        </p:txBody>
      </p:sp>
      <p:sp>
        <p:nvSpPr>
          <p:cNvPr id="20" name="TextBox 44">
            <a:extLst>
              <a:ext uri="{FF2B5EF4-FFF2-40B4-BE49-F238E27FC236}">
                <a16:creationId xmlns:a16="http://schemas.microsoft.com/office/drawing/2014/main" id="{E9D86B20-8FDA-C4C4-6BBC-27E089598B17}"/>
              </a:ext>
            </a:extLst>
          </p:cNvPr>
          <p:cNvSpPr txBox="1"/>
          <p:nvPr/>
        </p:nvSpPr>
        <p:spPr>
          <a:xfrm>
            <a:off x="1903800" y="2555492"/>
            <a:ext cx="860690" cy="276999"/>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srgbClr val="000000"/>
                </a:solidFill>
                <a:latin typeface="Calibri"/>
              </a:rPr>
              <a:t>Taxation </a:t>
            </a:r>
          </a:p>
          <a:p>
            <a:pPr algn="r" defTabSz="514337">
              <a:defRPr sz="1800" b="0" i="0" u="none" strike="noStrike" kern="0" cap="none" spc="0" baseline="0">
                <a:solidFill>
                  <a:srgbClr val="000000"/>
                </a:solidFill>
                <a:uFillTx/>
              </a:defRPr>
            </a:pPr>
            <a:r>
              <a:rPr lang="en-US" sz="600" dirty="0">
                <a:solidFill>
                  <a:srgbClr val="7F7F7F"/>
                </a:solidFill>
                <a:latin typeface="Calibri"/>
              </a:rPr>
              <a:t>(pay your fair share)</a:t>
            </a:r>
          </a:p>
        </p:txBody>
      </p:sp>
      <p:sp>
        <p:nvSpPr>
          <p:cNvPr id="11" name="TextBox 46">
            <a:extLst>
              <a:ext uri="{FF2B5EF4-FFF2-40B4-BE49-F238E27FC236}">
                <a16:creationId xmlns:a16="http://schemas.microsoft.com/office/drawing/2014/main" id="{638400A3-20F3-0A0C-58BC-FFB5EC55936F}"/>
              </a:ext>
            </a:extLst>
          </p:cNvPr>
          <p:cNvSpPr txBox="1"/>
          <p:nvPr/>
        </p:nvSpPr>
        <p:spPr>
          <a:xfrm>
            <a:off x="1294864" y="3900279"/>
            <a:ext cx="891642" cy="276999"/>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750" dirty="0">
                <a:solidFill>
                  <a:srgbClr val="000000"/>
                </a:solidFill>
                <a:latin typeface="Calibri"/>
              </a:rPr>
              <a:t>Clean Air Strategy</a:t>
            </a:r>
          </a:p>
          <a:p>
            <a:pPr algn="r" defTabSz="514337">
              <a:defRPr sz="1800" b="0" i="0" u="none" strike="noStrike" kern="0" cap="none" spc="0" baseline="0">
                <a:solidFill>
                  <a:srgbClr val="000000"/>
                </a:solidFill>
                <a:uFillTx/>
              </a:defRPr>
            </a:pPr>
            <a:r>
              <a:rPr lang="en-US" sz="600" dirty="0">
                <a:solidFill>
                  <a:srgbClr val="7F7F7F"/>
                </a:solidFill>
                <a:latin typeface="Calibri"/>
              </a:rPr>
              <a:t>(UK Shore) </a:t>
            </a:r>
          </a:p>
        </p:txBody>
      </p:sp>
      <p:sp>
        <p:nvSpPr>
          <p:cNvPr id="34" name="Oval 33">
            <a:extLst>
              <a:ext uri="{FF2B5EF4-FFF2-40B4-BE49-F238E27FC236}">
                <a16:creationId xmlns:a16="http://schemas.microsoft.com/office/drawing/2014/main" id="{DC1122E9-2A72-5C40-46E0-1696C36D09E8}"/>
              </a:ext>
            </a:extLst>
          </p:cNvPr>
          <p:cNvSpPr/>
          <p:nvPr/>
        </p:nvSpPr>
        <p:spPr>
          <a:xfrm>
            <a:off x="91706" y="878253"/>
            <a:ext cx="3319956" cy="3601969"/>
          </a:xfrm>
          <a:prstGeom prst="ellipse">
            <a:avLst/>
          </a:prstGeom>
          <a:solidFill>
            <a:schemeClr val="bg1"/>
          </a:solidFill>
          <a:ln>
            <a:solidFill>
              <a:srgbClr val="2324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AT" sz="1350" dirty="0">
              <a:solidFill>
                <a:prstClr val="white"/>
              </a:solidFill>
              <a:latin typeface="Calibri" panose="020F0502020204030204"/>
            </a:endParaRPr>
          </a:p>
        </p:txBody>
      </p:sp>
      <p:sp>
        <p:nvSpPr>
          <p:cNvPr id="43" name="TextBox 45">
            <a:extLst>
              <a:ext uri="{FF2B5EF4-FFF2-40B4-BE49-F238E27FC236}">
                <a16:creationId xmlns:a16="http://schemas.microsoft.com/office/drawing/2014/main" id="{B24BE1DA-FFD6-E6A3-F133-33FEFF3F9C14}"/>
              </a:ext>
            </a:extLst>
          </p:cNvPr>
          <p:cNvSpPr txBox="1"/>
          <p:nvPr/>
        </p:nvSpPr>
        <p:spPr>
          <a:xfrm>
            <a:off x="1979256" y="3594542"/>
            <a:ext cx="1555495" cy="392415"/>
          </a:xfrm>
          <a:prstGeom prst="rect">
            <a:avLst/>
          </a:prstGeom>
          <a:noFill/>
          <a:ln cap="flat">
            <a:noFill/>
          </a:ln>
        </p:spPr>
        <p:txBody>
          <a:bodyPr vert="horz" wrap="square" lIns="68580" tIns="34290" rIns="68580" bIns="34290" anchor="t" anchorCtr="0" compatLnSpc="1">
            <a:spAutoFit/>
          </a:bodyPr>
          <a:lstStyle/>
          <a:p>
            <a:pPr defTabSz="514337">
              <a:defRPr sz="1800" b="0" i="0" u="none" strike="noStrike" kern="0" cap="none" spc="0" baseline="0">
                <a:solidFill>
                  <a:srgbClr val="000000"/>
                </a:solidFill>
                <a:uFillTx/>
              </a:defRPr>
            </a:pPr>
            <a:r>
              <a:rPr lang="en-US" sz="1200" kern="0" dirty="0">
                <a:solidFill>
                  <a:srgbClr val="000000"/>
                </a:solidFill>
                <a:latin typeface="Calibri"/>
              </a:rPr>
              <a:t>Blue Flag </a:t>
            </a:r>
            <a:endParaRPr lang="en-US" sz="1200" dirty="0">
              <a:solidFill>
                <a:srgbClr val="000000"/>
              </a:solidFill>
              <a:latin typeface="Calibri"/>
            </a:endParaRPr>
          </a:p>
          <a:p>
            <a:pPr defTabSz="514337">
              <a:defRPr sz="1800" b="0" i="0" u="none" strike="noStrike" kern="0" cap="none" spc="0" baseline="0">
                <a:solidFill>
                  <a:srgbClr val="000000"/>
                </a:solidFill>
                <a:uFillTx/>
              </a:defRPr>
            </a:pPr>
            <a:r>
              <a:rPr lang="en-US" sz="900" dirty="0">
                <a:solidFill>
                  <a:srgbClr val="7F7F7F"/>
                </a:solidFill>
                <a:latin typeface="Calibri"/>
              </a:rPr>
              <a:t>(2015</a:t>
            </a:r>
          </a:p>
        </p:txBody>
      </p:sp>
      <p:sp>
        <p:nvSpPr>
          <p:cNvPr id="46" name="TextBox 45">
            <a:extLst>
              <a:ext uri="{FF2B5EF4-FFF2-40B4-BE49-F238E27FC236}">
                <a16:creationId xmlns:a16="http://schemas.microsoft.com/office/drawing/2014/main" id="{E979704F-8631-B9CE-78CE-DA587A66AFA7}"/>
              </a:ext>
            </a:extLst>
          </p:cNvPr>
          <p:cNvSpPr txBox="1"/>
          <p:nvPr/>
        </p:nvSpPr>
        <p:spPr>
          <a:xfrm>
            <a:off x="582364" y="1464097"/>
            <a:ext cx="1344072" cy="392415"/>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1200" kern="0" dirty="0">
                <a:solidFill>
                  <a:srgbClr val="000000"/>
                </a:solidFill>
                <a:latin typeface="Calibri"/>
              </a:rPr>
              <a:t>Millennium Goals</a:t>
            </a:r>
            <a:endParaRPr lang="en-US" sz="1200" dirty="0">
              <a:solidFill>
                <a:srgbClr val="000000"/>
              </a:solidFill>
              <a:latin typeface="Calibri"/>
            </a:endParaRPr>
          </a:p>
          <a:p>
            <a:pPr algn="r" defTabSz="514337">
              <a:defRPr sz="1800" b="0" i="0" u="none" strike="noStrike" kern="0" cap="none" spc="0" baseline="0">
                <a:solidFill>
                  <a:srgbClr val="000000"/>
                </a:solidFill>
                <a:uFillTx/>
              </a:defRPr>
            </a:pPr>
            <a:r>
              <a:rPr lang="en-US" sz="900" kern="0" dirty="0">
                <a:solidFill>
                  <a:srgbClr val="7F7F7F"/>
                </a:solidFill>
                <a:latin typeface="Calibri"/>
              </a:rPr>
              <a:t>(2000) </a:t>
            </a:r>
            <a:endParaRPr lang="en-US" sz="900" dirty="0">
              <a:solidFill>
                <a:srgbClr val="7F7F7F"/>
              </a:solidFill>
              <a:latin typeface="Calibri"/>
            </a:endParaRPr>
          </a:p>
        </p:txBody>
      </p:sp>
      <p:sp>
        <p:nvSpPr>
          <p:cNvPr id="47" name="TextBox 45">
            <a:extLst>
              <a:ext uri="{FF2B5EF4-FFF2-40B4-BE49-F238E27FC236}">
                <a16:creationId xmlns:a16="http://schemas.microsoft.com/office/drawing/2014/main" id="{2F263D4F-5F7D-6905-7C59-568465BD39E1}"/>
              </a:ext>
            </a:extLst>
          </p:cNvPr>
          <p:cNvSpPr txBox="1"/>
          <p:nvPr/>
        </p:nvSpPr>
        <p:spPr>
          <a:xfrm>
            <a:off x="2004441" y="2099395"/>
            <a:ext cx="1492678" cy="577081"/>
          </a:xfrm>
          <a:prstGeom prst="rect">
            <a:avLst/>
          </a:prstGeom>
          <a:noFill/>
          <a:ln cap="flat">
            <a:noFill/>
          </a:ln>
        </p:spPr>
        <p:txBody>
          <a:bodyPr vert="horz" wrap="square" lIns="68580" tIns="34290" rIns="68580" bIns="34290" anchor="t" anchorCtr="0" compatLnSpc="1">
            <a:spAutoFit/>
          </a:bodyPr>
          <a:lstStyle/>
          <a:p>
            <a:pPr defTabSz="514337">
              <a:defRPr sz="1800" b="0" i="0" u="none" strike="noStrike" kern="0" cap="none" spc="0" baseline="0">
                <a:solidFill>
                  <a:srgbClr val="000000"/>
                </a:solidFill>
                <a:uFillTx/>
              </a:defRPr>
            </a:pPr>
            <a:r>
              <a:rPr lang="en-US" sz="1200" kern="0" dirty="0">
                <a:solidFill>
                  <a:srgbClr val="000000"/>
                </a:solidFill>
                <a:latin typeface="Calibri"/>
              </a:rPr>
              <a:t>Sustainable Development Goals </a:t>
            </a:r>
            <a:endParaRPr lang="en-US" sz="1200" dirty="0">
              <a:solidFill>
                <a:srgbClr val="000000"/>
              </a:solidFill>
              <a:latin typeface="Calibri"/>
            </a:endParaRPr>
          </a:p>
          <a:p>
            <a:pPr defTabSz="514337">
              <a:defRPr sz="1800" b="0" i="0" u="none" strike="noStrike" kern="0" cap="none" spc="0" baseline="0">
                <a:solidFill>
                  <a:srgbClr val="000000"/>
                </a:solidFill>
                <a:uFillTx/>
              </a:defRPr>
            </a:pPr>
            <a:r>
              <a:rPr lang="en-US" sz="900" dirty="0">
                <a:solidFill>
                  <a:srgbClr val="7F7F7F"/>
                </a:solidFill>
                <a:latin typeface="Calibri"/>
              </a:rPr>
              <a:t>(2015)</a:t>
            </a:r>
          </a:p>
        </p:txBody>
      </p:sp>
      <p:sp>
        <p:nvSpPr>
          <p:cNvPr id="83" name="TextBox 45">
            <a:extLst>
              <a:ext uri="{FF2B5EF4-FFF2-40B4-BE49-F238E27FC236}">
                <a16:creationId xmlns:a16="http://schemas.microsoft.com/office/drawing/2014/main" id="{06C2BF9C-681F-4E9C-312B-8541B9BAF837}"/>
              </a:ext>
            </a:extLst>
          </p:cNvPr>
          <p:cNvSpPr txBox="1"/>
          <p:nvPr/>
        </p:nvSpPr>
        <p:spPr>
          <a:xfrm>
            <a:off x="45684" y="2911747"/>
            <a:ext cx="1861705" cy="392415"/>
          </a:xfrm>
          <a:prstGeom prst="rect">
            <a:avLst/>
          </a:prstGeom>
          <a:noFill/>
          <a:ln cap="flat">
            <a:noFill/>
          </a:ln>
        </p:spPr>
        <p:txBody>
          <a:bodyPr vert="horz" wrap="square" lIns="68580" tIns="34290" rIns="68580" bIns="34290" anchor="t" anchorCtr="0" compatLnSpc="1">
            <a:spAutoFit/>
          </a:bodyPr>
          <a:lstStyle/>
          <a:p>
            <a:pPr algn="r" defTabSz="514337">
              <a:defRPr sz="1800" b="0" i="0" u="none" strike="noStrike" kern="0" cap="none" spc="0" baseline="0">
                <a:solidFill>
                  <a:srgbClr val="000000"/>
                </a:solidFill>
                <a:uFillTx/>
              </a:defRPr>
            </a:pPr>
            <a:r>
              <a:rPr lang="en-US" sz="1200" kern="0" dirty="0">
                <a:solidFill>
                  <a:srgbClr val="000000"/>
                </a:solidFill>
                <a:latin typeface="Calibri"/>
              </a:rPr>
              <a:t>EU – Fit for 55</a:t>
            </a:r>
            <a:endParaRPr lang="en-US" sz="1200" dirty="0">
              <a:solidFill>
                <a:srgbClr val="000000"/>
              </a:solidFill>
              <a:latin typeface="Calibri"/>
            </a:endParaRPr>
          </a:p>
          <a:p>
            <a:pPr algn="r" defTabSz="514337">
              <a:defRPr sz="1800" b="0" i="0" u="none" strike="noStrike" kern="0" cap="none" spc="0" baseline="0">
                <a:solidFill>
                  <a:srgbClr val="000000"/>
                </a:solidFill>
                <a:uFillTx/>
              </a:defRPr>
            </a:pPr>
            <a:r>
              <a:rPr lang="en-US" sz="900" dirty="0">
                <a:solidFill>
                  <a:srgbClr val="7F7F7F"/>
                </a:solidFill>
                <a:latin typeface="Calibri"/>
              </a:rPr>
              <a:t>(2021)</a:t>
            </a:r>
          </a:p>
        </p:txBody>
      </p:sp>
      <p:sp>
        <p:nvSpPr>
          <p:cNvPr id="39" name="TextBox 38">
            <a:extLst>
              <a:ext uri="{FF2B5EF4-FFF2-40B4-BE49-F238E27FC236}">
                <a16:creationId xmlns:a16="http://schemas.microsoft.com/office/drawing/2014/main" id="{DFB8CF7C-998A-6696-6E48-3C07A1CF88D4}"/>
              </a:ext>
            </a:extLst>
          </p:cNvPr>
          <p:cNvSpPr txBox="1"/>
          <p:nvPr/>
        </p:nvSpPr>
        <p:spPr>
          <a:xfrm>
            <a:off x="4314748" y="3359739"/>
            <a:ext cx="912471" cy="854080"/>
          </a:xfrm>
          <a:prstGeom prst="rect">
            <a:avLst/>
          </a:prstGeom>
          <a:noFill/>
          <a:ln cap="flat">
            <a:noFill/>
          </a:ln>
        </p:spPr>
        <p:txBody>
          <a:bodyPr vert="horz" wrap="square" lIns="68580" tIns="34290" rIns="68580" bIns="34290" anchor="t" anchorCtr="0" compatLnSpc="1">
            <a:spAutoFit/>
          </a:bodyPr>
          <a:lstStyle/>
          <a:p>
            <a:pPr algn="ctr" defTabSz="514337">
              <a:defRPr sz="1800" b="0" i="0" u="none" strike="noStrike" kern="0" cap="none" spc="0" baseline="0">
                <a:solidFill>
                  <a:srgbClr val="000000"/>
                </a:solidFill>
                <a:uFillTx/>
              </a:defRPr>
            </a:pPr>
            <a:r>
              <a:rPr lang="en-US" sz="1500" kern="0" dirty="0">
                <a:solidFill>
                  <a:srgbClr val="000000"/>
                </a:solidFill>
                <a:latin typeface="Calibri"/>
              </a:rPr>
              <a:t>2001</a:t>
            </a:r>
            <a:endParaRPr lang="en-US" sz="1500" dirty="0">
              <a:solidFill>
                <a:srgbClr val="000000"/>
              </a:solidFill>
              <a:latin typeface="Calibri"/>
            </a:endParaRPr>
          </a:p>
          <a:p>
            <a:pPr algn="ctr" defTabSz="514337">
              <a:defRPr sz="1800" b="0" i="0" u="none" strike="noStrike" kern="0" cap="none" spc="0" baseline="0">
                <a:solidFill>
                  <a:srgbClr val="000000"/>
                </a:solidFill>
                <a:uFillTx/>
              </a:defRPr>
            </a:pPr>
            <a:r>
              <a:rPr lang="en-US" sz="900" kern="0" dirty="0">
                <a:solidFill>
                  <a:srgbClr val="7F7F7F"/>
                </a:solidFill>
                <a:latin typeface="Calibri"/>
              </a:rPr>
              <a:t>(</a:t>
            </a:r>
            <a:r>
              <a:rPr lang="en-GB" sz="900" kern="0" dirty="0">
                <a:solidFill>
                  <a:srgbClr val="7F7F7F"/>
                </a:solidFill>
                <a:latin typeface="Calibri"/>
              </a:rPr>
              <a:t>Juneau Alaska – first shore power program negotiations </a:t>
            </a:r>
            <a:r>
              <a:rPr lang="en-US" sz="900" kern="0" dirty="0">
                <a:solidFill>
                  <a:srgbClr val="7F7F7F"/>
                </a:solidFill>
                <a:latin typeface="Calibri"/>
              </a:rPr>
              <a:t>) </a:t>
            </a:r>
            <a:endParaRPr lang="en-US" sz="900" dirty="0">
              <a:solidFill>
                <a:srgbClr val="7F7F7F"/>
              </a:solidFill>
              <a:latin typeface="Calibri"/>
            </a:endParaRPr>
          </a:p>
        </p:txBody>
      </p:sp>
      <p:cxnSp>
        <p:nvCxnSpPr>
          <p:cNvPr id="42" name="Straight Connector 23 - 3">
            <a:extLst>
              <a:ext uri="{FF2B5EF4-FFF2-40B4-BE49-F238E27FC236}">
                <a16:creationId xmlns:a16="http://schemas.microsoft.com/office/drawing/2014/main" id="{21F1F30C-72A1-3BCC-DF6B-2B2F409296F3}"/>
              </a:ext>
            </a:extLst>
          </p:cNvPr>
          <p:cNvCxnSpPr>
            <a:cxnSpLocks/>
          </p:cNvCxnSpPr>
          <p:nvPr/>
        </p:nvCxnSpPr>
        <p:spPr>
          <a:xfrm>
            <a:off x="4734756" y="2612253"/>
            <a:ext cx="0" cy="782708"/>
          </a:xfrm>
          <a:prstGeom prst="straightConnector1">
            <a:avLst/>
          </a:prstGeom>
          <a:noFill/>
          <a:ln w="6345" cap="flat">
            <a:solidFill>
              <a:schemeClr val="bg1">
                <a:lumMod val="75000"/>
              </a:schemeClr>
            </a:solidFill>
            <a:prstDash val="solid"/>
            <a:miter/>
          </a:ln>
        </p:spPr>
      </p:cxnSp>
      <p:cxnSp>
        <p:nvCxnSpPr>
          <p:cNvPr id="92" name="Straight Connector 23 - 1">
            <a:extLst>
              <a:ext uri="{FF2B5EF4-FFF2-40B4-BE49-F238E27FC236}">
                <a16:creationId xmlns:a16="http://schemas.microsoft.com/office/drawing/2014/main" id="{E62EB4F3-1BC5-8388-9E8B-41488F229B9F}"/>
              </a:ext>
            </a:extLst>
          </p:cNvPr>
          <p:cNvCxnSpPr>
            <a:cxnSpLocks/>
          </p:cNvCxnSpPr>
          <p:nvPr/>
        </p:nvCxnSpPr>
        <p:spPr>
          <a:xfrm>
            <a:off x="6681668" y="2623154"/>
            <a:ext cx="0" cy="706049"/>
          </a:xfrm>
          <a:prstGeom prst="straightConnector1">
            <a:avLst/>
          </a:prstGeom>
          <a:noFill/>
          <a:ln w="6345" cap="flat">
            <a:solidFill>
              <a:schemeClr val="bg1">
                <a:lumMod val="75000"/>
              </a:schemeClr>
            </a:solidFill>
            <a:prstDash val="solid"/>
            <a:miter/>
          </a:ln>
        </p:spPr>
      </p:cxnSp>
      <p:cxnSp>
        <p:nvCxnSpPr>
          <p:cNvPr id="93" name="Straight Connector 23 - 2">
            <a:extLst>
              <a:ext uri="{FF2B5EF4-FFF2-40B4-BE49-F238E27FC236}">
                <a16:creationId xmlns:a16="http://schemas.microsoft.com/office/drawing/2014/main" id="{23A4563B-2D95-9EEC-808E-24FFE5455996}"/>
              </a:ext>
            </a:extLst>
          </p:cNvPr>
          <p:cNvCxnSpPr>
            <a:cxnSpLocks/>
          </p:cNvCxnSpPr>
          <p:nvPr/>
        </p:nvCxnSpPr>
        <p:spPr>
          <a:xfrm flipH="1">
            <a:off x="5693665" y="2603744"/>
            <a:ext cx="3603" cy="1417527"/>
          </a:xfrm>
          <a:prstGeom prst="straightConnector1">
            <a:avLst/>
          </a:prstGeom>
          <a:noFill/>
          <a:ln w="6345" cap="flat">
            <a:solidFill>
              <a:schemeClr val="bg1">
                <a:lumMod val="75000"/>
              </a:schemeClr>
            </a:solidFill>
            <a:prstDash val="solid"/>
            <a:miter/>
          </a:ln>
        </p:spPr>
      </p:cxnSp>
      <p:sp>
        <p:nvSpPr>
          <p:cNvPr id="95" name="TextBox 45">
            <a:extLst>
              <a:ext uri="{FF2B5EF4-FFF2-40B4-BE49-F238E27FC236}">
                <a16:creationId xmlns:a16="http://schemas.microsoft.com/office/drawing/2014/main" id="{8FE2AA17-A588-FBFA-C535-C5FE4B838EC0}"/>
              </a:ext>
            </a:extLst>
          </p:cNvPr>
          <p:cNvSpPr txBox="1"/>
          <p:nvPr/>
        </p:nvSpPr>
        <p:spPr>
          <a:xfrm>
            <a:off x="5064140" y="4022324"/>
            <a:ext cx="1251565" cy="715581"/>
          </a:xfrm>
          <a:prstGeom prst="rect">
            <a:avLst/>
          </a:prstGeom>
          <a:noFill/>
          <a:ln cap="flat">
            <a:noFill/>
          </a:ln>
        </p:spPr>
        <p:txBody>
          <a:bodyPr vert="horz" wrap="square" lIns="68580" tIns="34290" rIns="68580" bIns="34290" anchor="t" anchorCtr="0" compatLnSpc="1">
            <a:spAutoFit/>
          </a:bodyPr>
          <a:lstStyle/>
          <a:p>
            <a:pPr algn="ctr" defTabSz="514337">
              <a:defRPr sz="1800" b="0" i="0" u="none" strike="noStrike" kern="0" cap="none" spc="0" baseline="0">
                <a:solidFill>
                  <a:srgbClr val="000000"/>
                </a:solidFill>
                <a:uFillTx/>
              </a:defRPr>
            </a:pPr>
            <a:r>
              <a:rPr lang="en-US" sz="1500" kern="0" dirty="0">
                <a:solidFill>
                  <a:srgbClr val="000000"/>
                </a:solidFill>
                <a:latin typeface="Calibri"/>
              </a:rPr>
              <a:t>2007</a:t>
            </a:r>
            <a:endParaRPr lang="en-US" sz="1500" dirty="0">
              <a:solidFill>
                <a:srgbClr val="000000"/>
              </a:solidFill>
              <a:latin typeface="Calibri"/>
            </a:endParaRPr>
          </a:p>
          <a:p>
            <a:pPr algn="ctr" defTabSz="514337">
              <a:defRPr sz="1800" b="0" i="0" u="none" strike="noStrike" kern="0" cap="none" spc="0" baseline="0">
                <a:solidFill>
                  <a:srgbClr val="000000"/>
                </a:solidFill>
                <a:uFillTx/>
              </a:defRPr>
            </a:pPr>
            <a:r>
              <a:rPr lang="en-US" sz="900" dirty="0">
                <a:solidFill>
                  <a:srgbClr val="7F7F7F"/>
                </a:solidFill>
                <a:latin typeface="Calibri"/>
              </a:rPr>
              <a:t>(</a:t>
            </a:r>
            <a:r>
              <a:rPr lang="en-GB" sz="900" dirty="0">
                <a:solidFill>
                  <a:srgbClr val="7F7F7F"/>
                </a:solidFill>
                <a:latin typeface="Calibri"/>
              </a:rPr>
              <a:t>pioneering the first Exhaust Gas Cleaning System</a:t>
            </a:r>
            <a:r>
              <a:rPr lang="en-US" sz="900" dirty="0">
                <a:solidFill>
                  <a:srgbClr val="7F7F7F"/>
                </a:solidFill>
                <a:latin typeface="Calibri"/>
              </a:rPr>
              <a:t>)</a:t>
            </a:r>
          </a:p>
        </p:txBody>
      </p:sp>
      <p:sp>
        <p:nvSpPr>
          <p:cNvPr id="96" name="TextBox 45">
            <a:extLst>
              <a:ext uri="{FF2B5EF4-FFF2-40B4-BE49-F238E27FC236}">
                <a16:creationId xmlns:a16="http://schemas.microsoft.com/office/drawing/2014/main" id="{2CF5AC58-6484-0182-2C89-78A42BAFE5D2}"/>
              </a:ext>
            </a:extLst>
          </p:cNvPr>
          <p:cNvSpPr txBox="1"/>
          <p:nvPr/>
        </p:nvSpPr>
        <p:spPr>
          <a:xfrm>
            <a:off x="5983195" y="3280634"/>
            <a:ext cx="1469662" cy="577081"/>
          </a:xfrm>
          <a:prstGeom prst="rect">
            <a:avLst/>
          </a:prstGeom>
          <a:noFill/>
          <a:ln cap="flat">
            <a:noFill/>
          </a:ln>
        </p:spPr>
        <p:txBody>
          <a:bodyPr vert="horz" wrap="square" lIns="68580" tIns="34290" rIns="68580" bIns="34290" anchor="t" anchorCtr="0" compatLnSpc="1">
            <a:spAutoFit/>
          </a:bodyPr>
          <a:lstStyle/>
          <a:p>
            <a:pPr algn="ctr" defTabSz="514337">
              <a:defRPr sz="1800" b="0" i="0" u="none" strike="noStrike" kern="0" cap="none" spc="0" baseline="0">
                <a:solidFill>
                  <a:srgbClr val="000000"/>
                </a:solidFill>
                <a:uFillTx/>
              </a:defRPr>
            </a:pPr>
            <a:r>
              <a:rPr lang="en-US" sz="1500" kern="0" dirty="0">
                <a:solidFill>
                  <a:srgbClr val="000000"/>
                </a:solidFill>
                <a:latin typeface="Calibri"/>
              </a:rPr>
              <a:t>2013</a:t>
            </a:r>
            <a:endParaRPr lang="en-US" sz="1500" dirty="0">
              <a:solidFill>
                <a:srgbClr val="000000"/>
              </a:solidFill>
              <a:latin typeface="Calibri"/>
            </a:endParaRPr>
          </a:p>
          <a:p>
            <a:pPr algn="ctr" defTabSz="514337">
              <a:defRPr sz="1800" b="0" i="0" u="none" strike="noStrike" kern="0" cap="none" spc="0" baseline="0">
                <a:solidFill>
                  <a:srgbClr val="000000"/>
                </a:solidFill>
                <a:uFillTx/>
              </a:defRPr>
            </a:pPr>
            <a:r>
              <a:rPr lang="en-US" sz="900" dirty="0">
                <a:solidFill>
                  <a:srgbClr val="7F7F7F"/>
                </a:solidFill>
                <a:latin typeface="Calibri"/>
              </a:rPr>
              <a:t>(</a:t>
            </a:r>
            <a:r>
              <a:rPr lang="en-GB" sz="900" dirty="0">
                <a:solidFill>
                  <a:srgbClr val="7F7F7F"/>
                </a:solidFill>
                <a:latin typeface="Calibri"/>
              </a:rPr>
              <a:t>designing the first LNG-powered vessel </a:t>
            </a:r>
            <a:r>
              <a:rPr lang="en-US" sz="900" dirty="0">
                <a:solidFill>
                  <a:srgbClr val="7F7F7F"/>
                </a:solidFill>
                <a:latin typeface="Calibri"/>
              </a:rPr>
              <a:t>)</a:t>
            </a:r>
          </a:p>
        </p:txBody>
      </p:sp>
      <p:sp>
        <p:nvSpPr>
          <p:cNvPr id="97" name="TextBox 45">
            <a:extLst>
              <a:ext uri="{FF2B5EF4-FFF2-40B4-BE49-F238E27FC236}">
                <a16:creationId xmlns:a16="http://schemas.microsoft.com/office/drawing/2014/main" id="{842022F6-685E-1101-F711-3D4B78C02352}"/>
              </a:ext>
            </a:extLst>
          </p:cNvPr>
          <p:cNvSpPr txBox="1"/>
          <p:nvPr/>
        </p:nvSpPr>
        <p:spPr>
          <a:xfrm>
            <a:off x="8033932" y="2412472"/>
            <a:ext cx="1313390" cy="484748"/>
          </a:xfrm>
          <a:prstGeom prst="rect">
            <a:avLst/>
          </a:prstGeom>
          <a:noFill/>
          <a:ln cap="flat">
            <a:noFill/>
          </a:ln>
        </p:spPr>
        <p:txBody>
          <a:bodyPr vert="horz" wrap="square" lIns="68580" tIns="34290" rIns="68580" bIns="34290" anchor="t" anchorCtr="0" compatLnSpc="1">
            <a:spAutoFit/>
          </a:bodyPr>
          <a:lstStyle/>
          <a:p>
            <a:pPr algn="ctr" defTabSz="514337">
              <a:defRPr sz="1800" b="0" i="0" u="none" strike="noStrike" kern="0" cap="none" spc="0" baseline="0">
                <a:solidFill>
                  <a:srgbClr val="000000"/>
                </a:solidFill>
                <a:uFillTx/>
              </a:defRPr>
            </a:pPr>
            <a:r>
              <a:rPr lang="en-US" sz="1500" dirty="0">
                <a:solidFill>
                  <a:schemeClr val="accent6">
                    <a:lumMod val="50000"/>
                  </a:schemeClr>
                </a:solidFill>
                <a:latin typeface="Calibri"/>
              </a:rPr>
              <a:t>2050 </a:t>
            </a:r>
          </a:p>
          <a:p>
            <a:pPr algn="ctr" defTabSz="514337">
              <a:defRPr sz="1800" b="0" i="0" u="none" strike="noStrike" kern="0" cap="none" spc="0" baseline="0">
                <a:solidFill>
                  <a:srgbClr val="000000"/>
                </a:solidFill>
                <a:uFillTx/>
              </a:defRPr>
            </a:pPr>
            <a:r>
              <a:rPr lang="en-US" sz="1200" dirty="0">
                <a:solidFill>
                  <a:schemeClr val="accent6">
                    <a:lumMod val="50000"/>
                  </a:schemeClr>
                </a:solidFill>
                <a:latin typeface="Calibri"/>
              </a:rPr>
              <a:t>(net zero )</a:t>
            </a:r>
          </a:p>
        </p:txBody>
      </p:sp>
      <p:cxnSp>
        <p:nvCxnSpPr>
          <p:cNvPr id="389" name="Straight Connector 23">
            <a:extLst>
              <a:ext uri="{FF2B5EF4-FFF2-40B4-BE49-F238E27FC236}">
                <a16:creationId xmlns:a16="http://schemas.microsoft.com/office/drawing/2014/main" id="{9E5AEDE5-C63E-B60A-545C-A1F0DB83C969}"/>
              </a:ext>
            </a:extLst>
          </p:cNvPr>
          <p:cNvCxnSpPr>
            <a:cxnSpLocks/>
          </p:cNvCxnSpPr>
          <p:nvPr/>
        </p:nvCxnSpPr>
        <p:spPr>
          <a:xfrm flipH="1">
            <a:off x="7662755" y="2624021"/>
            <a:ext cx="19260" cy="1332242"/>
          </a:xfrm>
          <a:prstGeom prst="straightConnector1">
            <a:avLst/>
          </a:prstGeom>
          <a:noFill/>
          <a:ln w="38100" cap="flat">
            <a:solidFill>
              <a:srgbClr val="00B050"/>
            </a:solidFill>
            <a:prstDash val="solid"/>
            <a:miter/>
          </a:ln>
        </p:spPr>
      </p:cxnSp>
      <p:sp>
        <p:nvSpPr>
          <p:cNvPr id="391" name="TextBox 45">
            <a:extLst>
              <a:ext uri="{FF2B5EF4-FFF2-40B4-BE49-F238E27FC236}">
                <a16:creationId xmlns:a16="http://schemas.microsoft.com/office/drawing/2014/main" id="{3DEFCE67-7B08-97F0-F78D-29EB89F87D7B}"/>
              </a:ext>
            </a:extLst>
          </p:cNvPr>
          <p:cNvSpPr txBox="1"/>
          <p:nvPr/>
        </p:nvSpPr>
        <p:spPr>
          <a:xfrm>
            <a:off x="6981005" y="3956310"/>
            <a:ext cx="1313390" cy="669414"/>
          </a:xfrm>
          <a:prstGeom prst="rect">
            <a:avLst/>
          </a:prstGeom>
          <a:noFill/>
          <a:ln cap="flat">
            <a:noFill/>
          </a:ln>
        </p:spPr>
        <p:txBody>
          <a:bodyPr vert="horz" wrap="square" lIns="68580" tIns="34290" rIns="68580" bIns="34290" anchor="t" anchorCtr="0" compatLnSpc="1">
            <a:spAutoFit/>
          </a:bodyPr>
          <a:lstStyle/>
          <a:p>
            <a:pPr algn="ctr" defTabSz="514337">
              <a:defRPr sz="1800" b="0" i="0" u="none" strike="noStrike" kern="0" cap="none" spc="0" baseline="0">
                <a:solidFill>
                  <a:srgbClr val="000000"/>
                </a:solidFill>
                <a:uFillTx/>
              </a:defRPr>
            </a:pPr>
            <a:r>
              <a:rPr lang="en-US" sz="1500" dirty="0">
                <a:solidFill>
                  <a:srgbClr val="000000"/>
                </a:solidFill>
                <a:latin typeface="Calibri"/>
              </a:rPr>
              <a:t>2020</a:t>
            </a:r>
          </a:p>
          <a:p>
            <a:pPr algn="ctr" defTabSz="514337">
              <a:defRPr sz="1800" b="0" i="0" u="none" strike="noStrike" kern="0" cap="none" spc="0" baseline="0">
                <a:solidFill>
                  <a:srgbClr val="000000"/>
                </a:solidFill>
                <a:uFillTx/>
              </a:defRPr>
            </a:pPr>
            <a:r>
              <a:rPr lang="en-US" sz="1200" dirty="0">
                <a:solidFill>
                  <a:srgbClr val="7F7F7F"/>
                </a:solidFill>
                <a:latin typeface="Calibri"/>
              </a:rPr>
              <a:t>(pledge: pursuing net zero cruising)</a:t>
            </a:r>
          </a:p>
        </p:txBody>
      </p:sp>
      <p:grpSp>
        <p:nvGrpSpPr>
          <p:cNvPr id="392" name="Calendar7" descr="{&quot;Key&quot;:&quot;POWER_USER_SHAPE_ICON&quot;,&quot;Value&quot;:&quot;POWER_USER_SHAPE_ICON_STYLE_1&quot;}">
            <a:extLst>
              <a:ext uri="{FF2B5EF4-FFF2-40B4-BE49-F238E27FC236}">
                <a16:creationId xmlns:a16="http://schemas.microsoft.com/office/drawing/2014/main" id="{002F4588-F908-3391-1392-494D1AEECBDF}"/>
              </a:ext>
            </a:extLst>
          </p:cNvPr>
          <p:cNvGrpSpPr>
            <a:grpSpLocks noChangeAspect="1"/>
          </p:cNvGrpSpPr>
          <p:nvPr/>
        </p:nvGrpSpPr>
        <p:grpSpPr>
          <a:xfrm>
            <a:off x="2107726" y="1463638"/>
            <a:ext cx="539153" cy="550432"/>
            <a:chOff x="4816476" y="6386513"/>
            <a:chExt cx="379413" cy="387350"/>
          </a:xfrm>
          <a:solidFill>
            <a:srgbClr val="232451"/>
          </a:solidFill>
        </p:grpSpPr>
        <p:sp>
          <p:nvSpPr>
            <p:cNvPr id="393" name="Freeform 1001">
              <a:extLst>
                <a:ext uri="{FF2B5EF4-FFF2-40B4-BE49-F238E27FC236}">
                  <a16:creationId xmlns:a16="http://schemas.microsoft.com/office/drawing/2014/main" id="{F259CCD1-6C3F-2900-354A-FD3B173C4020}"/>
                </a:ext>
              </a:extLst>
            </p:cNvPr>
            <p:cNvSpPr>
              <a:spLocks/>
            </p:cNvSpPr>
            <p:nvPr/>
          </p:nvSpPr>
          <p:spPr bwMode="auto">
            <a:xfrm>
              <a:off x="4816476" y="6410325"/>
              <a:ext cx="79375" cy="187325"/>
            </a:xfrm>
            <a:custGeom>
              <a:avLst/>
              <a:gdLst>
                <a:gd name="T0" fmla="*/ 100 w 469"/>
                <a:gd name="T1" fmla="*/ 1111 h 1111"/>
                <a:gd name="T2" fmla="*/ 0 w 469"/>
                <a:gd name="T3" fmla="*/ 1111 h 1111"/>
                <a:gd name="T4" fmla="*/ 0 w 469"/>
                <a:gd name="T5" fmla="*/ 202 h 1111"/>
                <a:gd name="T6" fmla="*/ 205 w 469"/>
                <a:gd name="T7" fmla="*/ 0 h 1111"/>
                <a:gd name="T8" fmla="*/ 469 w 469"/>
                <a:gd name="T9" fmla="*/ 0 h 1111"/>
                <a:gd name="T10" fmla="*/ 469 w 469"/>
                <a:gd name="T11" fmla="*/ 100 h 1111"/>
                <a:gd name="T12" fmla="*/ 205 w 469"/>
                <a:gd name="T13" fmla="*/ 100 h 1111"/>
                <a:gd name="T14" fmla="*/ 100 w 469"/>
                <a:gd name="T15" fmla="*/ 202 h 1111"/>
                <a:gd name="T16" fmla="*/ 100 w 469"/>
                <a:gd name="T17" fmla="*/ 1111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111">
                  <a:moveTo>
                    <a:pt x="100" y="1111"/>
                  </a:moveTo>
                  <a:lnTo>
                    <a:pt x="0" y="1111"/>
                  </a:lnTo>
                  <a:lnTo>
                    <a:pt x="0" y="202"/>
                  </a:lnTo>
                  <a:cubicBezTo>
                    <a:pt x="0" y="89"/>
                    <a:pt x="90" y="0"/>
                    <a:pt x="205" y="0"/>
                  </a:cubicBezTo>
                  <a:lnTo>
                    <a:pt x="469" y="0"/>
                  </a:lnTo>
                  <a:lnTo>
                    <a:pt x="469" y="100"/>
                  </a:lnTo>
                  <a:lnTo>
                    <a:pt x="205" y="100"/>
                  </a:lnTo>
                  <a:cubicBezTo>
                    <a:pt x="145" y="100"/>
                    <a:pt x="100" y="144"/>
                    <a:pt x="100" y="202"/>
                  </a:cubicBezTo>
                  <a:lnTo>
                    <a:pt x="100" y="1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394" name="Rectangle 1002">
              <a:extLst>
                <a:ext uri="{FF2B5EF4-FFF2-40B4-BE49-F238E27FC236}">
                  <a16:creationId xmlns:a16="http://schemas.microsoft.com/office/drawing/2014/main" id="{D455BD2B-ABB6-7A89-7DC2-50C64B3C6DC7}"/>
                </a:ext>
              </a:extLst>
            </p:cNvPr>
            <p:cNvSpPr>
              <a:spLocks noChangeArrowheads="1"/>
            </p:cNvSpPr>
            <p:nvPr/>
          </p:nvSpPr>
          <p:spPr bwMode="auto">
            <a:xfrm>
              <a:off x="4816476" y="6610350"/>
              <a:ext cx="1746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395" name="Rectangle 1003">
              <a:extLst>
                <a:ext uri="{FF2B5EF4-FFF2-40B4-BE49-F238E27FC236}">
                  <a16:creationId xmlns:a16="http://schemas.microsoft.com/office/drawing/2014/main" id="{9B3E279F-3D98-E8F9-BC50-25A1A2DD6BF0}"/>
                </a:ext>
              </a:extLst>
            </p:cNvPr>
            <p:cNvSpPr>
              <a:spLocks noChangeArrowheads="1"/>
            </p:cNvSpPr>
            <p:nvPr/>
          </p:nvSpPr>
          <p:spPr bwMode="auto">
            <a:xfrm>
              <a:off x="4816476" y="6654800"/>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396" name="Freeform 1004">
              <a:extLst>
                <a:ext uri="{FF2B5EF4-FFF2-40B4-BE49-F238E27FC236}">
                  <a16:creationId xmlns:a16="http://schemas.microsoft.com/office/drawing/2014/main" id="{808BB4AB-B59E-3EA6-2662-680FC18426FB}"/>
                </a:ext>
              </a:extLst>
            </p:cNvPr>
            <p:cNvSpPr>
              <a:spLocks/>
            </p:cNvSpPr>
            <p:nvPr/>
          </p:nvSpPr>
          <p:spPr bwMode="auto">
            <a:xfrm>
              <a:off x="4816476" y="6410325"/>
              <a:ext cx="379413" cy="363538"/>
            </a:xfrm>
            <a:custGeom>
              <a:avLst/>
              <a:gdLst>
                <a:gd name="T0" fmla="*/ 2042 w 2243"/>
                <a:gd name="T1" fmla="*/ 2150 h 2150"/>
                <a:gd name="T2" fmla="*/ 205 w 2243"/>
                <a:gd name="T3" fmla="*/ 2150 h 2150"/>
                <a:gd name="T4" fmla="*/ 0 w 2243"/>
                <a:gd name="T5" fmla="*/ 1947 h 2150"/>
                <a:gd name="T6" fmla="*/ 0 w 2243"/>
                <a:gd name="T7" fmla="*/ 1619 h 2150"/>
                <a:gd name="T8" fmla="*/ 100 w 2243"/>
                <a:gd name="T9" fmla="*/ 1619 h 2150"/>
                <a:gd name="T10" fmla="*/ 100 w 2243"/>
                <a:gd name="T11" fmla="*/ 1947 h 2150"/>
                <a:gd name="T12" fmla="*/ 205 w 2243"/>
                <a:gd name="T13" fmla="*/ 2050 h 2150"/>
                <a:gd name="T14" fmla="*/ 2042 w 2243"/>
                <a:gd name="T15" fmla="*/ 2050 h 2150"/>
                <a:gd name="T16" fmla="*/ 2143 w 2243"/>
                <a:gd name="T17" fmla="*/ 1947 h 2150"/>
                <a:gd name="T18" fmla="*/ 2143 w 2243"/>
                <a:gd name="T19" fmla="*/ 202 h 2150"/>
                <a:gd name="T20" fmla="*/ 2042 w 2243"/>
                <a:gd name="T21" fmla="*/ 100 h 2150"/>
                <a:gd name="T22" fmla="*/ 1935 w 2243"/>
                <a:gd name="T23" fmla="*/ 100 h 2150"/>
                <a:gd name="T24" fmla="*/ 1935 w 2243"/>
                <a:gd name="T25" fmla="*/ 0 h 2150"/>
                <a:gd name="T26" fmla="*/ 2042 w 2243"/>
                <a:gd name="T27" fmla="*/ 0 h 2150"/>
                <a:gd name="T28" fmla="*/ 2243 w 2243"/>
                <a:gd name="T29" fmla="*/ 202 h 2150"/>
                <a:gd name="T30" fmla="*/ 2243 w 2243"/>
                <a:gd name="T31" fmla="*/ 1947 h 2150"/>
                <a:gd name="T32" fmla="*/ 2042 w 2243"/>
                <a:gd name="T33" fmla="*/ 215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3" h="2150">
                  <a:moveTo>
                    <a:pt x="2042" y="2150"/>
                  </a:moveTo>
                  <a:lnTo>
                    <a:pt x="205" y="2150"/>
                  </a:lnTo>
                  <a:cubicBezTo>
                    <a:pt x="90" y="2150"/>
                    <a:pt x="0" y="2061"/>
                    <a:pt x="0" y="1947"/>
                  </a:cubicBezTo>
                  <a:lnTo>
                    <a:pt x="0" y="1619"/>
                  </a:lnTo>
                  <a:lnTo>
                    <a:pt x="100" y="1619"/>
                  </a:lnTo>
                  <a:lnTo>
                    <a:pt x="100" y="1947"/>
                  </a:lnTo>
                  <a:cubicBezTo>
                    <a:pt x="100" y="2004"/>
                    <a:pt x="146" y="2050"/>
                    <a:pt x="205" y="2050"/>
                  </a:cubicBezTo>
                  <a:lnTo>
                    <a:pt x="2042" y="2050"/>
                  </a:lnTo>
                  <a:cubicBezTo>
                    <a:pt x="2100" y="2050"/>
                    <a:pt x="2143" y="2006"/>
                    <a:pt x="2143" y="1947"/>
                  </a:cubicBezTo>
                  <a:lnTo>
                    <a:pt x="2143" y="202"/>
                  </a:lnTo>
                  <a:cubicBezTo>
                    <a:pt x="2143" y="143"/>
                    <a:pt x="2100" y="100"/>
                    <a:pt x="2042" y="100"/>
                  </a:cubicBezTo>
                  <a:lnTo>
                    <a:pt x="1935" y="100"/>
                  </a:lnTo>
                  <a:lnTo>
                    <a:pt x="1935" y="0"/>
                  </a:lnTo>
                  <a:lnTo>
                    <a:pt x="2042" y="0"/>
                  </a:lnTo>
                  <a:cubicBezTo>
                    <a:pt x="2154" y="0"/>
                    <a:pt x="2243" y="89"/>
                    <a:pt x="2243" y="202"/>
                  </a:cubicBezTo>
                  <a:lnTo>
                    <a:pt x="2243" y="1947"/>
                  </a:lnTo>
                  <a:cubicBezTo>
                    <a:pt x="2243" y="2061"/>
                    <a:pt x="2154" y="2150"/>
                    <a:pt x="2042" y="2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397" name="Rectangle 1005">
              <a:extLst>
                <a:ext uri="{FF2B5EF4-FFF2-40B4-BE49-F238E27FC236}">
                  <a16:creationId xmlns:a16="http://schemas.microsoft.com/office/drawing/2014/main" id="{A849A055-C00E-F900-3CD3-0D84D31218D6}"/>
                </a:ext>
              </a:extLst>
            </p:cNvPr>
            <p:cNvSpPr>
              <a:spLocks noChangeArrowheads="1"/>
            </p:cNvSpPr>
            <p:nvPr/>
          </p:nvSpPr>
          <p:spPr bwMode="auto">
            <a:xfrm>
              <a:off x="5073651" y="6410325"/>
              <a:ext cx="317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398" name="Rectangle 1006">
              <a:extLst>
                <a:ext uri="{FF2B5EF4-FFF2-40B4-BE49-F238E27FC236}">
                  <a16:creationId xmlns:a16="http://schemas.microsoft.com/office/drawing/2014/main" id="{6033DA80-BFEB-AC7C-7E06-F285B2C67DF4}"/>
                </a:ext>
              </a:extLst>
            </p:cNvPr>
            <p:cNvSpPr>
              <a:spLocks noChangeArrowheads="1"/>
            </p:cNvSpPr>
            <p:nvPr/>
          </p:nvSpPr>
          <p:spPr bwMode="auto">
            <a:xfrm>
              <a:off x="5003801" y="6410325"/>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399" name="Rectangle 1007">
              <a:extLst>
                <a:ext uri="{FF2B5EF4-FFF2-40B4-BE49-F238E27FC236}">
                  <a16:creationId xmlns:a16="http://schemas.microsoft.com/office/drawing/2014/main" id="{1EAA6E5E-D8EF-FC68-9C79-FF00E46DA059}"/>
                </a:ext>
              </a:extLst>
            </p:cNvPr>
            <p:cNvSpPr>
              <a:spLocks noChangeArrowheads="1"/>
            </p:cNvSpPr>
            <p:nvPr/>
          </p:nvSpPr>
          <p:spPr bwMode="auto">
            <a:xfrm>
              <a:off x="4935539" y="6410325"/>
              <a:ext cx="285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0" name="Freeform 1008">
              <a:extLst>
                <a:ext uri="{FF2B5EF4-FFF2-40B4-BE49-F238E27FC236}">
                  <a16:creationId xmlns:a16="http://schemas.microsoft.com/office/drawing/2014/main" id="{6605A532-C33C-4935-E24F-5EF0E89046EC}"/>
                </a:ext>
              </a:extLst>
            </p:cNvPr>
            <p:cNvSpPr>
              <a:spLocks noEditPoints="1"/>
            </p:cNvSpPr>
            <p:nvPr/>
          </p:nvSpPr>
          <p:spPr bwMode="auto">
            <a:xfrm>
              <a:off x="4878389" y="6386513"/>
              <a:ext cx="44450"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1" name="Freeform 1010">
              <a:extLst>
                <a:ext uri="{FF2B5EF4-FFF2-40B4-BE49-F238E27FC236}">
                  <a16:creationId xmlns:a16="http://schemas.microsoft.com/office/drawing/2014/main" id="{12321E91-02AA-EBA9-721E-E0F9DECF72B4}"/>
                </a:ext>
              </a:extLst>
            </p:cNvPr>
            <p:cNvSpPr>
              <a:spLocks noEditPoints="1"/>
            </p:cNvSpPr>
            <p:nvPr/>
          </p:nvSpPr>
          <p:spPr bwMode="auto">
            <a:xfrm>
              <a:off x="4948238" y="6386513"/>
              <a:ext cx="44450"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50" y="391"/>
                    <a:pt x="161" y="379"/>
                    <a:pt x="161" y="365"/>
                  </a:cubicBezTo>
                  <a:lnTo>
                    <a:pt x="161" y="126"/>
                  </a:lnTo>
                  <a:cubicBezTo>
                    <a:pt x="161" y="111"/>
                    <a:pt x="150" y="100"/>
                    <a:pt x="135" y="100"/>
                  </a:cubicBezTo>
                  <a:lnTo>
                    <a:pt x="126" y="100"/>
                  </a:lnTo>
                  <a:close/>
                  <a:moveTo>
                    <a:pt x="135" y="491"/>
                  </a:moveTo>
                  <a:lnTo>
                    <a:pt x="126" y="491"/>
                  </a:lnTo>
                  <a:cubicBezTo>
                    <a:pt x="57" y="491"/>
                    <a:pt x="0" y="434"/>
                    <a:pt x="0" y="365"/>
                  </a:cubicBezTo>
                  <a:lnTo>
                    <a:pt x="0" y="126"/>
                  </a:lnTo>
                  <a:cubicBezTo>
                    <a:pt x="0" y="56"/>
                    <a:pt x="57" y="0"/>
                    <a:pt x="126"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2" name="Freeform 1011">
              <a:extLst>
                <a:ext uri="{FF2B5EF4-FFF2-40B4-BE49-F238E27FC236}">
                  <a16:creationId xmlns:a16="http://schemas.microsoft.com/office/drawing/2014/main" id="{A67CFCF4-173D-3D51-AC79-A4BEA790951D}"/>
                </a:ext>
              </a:extLst>
            </p:cNvPr>
            <p:cNvSpPr>
              <a:spLocks noEditPoints="1"/>
            </p:cNvSpPr>
            <p:nvPr/>
          </p:nvSpPr>
          <p:spPr bwMode="auto">
            <a:xfrm>
              <a:off x="5019676" y="6386513"/>
              <a:ext cx="42863" cy="84138"/>
            </a:xfrm>
            <a:custGeom>
              <a:avLst/>
              <a:gdLst>
                <a:gd name="T0" fmla="*/ 127 w 261"/>
                <a:gd name="T1" fmla="*/ 100 h 491"/>
                <a:gd name="T2" fmla="*/ 100 w 261"/>
                <a:gd name="T3" fmla="*/ 126 h 491"/>
                <a:gd name="T4" fmla="*/ 100 w 261"/>
                <a:gd name="T5" fmla="*/ 365 h 491"/>
                <a:gd name="T6" fmla="*/ 127 w 261"/>
                <a:gd name="T7" fmla="*/ 391 h 491"/>
                <a:gd name="T8" fmla="*/ 135 w 261"/>
                <a:gd name="T9" fmla="*/ 391 h 491"/>
                <a:gd name="T10" fmla="*/ 161 w 261"/>
                <a:gd name="T11" fmla="*/ 365 h 491"/>
                <a:gd name="T12" fmla="*/ 161 w 261"/>
                <a:gd name="T13" fmla="*/ 126 h 491"/>
                <a:gd name="T14" fmla="*/ 135 w 261"/>
                <a:gd name="T15" fmla="*/ 100 h 491"/>
                <a:gd name="T16" fmla="*/ 127 w 261"/>
                <a:gd name="T17" fmla="*/ 100 h 491"/>
                <a:gd name="T18" fmla="*/ 135 w 261"/>
                <a:gd name="T19" fmla="*/ 491 h 491"/>
                <a:gd name="T20" fmla="*/ 127 w 261"/>
                <a:gd name="T21" fmla="*/ 491 h 491"/>
                <a:gd name="T22" fmla="*/ 0 w 261"/>
                <a:gd name="T23" fmla="*/ 365 h 491"/>
                <a:gd name="T24" fmla="*/ 0 w 261"/>
                <a:gd name="T25" fmla="*/ 126 h 491"/>
                <a:gd name="T26" fmla="*/ 127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7" y="100"/>
                  </a:moveTo>
                  <a:cubicBezTo>
                    <a:pt x="112" y="100"/>
                    <a:pt x="100" y="111"/>
                    <a:pt x="100" y="126"/>
                  </a:cubicBezTo>
                  <a:lnTo>
                    <a:pt x="100" y="365"/>
                  </a:lnTo>
                  <a:cubicBezTo>
                    <a:pt x="100" y="379"/>
                    <a:pt x="112" y="391"/>
                    <a:pt x="127" y="391"/>
                  </a:cubicBezTo>
                  <a:lnTo>
                    <a:pt x="135" y="391"/>
                  </a:lnTo>
                  <a:cubicBezTo>
                    <a:pt x="150" y="391"/>
                    <a:pt x="161" y="379"/>
                    <a:pt x="161" y="365"/>
                  </a:cubicBezTo>
                  <a:lnTo>
                    <a:pt x="161" y="126"/>
                  </a:lnTo>
                  <a:cubicBezTo>
                    <a:pt x="161" y="111"/>
                    <a:pt x="150" y="100"/>
                    <a:pt x="135" y="100"/>
                  </a:cubicBezTo>
                  <a:lnTo>
                    <a:pt x="127" y="100"/>
                  </a:lnTo>
                  <a:close/>
                  <a:moveTo>
                    <a:pt x="135" y="491"/>
                  </a:moveTo>
                  <a:lnTo>
                    <a:pt x="127" y="491"/>
                  </a:lnTo>
                  <a:cubicBezTo>
                    <a:pt x="57" y="491"/>
                    <a:pt x="0" y="434"/>
                    <a:pt x="0" y="365"/>
                  </a:cubicBezTo>
                  <a:lnTo>
                    <a:pt x="0" y="126"/>
                  </a:lnTo>
                  <a:cubicBezTo>
                    <a:pt x="0" y="56"/>
                    <a:pt x="57" y="0"/>
                    <a:pt x="127" y="0"/>
                  </a:cubicBezTo>
                  <a:lnTo>
                    <a:pt x="135" y="0"/>
                  </a:lnTo>
                  <a:cubicBezTo>
                    <a:pt x="205" y="0"/>
                    <a:pt x="261" y="56"/>
                    <a:pt x="261" y="126"/>
                  </a:cubicBezTo>
                  <a:lnTo>
                    <a:pt x="261" y="365"/>
                  </a:lnTo>
                  <a:cubicBezTo>
                    <a:pt x="261" y="434"/>
                    <a:pt x="205"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3" name="Freeform 1012">
              <a:extLst>
                <a:ext uri="{FF2B5EF4-FFF2-40B4-BE49-F238E27FC236}">
                  <a16:creationId xmlns:a16="http://schemas.microsoft.com/office/drawing/2014/main" id="{E6820FE7-1D4A-0680-1378-91F04AE98EA9}"/>
                </a:ext>
              </a:extLst>
            </p:cNvPr>
            <p:cNvSpPr>
              <a:spLocks noEditPoints="1"/>
            </p:cNvSpPr>
            <p:nvPr/>
          </p:nvSpPr>
          <p:spPr bwMode="auto">
            <a:xfrm>
              <a:off x="5089526" y="6386513"/>
              <a:ext cx="42863" cy="84138"/>
            </a:xfrm>
            <a:custGeom>
              <a:avLst/>
              <a:gdLst>
                <a:gd name="T0" fmla="*/ 126 w 261"/>
                <a:gd name="T1" fmla="*/ 100 h 491"/>
                <a:gd name="T2" fmla="*/ 100 w 261"/>
                <a:gd name="T3" fmla="*/ 126 h 491"/>
                <a:gd name="T4" fmla="*/ 100 w 261"/>
                <a:gd name="T5" fmla="*/ 365 h 491"/>
                <a:gd name="T6" fmla="*/ 126 w 261"/>
                <a:gd name="T7" fmla="*/ 391 h 491"/>
                <a:gd name="T8" fmla="*/ 135 w 261"/>
                <a:gd name="T9" fmla="*/ 391 h 491"/>
                <a:gd name="T10" fmla="*/ 161 w 261"/>
                <a:gd name="T11" fmla="*/ 365 h 491"/>
                <a:gd name="T12" fmla="*/ 161 w 261"/>
                <a:gd name="T13" fmla="*/ 126 h 491"/>
                <a:gd name="T14" fmla="*/ 135 w 261"/>
                <a:gd name="T15" fmla="*/ 100 h 491"/>
                <a:gd name="T16" fmla="*/ 126 w 261"/>
                <a:gd name="T17" fmla="*/ 100 h 491"/>
                <a:gd name="T18" fmla="*/ 135 w 261"/>
                <a:gd name="T19" fmla="*/ 491 h 491"/>
                <a:gd name="T20" fmla="*/ 126 w 261"/>
                <a:gd name="T21" fmla="*/ 491 h 491"/>
                <a:gd name="T22" fmla="*/ 0 w 261"/>
                <a:gd name="T23" fmla="*/ 365 h 491"/>
                <a:gd name="T24" fmla="*/ 0 w 261"/>
                <a:gd name="T25" fmla="*/ 126 h 491"/>
                <a:gd name="T26" fmla="*/ 126 w 261"/>
                <a:gd name="T27" fmla="*/ 0 h 491"/>
                <a:gd name="T28" fmla="*/ 135 w 261"/>
                <a:gd name="T29" fmla="*/ 0 h 491"/>
                <a:gd name="T30" fmla="*/ 261 w 261"/>
                <a:gd name="T31" fmla="*/ 126 h 491"/>
                <a:gd name="T32" fmla="*/ 261 w 261"/>
                <a:gd name="T33" fmla="*/ 365 h 491"/>
                <a:gd name="T34" fmla="*/ 135 w 261"/>
                <a:gd name="T3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491">
                  <a:moveTo>
                    <a:pt x="126" y="100"/>
                  </a:moveTo>
                  <a:cubicBezTo>
                    <a:pt x="112" y="100"/>
                    <a:pt x="100" y="111"/>
                    <a:pt x="100" y="126"/>
                  </a:cubicBezTo>
                  <a:lnTo>
                    <a:pt x="100" y="365"/>
                  </a:lnTo>
                  <a:cubicBezTo>
                    <a:pt x="100" y="379"/>
                    <a:pt x="112" y="391"/>
                    <a:pt x="126" y="391"/>
                  </a:cubicBezTo>
                  <a:lnTo>
                    <a:pt x="135" y="391"/>
                  </a:lnTo>
                  <a:cubicBezTo>
                    <a:pt x="149" y="391"/>
                    <a:pt x="161" y="379"/>
                    <a:pt x="161" y="365"/>
                  </a:cubicBezTo>
                  <a:lnTo>
                    <a:pt x="161" y="126"/>
                  </a:lnTo>
                  <a:cubicBezTo>
                    <a:pt x="161" y="111"/>
                    <a:pt x="149" y="100"/>
                    <a:pt x="135" y="100"/>
                  </a:cubicBezTo>
                  <a:lnTo>
                    <a:pt x="126" y="100"/>
                  </a:lnTo>
                  <a:close/>
                  <a:moveTo>
                    <a:pt x="135" y="491"/>
                  </a:moveTo>
                  <a:lnTo>
                    <a:pt x="126" y="491"/>
                  </a:lnTo>
                  <a:cubicBezTo>
                    <a:pt x="56" y="491"/>
                    <a:pt x="0" y="434"/>
                    <a:pt x="0" y="365"/>
                  </a:cubicBezTo>
                  <a:lnTo>
                    <a:pt x="0" y="126"/>
                  </a:lnTo>
                  <a:cubicBezTo>
                    <a:pt x="0" y="56"/>
                    <a:pt x="56" y="0"/>
                    <a:pt x="126" y="0"/>
                  </a:cubicBezTo>
                  <a:lnTo>
                    <a:pt x="135" y="0"/>
                  </a:lnTo>
                  <a:cubicBezTo>
                    <a:pt x="204" y="0"/>
                    <a:pt x="261" y="56"/>
                    <a:pt x="261" y="126"/>
                  </a:cubicBezTo>
                  <a:lnTo>
                    <a:pt x="261" y="365"/>
                  </a:lnTo>
                  <a:cubicBezTo>
                    <a:pt x="261" y="434"/>
                    <a:pt x="204" y="491"/>
                    <a:pt x="135" y="4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4" name="Rectangle 1013">
              <a:extLst>
                <a:ext uri="{FF2B5EF4-FFF2-40B4-BE49-F238E27FC236}">
                  <a16:creationId xmlns:a16="http://schemas.microsoft.com/office/drawing/2014/main" id="{2C49A727-BB4D-8729-A432-25FDA4419697}"/>
                </a:ext>
              </a:extLst>
            </p:cNvPr>
            <p:cNvSpPr>
              <a:spLocks noChangeArrowheads="1"/>
            </p:cNvSpPr>
            <p:nvPr/>
          </p:nvSpPr>
          <p:spPr bwMode="auto">
            <a:xfrm>
              <a:off x="5140326" y="6575425"/>
              <a:ext cx="15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5" name="Freeform 1014">
              <a:extLst>
                <a:ext uri="{FF2B5EF4-FFF2-40B4-BE49-F238E27FC236}">
                  <a16:creationId xmlns:a16="http://schemas.microsoft.com/office/drawing/2014/main" id="{D7EC1B69-9F1E-9DBB-D512-B02E9531C7E1}"/>
                </a:ext>
              </a:extLst>
            </p:cNvPr>
            <p:cNvSpPr>
              <a:spLocks/>
            </p:cNvSpPr>
            <p:nvPr/>
          </p:nvSpPr>
          <p:spPr bwMode="auto">
            <a:xfrm>
              <a:off x="4851401" y="6492875"/>
              <a:ext cx="304800" cy="242888"/>
            </a:xfrm>
            <a:custGeom>
              <a:avLst/>
              <a:gdLst>
                <a:gd name="T0" fmla="*/ 192 w 192"/>
                <a:gd name="T1" fmla="*/ 153 h 153"/>
                <a:gd name="T2" fmla="*/ 0 w 192"/>
                <a:gd name="T3" fmla="*/ 153 h 153"/>
                <a:gd name="T4" fmla="*/ 0 w 192"/>
                <a:gd name="T5" fmla="*/ 0 h 153"/>
                <a:gd name="T6" fmla="*/ 192 w 192"/>
                <a:gd name="T7" fmla="*/ 0 h 153"/>
                <a:gd name="T8" fmla="*/ 192 w 192"/>
                <a:gd name="T9" fmla="*/ 45 h 153"/>
                <a:gd name="T10" fmla="*/ 182 w 192"/>
                <a:gd name="T11" fmla="*/ 45 h 153"/>
                <a:gd name="T12" fmla="*/ 182 w 192"/>
                <a:gd name="T13" fmla="*/ 10 h 153"/>
                <a:gd name="T14" fmla="*/ 11 w 192"/>
                <a:gd name="T15" fmla="*/ 10 h 153"/>
                <a:gd name="T16" fmla="*/ 11 w 192"/>
                <a:gd name="T17" fmla="*/ 142 h 153"/>
                <a:gd name="T18" fmla="*/ 182 w 192"/>
                <a:gd name="T19" fmla="*/ 142 h 153"/>
                <a:gd name="T20" fmla="*/ 182 w 192"/>
                <a:gd name="T21" fmla="*/ 100 h 153"/>
                <a:gd name="T22" fmla="*/ 192 w 192"/>
                <a:gd name="T23" fmla="*/ 100 h 153"/>
                <a:gd name="T24" fmla="*/ 192 w 192"/>
                <a:gd name="T25"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53">
                  <a:moveTo>
                    <a:pt x="192" y="153"/>
                  </a:moveTo>
                  <a:lnTo>
                    <a:pt x="0" y="153"/>
                  </a:lnTo>
                  <a:lnTo>
                    <a:pt x="0" y="0"/>
                  </a:lnTo>
                  <a:lnTo>
                    <a:pt x="192" y="0"/>
                  </a:lnTo>
                  <a:lnTo>
                    <a:pt x="192" y="45"/>
                  </a:lnTo>
                  <a:lnTo>
                    <a:pt x="182" y="45"/>
                  </a:lnTo>
                  <a:lnTo>
                    <a:pt x="182" y="10"/>
                  </a:lnTo>
                  <a:lnTo>
                    <a:pt x="11" y="10"/>
                  </a:lnTo>
                  <a:lnTo>
                    <a:pt x="11" y="142"/>
                  </a:lnTo>
                  <a:lnTo>
                    <a:pt x="182" y="142"/>
                  </a:lnTo>
                  <a:lnTo>
                    <a:pt x="182" y="100"/>
                  </a:lnTo>
                  <a:lnTo>
                    <a:pt x="192" y="100"/>
                  </a:lnTo>
                  <a:lnTo>
                    <a:pt x="192"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6" name="Rectangle 1015">
              <a:extLst>
                <a:ext uri="{FF2B5EF4-FFF2-40B4-BE49-F238E27FC236}">
                  <a16:creationId xmlns:a16="http://schemas.microsoft.com/office/drawing/2014/main" id="{DD55F9BD-5355-7096-D049-024C0A8B9AA5}"/>
                </a:ext>
              </a:extLst>
            </p:cNvPr>
            <p:cNvSpPr>
              <a:spLocks noChangeArrowheads="1"/>
            </p:cNvSpPr>
            <p:nvPr/>
          </p:nvSpPr>
          <p:spPr bwMode="auto">
            <a:xfrm>
              <a:off x="5140326" y="6619875"/>
              <a:ext cx="1587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7" name="Rectangle 1016">
              <a:extLst>
                <a:ext uri="{FF2B5EF4-FFF2-40B4-BE49-F238E27FC236}">
                  <a16:creationId xmlns:a16="http://schemas.microsoft.com/office/drawing/2014/main" id="{2ADE8636-C27E-2B4C-B156-EB6CA8F20A5D}"/>
                </a:ext>
              </a:extLst>
            </p:cNvPr>
            <p:cNvSpPr>
              <a:spLocks noChangeArrowheads="1"/>
            </p:cNvSpPr>
            <p:nvPr/>
          </p:nvSpPr>
          <p:spPr bwMode="auto">
            <a:xfrm>
              <a:off x="5073651" y="654208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8" name="Rectangle 1017">
              <a:extLst>
                <a:ext uri="{FF2B5EF4-FFF2-40B4-BE49-F238E27FC236}">
                  <a16:creationId xmlns:a16="http://schemas.microsoft.com/office/drawing/2014/main" id="{1AF5456A-6A71-810C-9EAF-81B1C7425069}"/>
                </a:ext>
              </a:extLst>
            </p:cNvPr>
            <p:cNvSpPr>
              <a:spLocks noChangeArrowheads="1"/>
            </p:cNvSpPr>
            <p:nvPr/>
          </p:nvSpPr>
          <p:spPr bwMode="auto">
            <a:xfrm>
              <a:off x="5011738" y="654208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09" name="Rectangle 1018">
              <a:extLst>
                <a:ext uri="{FF2B5EF4-FFF2-40B4-BE49-F238E27FC236}">
                  <a16:creationId xmlns:a16="http://schemas.microsoft.com/office/drawing/2014/main" id="{8BE3CB28-0A2D-D87B-46A1-0F5547B52DD3}"/>
                </a:ext>
              </a:extLst>
            </p:cNvPr>
            <p:cNvSpPr>
              <a:spLocks noChangeArrowheads="1"/>
            </p:cNvSpPr>
            <p:nvPr/>
          </p:nvSpPr>
          <p:spPr bwMode="auto">
            <a:xfrm>
              <a:off x="5073651" y="658653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0" name="Rectangle 1019">
              <a:extLst>
                <a:ext uri="{FF2B5EF4-FFF2-40B4-BE49-F238E27FC236}">
                  <a16:creationId xmlns:a16="http://schemas.microsoft.com/office/drawing/2014/main" id="{52A4B20E-6BF3-1694-ED1F-47C0628B7786}"/>
                </a:ext>
              </a:extLst>
            </p:cNvPr>
            <p:cNvSpPr>
              <a:spLocks noChangeArrowheads="1"/>
            </p:cNvSpPr>
            <p:nvPr/>
          </p:nvSpPr>
          <p:spPr bwMode="auto">
            <a:xfrm>
              <a:off x="5011738" y="6586538"/>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1" name="Rectangle 1020">
              <a:extLst>
                <a:ext uri="{FF2B5EF4-FFF2-40B4-BE49-F238E27FC236}">
                  <a16:creationId xmlns:a16="http://schemas.microsoft.com/office/drawing/2014/main" id="{7A8D764C-E58B-98B8-414F-E4928DD31992}"/>
                </a:ext>
              </a:extLst>
            </p:cNvPr>
            <p:cNvSpPr>
              <a:spLocks noChangeArrowheads="1"/>
            </p:cNvSpPr>
            <p:nvPr/>
          </p:nvSpPr>
          <p:spPr bwMode="auto">
            <a:xfrm>
              <a:off x="4953001" y="6586538"/>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2" name="Rectangle 1021">
              <a:extLst>
                <a:ext uri="{FF2B5EF4-FFF2-40B4-BE49-F238E27FC236}">
                  <a16:creationId xmlns:a16="http://schemas.microsoft.com/office/drawing/2014/main" id="{9C15AAF7-C40E-3AFB-1944-62D4966431C6}"/>
                </a:ext>
              </a:extLst>
            </p:cNvPr>
            <p:cNvSpPr>
              <a:spLocks noChangeArrowheads="1"/>
            </p:cNvSpPr>
            <p:nvPr/>
          </p:nvSpPr>
          <p:spPr bwMode="auto">
            <a:xfrm>
              <a:off x="4891088" y="6586538"/>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3" name="Rectangle 1022">
              <a:extLst>
                <a:ext uri="{FF2B5EF4-FFF2-40B4-BE49-F238E27FC236}">
                  <a16:creationId xmlns:a16="http://schemas.microsoft.com/office/drawing/2014/main" id="{381DBDA9-45D2-99C9-7A43-CDB34B3A94A1}"/>
                </a:ext>
              </a:extLst>
            </p:cNvPr>
            <p:cNvSpPr>
              <a:spLocks noChangeArrowheads="1"/>
            </p:cNvSpPr>
            <p:nvPr/>
          </p:nvSpPr>
          <p:spPr bwMode="auto">
            <a:xfrm>
              <a:off x="5073651" y="6632575"/>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4" name="Rectangle 1023">
              <a:extLst>
                <a:ext uri="{FF2B5EF4-FFF2-40B4-BE49-F238E27FC236}">
                  <a16:creationId xmlns:a16="http://schemas.microsoft.com/office/drawing/2014/main" id="{C1FFAD85-644D-36FE-4A11-1DD7DE5AA709}"/>
                </a:ext>
              </a:extLst>
            </p:cNvPr>
            <p:cNvSpPr>
              <a:spLocks noChangeArrowheads="1"/>
            </p:cNvSpPr>
            <p:nvPr/>
          </p:nvSpPr>
          <p:spPr bwMode="auto">
            <a:xfrm>
              <a:off x="5011738" y="6632575"/>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5" name="Rectangle 1024">
              <a:extLst>
                <a:ext uri="{FF2B5EF4-FFF2-40B4-BE49-F238E27FC236}">
                  <a16:creationId xmlns:a16="http://schemas.microsoft.com/office/drawing/2014/main" id="{B4EA78F3-4971-C864-2D83-B708DBC1DE32}"/>
                </a:ext>
              </a:extLst>
            </p:cNvPr>
            <p:cNvSpPr>
              <a:spLocks noChangeArrowheads="1"/>
            </p:cNvSpPr>
            <p:nvPr/>
          </p:nvSpPr>
          <p:spPr bwMode="auto">
            <a:xfrm>
              <a:off x="4953001" y="6632575"/>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6" name="Rectangle 1025">
              <a:extLst>
                <a:ext uri="{FF2B5EF4-FFF2-40B4-BE49-F238E27FC236}">
                  <a16:creationId xmlns:a16="http://schemas.microsoft.com/office/drawing/2014/main" id="{A36926AD-EDF4-F8D7-3CD5-255270CB9344}"/>
                </a:ext>
              </a:extLst>
            </p:cNvPr>
            <p:cNvSpPr>
              <a:spLocks noChangeArrowheads="1"/>
            </p:cNvSpPr>
            <p:nvPr/>
          </p:nvSpPr>
          <p:spPr bwMode="auto">
            <a:xfrm>
              <a:off x="4891088" y="6632575"/>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7" name="Rectangle 1026">
              <a:extLst>
                <a:ext uri="{FF2B5EF4-FFF2-40B4-BE49-F238E27FC236}">
                  <a16:creationId xmlns:a16="http://schemas.microsoft.com/office/drawing/2014/main" id="{1595D4CA-3C0E-8586-1408-A1C165D5E60B}"/>
                </a:ext>
              </a:extLst>
            </p:cNvPr>
            <p:cNvSpPr>
              <a:spLocks noChangeArrowheads="1"/>
            </p:cNvSpPr>
            <p:nvPr/>
          </p:nvSpPr>
          <p:spPr bwMode="auto">
            <a:xfrm>
              <a:off x="5073651" y="6678613"/>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8" name="Rectangle 1027">
              <a:extLst>
                <a:ext uri="{FF2B5EF4-FFF2-40B4-BE49-F238E27FC236}">
                  <a16:creationId xmlns:a16="http://schemas.microsoft.com/office/drawing/2014/main" id="{4AC50319-93C8-DC4B-AB3F-4F53303D8EE4}"/>
                </a:ext>
              </a:extLst>
            </p:cNvPr>
            <p:cNvSpPr>
              <a:spLocks noChangeArrowheads="1"/>
            </p:cNvSpPr>
            <p:nvPr/>
          </p:nvSpPr>
          <p:spPr bwMode="auto">
            <a:xfrm>
              <a:off x="5011738" y="6678613"/>
              <a:ext cx="46038"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19" name="Rectangle 1028">
              <a:extLst>
                <a:ext uri="{FF2B5EF4-FFF2-40B4-BE49-F238E27FC236}">
                  <a16:creationId xmlns:a16="http://schemas.microsoft.com/office/drawing/2014/main" id="{013160C7-DDD2-5D34-31F1-925EDA0FB40B}"/>
                </a:ext>
              </a:extLst>
            </p:cNvPr>
            <p:cNvSpPr>
              <a:spLocks noChangeArrowheads="1"/>
            </p:cNvSpPr>
            <p:nvPr/>
          </p:nvSpPr>
          <p:spPr bwMode="auto">
            <a:xfrm>
              <a:off x="4953001" y="6678613"/>
              <a:ext cx="444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20" name="Rectangle 1029">
              <a:extLst>
                <a:ext uri="{FF2B5EF4-FFF2-40B4-BE49-F238E27FC236}">
                  <a16:creationId xmlns:a16="http://schemas.microsoft.com/office/drawing/2014/main" id="{3A7813CD-294A-C28C-BCFA-9A10EE8E790A}"/>
                </a:ext>
              </a:extLst>
            </p:cNvPr>
            <p:cNvSpPr>
              <a:spLocks noChangeArrowheads="1"/>
            </p:cNvSpPr>
            <p:nvPr/>
          </p:nvSpPr>
          <p:spPr bwMode="auto">
            <a:xfrm>
              <a:off x="4891088" y="6678613"/>
              <a:ext cx="476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21" name="Freeform 1030">
              <a:extLst>
                <a:ext uri="{FF2B5EF4-FFF2-40B4-BE49-F238E27FC236}">
                  <a16:creationId xmlns:a16="http://schemas.microsoft.com/office/drawing/2014/main" id="{D4F11A73-CC3E-6C6D-163C-871AB5941489}"/>
                </a:ext>
              </a:extLst>
            </p:cNvPr>
            <p:cNvSpPr>
              <a:spLocks noEditPoints="1"/>
            </p:cNvSpPr>
            <p:nvPr/>
          </p:nvSpPr>
          <p:spPr bwMode="auto">
            <a:xfrm>
              <a:off x="4929188" y="6515100"/>
              <a:ext cx="71438" cy="63500"/>
            </a:xfrm>
            <a:custGeom>
              <a:avLst/>
              <a:gdLst>
                <a:gd name="T0" fmla="*/ 100 w 423"/>
                <a:gd name="T1" fmla="*/ 276 h 376"/>
                <a:gd name="T2" fmla="*/ 323 w 423"/>
                <a:gd name="T3" fmla="*/ 276 h 376"/>
                <a:gd name="T4" fmla="*/ 323 w 423"/>
                <a:gd name="T5" fmla="*/ 100 h 376"/>
                <a:gd name="T6" fmla="*/ 100 w 423"/>
                <a:gd name="T7" fmla="*/ 100 h 376"/>
                <a:gd name="T8" fmla="*/ 100 w 423"/>
                <a:gd name="T9" fmla="*/ 276 h 376"/>
                <a:gd name="T10" fmla="*/ 423 w 423"/>
                <a:gd name="T11" fmla="*/ 376 h 376"/>
                <a:gd name="T12" fmla="*/ 0 w 423"/>
                <a:gd name="T13" fmla="*/ 376 h 376"/>
                <a:gd name="T14" fmla="*/ 0 w 423"/>
                <a:gd name="T15" fmla="*/ 0 h 376"/>
                <a:gd name="T16" fmla="*/ 423 w 423"/>
                <a:gd name="T17" fmla="*/ 0 h 376"/>
                <a:gd name="T18" fmla="*/ 423 w 423"/>
                <a:gd name="T19"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376">
                  <a:moveTo>
                    <a:pt x="100" y="276"/>
                  </a:moveTo>
                  <a:lnTo>
                    <a:pt x="323" y="276"/>
                  </a:lnTo>
                  <a:lnTo>
                    <a:pt x="323" y="100"/>
                  </a:lnTo>
                  <a:lnTo>
                    <a:pt x="100" y="100"/>
                  </a:lnTo>
                  <a:lnTo>
                    <a:pt x="100" y="276"/>
                  </a:lnTo>
                  <a:close/>
                  <a:moveTo>
                    <a:pt x="423" y="376"/>
                  </a:moveTo>
                  <a:lnTo>
                    <a:pt x="0" y="376"/>
                  </a:lnTo>
                  <a:lnTo>
                    <a:pt x="0" y="0"/>
                  </a:lnTo>
                  <a:lnTo>
                    <a:pt x="423" y="0"/>
                  </a:lnTo>
                  <a:lnTo>
                    <a:pt x="423"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grpSp>
      <p:grpSp>
        <p:nvGrpSpPr>
          <p:cNvPr id="422" name="Map4" descr="{&quot;Key&quot;:&quot;POWER_USER_SHAPE_ICON&quot;,&quot;Value&quot;:&quot;POWER_USER_SHAPE_ICON_STYLE_1&quot;}">
            <a:extLst>
              <a:ext uri="{FF2B5EF4-FFF2-40B4-BE49-F238E27FC236}">
                <a16:creationId xmlns:a16="http://schemas.microsoft.com/office/drawing/2014/main" id="{AEEA14C0-1EEF-AAA1-B7AF-5DC5A48E0DE0}"/>
              </a:ext>
            </a:extLst>
          </p:cNvPr>
          <p:cNvGrpSpPr>
            <a:grpSpLocks noChangeAspect="1"/>
          </p:cNvGrpSpPr>
          <p:nvPr/>
        </p:nvGrpSpPr>
        <p:grpSpPr>
          <a:xfrm>
            <a:off x="1057064" y="2101517"/>
            <a:ext cx="633424" cy="529584"/>
            <a:chOff x="6542468" y="2200801"/>
            <a:chExt cx="3821122" cy="3194708"/>
          </a:xfrm>
          <a:solidFill>
            <a:srgbClr val="232451"/>
          </a:solidFill>
        </p:grpSpPr>
        <p:sp>
          <p:nvSpPr>
            <p:cNvPr id="423" name="Freeform: Shape 422">
              <a:extLst>
                <a:ext uri="{FF2B5EF4-FFF2-40B4-BE49-F238E27FC236}">
                  <a16:creationId xmlns:a16="http://schemas.microsoft.com/office/drawing/2014/main" id="{3567C5E6-65F6-C307-E82E-13E03C76A934}"/>
                </a:ext>
              </a:extLst>
            </p:cNvPr>
            <p:cNvSpPr>
              <a:spLocks/>
            </p:cNvSpPr>
            <p:nvPr/>
          </p:nvSpPr>
          <p:spPr bwMode="auto">
            <a:xfrm>
              <a:off x="8421705" y="2579866"/>
              <a:ext cx="1002260" cy="2813612"/>
            </a:xfrm>
            <a:custGeom>
              <a:avLst/>
              <a:gdLst>
                <a:gd name="connsiteX0" fmla="*/ 938624 w 1002260"/>
                <a:gd name="connsiteY0" fmla="*/ 4906 h 2813612"/>
                <a:gd name="connsiteX1" fmla="*/ 981048 w 1002260"/>
                <a:gd name="connsiteY1" fmla="*/ 7613 h 2813612"/>
                <a:gd name="connsiteX2" fmla="*/ 1002260 w 1002260"/>
                <a:gd name="connsiteY2" fmla="*/ 45523 h 2813612"/>
                <a:gd name="connsiteX3" fmla="*/ 1002260 w 1002260"/>
                <a:gd name="connsiteY3" fmla="*/ 2287614 h 2813612"/>
                <a:gd name="connsiteX4" fmla="*/ 978397 w 1002260"/>
                <a:gd name="connsiteY4" fmla="*/ 2328232 h 2813612"/>
                <a:gd name="connsiteX5" fmla="*/ 63636 w 1002260"/>
                <a:gd name="connsiteY5" fmla="*/ 2807520 h 2813612"/>
                <a:gd name="connsiteX6" fmla="*/ 21212 w 1002260"/>
                <a:gd name="connsiteY6" fmla="*/ 2807520 h 2813612"/>
                <a:gd name="connsiteX7" fmla="*/ 0 w 1002260"/>
                <a:gd name="connsiteY7" fmla="*/ 2766902 h 2813612"/>
                <a:gd name="connsiteX8" fmla="*/ 0 w 1002260"/>
                <a:gd name="connsiteY8" fmla="*/ 554778 h 2813612"/>
                <a:gd name="connsiteX9" fmla="*/ 87499 w 1002260"/>
                <a:gd name="connsiteY9" fmla="*/ 722192 h 2813612"/>
                <a:gd name="connsiteX10" fmla="*/ 87499 w 1002260"/>
                <a:gd name="connsiteY10" fmla="*/ 2693790 h 2813612"/>
                <a:gd name="connsiteX11" fmla="*/ 914761 w 1002260"/>
                <a:gd name="connsiteY11" fmla="*/ 2259524 h 2813612"/>
                <a:gd name="connsiteX12" fmla="*/ 914761 w 1002260"/>
                <a:gd name="connsiteY12" fmla="*/ 2287614 h 2813612"/>
                <a:gd name="connsiteX13" fmla="*/ 957185 w 1002260"/>
                <a:gd name="connsiteY13" fmla="*/ 2287614 h 2813612"/>
                <a:gd name="connsiteX14" fmla="*/ 938624 w 1002260"/>
                <a:gd name="connsiteY14" fmla="*/ 2246997 h 2813612"/>
                <a:gd name="connsiteX15" fmla="*/ 914761 w 1002260"/>
                <a:gd name="connsiteY15" fmla="*/ 2259524 h 2813612"/>
                <a:gd name="connsiteX16" fmla="*/ 914761 w 1002260"/>
                <a:gd name="connsiteY16" fmla="*/ 118635 h 2813612"/>
                <a:gd name="connsiteX17" fmla="*/ 893089 w 1002260"/>
                <a:gd name="connsiteY17" fmla="*/ 130056 h 2813612"/>
                <a:gd name="connsiteX18" fmla="*/ 886105 w 1002260"/>
                <a:gd name="connsiteY18" fmla="*/ 58514 h 2813612"/>
                <a:gd name="connsiteX19" fmla="*/ 879352 w 1002260"/>
                <a:gd name="connsiteY19" fmla="*/ 36137 h 2813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2260" h="2813612">
                  <a:moveTo>
                    <a:pt x="938624" y="4906"/>
                  </a:moveTo>
                  <a:cubicBezTo>
                    <a:pt x="951882" y="-3218"/>
                    <a:pt x="967791" y="-510"/>
                    <a:pt x="981048" y="7613"/>
                  </a:cubicBezTo>
                  <a:cubicBezTo>
                    <a:pt x="994306" y="15737"/>
                    <a:pt x="1002260" y="29276"/>
                    <a:pt x="1002260" y="45523"/>
                  </a:cubicBezTo>
                  <a:lnTo>
                    <a:pt x="1002260" y="2287614"/>
                  </a:lnTo>
                  <a:cubicBezTo>
                    <a:pt x="1002260" y="2303861"/>
                    <a:pt x="991654" y="2320108"/>
                    <a:pt x="978397" y="2328232"/>
                  </a:cubicBezTo>
                  <a:lnTo>
                    <a:pt x="63636" y="2807520"/>
                  </a:lnTo>
                  <a:cubicBezTo>
                    <a:pt x="50378" y="2815643"/>
                    <a:pt x="34469" y="2815643"/>
                    <a:pt x="21212" y="2807520"/>
                  </a:cubicBezTo>
                  <a:cubicBezTo>
                    <a:pt x="7954" y="2799396"/>
                    <a:pt x="0" y="2783149"/>
                    <a:pt x="0" y="2766902"/>
                  </a:cubicBezTo>
                  <a:lnTo>
                    <a:pt x="0" y="554778"/>
                  </a:lnTo>
                  <a:lnTo>
                    <a:pt x="87499" y="722192"/>
                  </a:lnTo>
                  <a:lnTo>
                    <a:pt x="87499" y="2693790"/>
                  </a:lnTo>
                  <a:lnTo>
                    <a:pt x="914761" y="2259524"/>
                  </a:lnTo>
                  <a:lnTo>
                    <a:pt x="914761" y="2287614"/>
                  </a:lnTo>
                  <a:lnTo>
                    <a:pt x="957185" y="2287614"/>
                  </a:lnTo>
                  <a:lnTo>
                    <a:pt x="938624" y="2246997"/>
                  </a:lnTo>
                  <a:lnTo>
                    <a:pt x="914761" y="2259524"/>
                  </a:lnTo>
                  <a:lnTo>
                    <a:pt x="914761" y="118635"/>
                  </a:lnTo>
                  <a:lnTo>
                    <a:pt x="893089" y="130056"/>
                  </a:lnTo>
                  <a:lnTo>
                    <a:pt x="886105" y="58514"/>
                  </a:lnTo>
                  <a:lnTo>
                    <a:pt x="879352" y="36137"/>
                  </a:lnTo>
                  <a:close/>
                </a:path>
              </a:pathLst>
            </a:custGeom>
            <a:grpFill/>
            <a:ln>
              <a:noFill/>
            </a:ln>
          </p:spPr>
          <p:txBody>
            <a:bodyPr vert="horz" wrap="square" lIns="91440" tIns="45720" rIns="91440" bIns="45720" numCol="1" anchor="t" anchorCtr="0" compatLnSpc="1">
              <a:prstTxWarp prst="textNoShape">
                <a:avLst/>
              </a:prstTxWarp>
              <a:noAutofit/>
            </a:bodyPr>
            <a:lstStyle/>
            <a:p>
              <a:pPr defTabSz="914378">
                <a:defRPr/>
              </a:pPr>
              <a:endParaRPr lang="fr-FR">
                <a:solidFill>
                  <a:prstClr val="black"/>
                </a:solidFill>
                <a:latin typeface="Calibri" panose="020F0502020204030204"/>
              </a:endParaRPr>
            </a:p>
          </p:txBody>
        </p:sp>
        <p:sp>
          <p:nvSpPr>
            <p:cNvPr id="424" name="Freeform: Shape 423">
              <a:extLst>
                <a:ext uri="{FF2B5EF4-FFF2-40B4-BE49-F238E27FC236}">
                  <a16:creationId xmlns:a16="http://schemas.microsoft.com/office/drawing/2014/main" id="{A02FA5A6-9C03-1A87-7A16-DB8B0F957C0D}"/>
                </a:ext>
              </a:extLst>
            </p:cNvPr>
            <p:cNvSpPr>
              <a:spLocks/>
            </p:cNvSpPr>
            <p:nvPr/>
          </p:nvSpPr>
          <p:spPr bwMode="auto">
            <a:xfrm>
              <a:off x="8421705" y="2734070"/>
              <a:ext cx="1002260" cy="2659408"/>
            </a:xfrm>
            <a:custGeom>
              <a:avLst/>
              <a:gdLst>
                <a:gd name="connsiteX0" fmla="*/ 1002260 w 1002260"/>
                <a:gd name="connsiteY0" fmla="*/ 1344634 h 2659408"/>
                <a:gd name="connsiteX1" fmla="*/ 1002260 w 1002260"/>
                <a:gd name="connsiteY1" fmla="*/ 1534806 h 2659408"/>
                <a:gd name="connsiteX2" fmla="*/ 984972 w 1002260"/>
                <a:gd name="connsiteY2" fmla="*/ 1354064 h 2659408"/>
                <a:gd name="connsiteX3" fmla="*/ 0 w 1002260"/>
                <a:gd name="connsiteY3" fmla="*/ 1121030 h 2659408"/>
                <a:gd name="connsiteX4" fmla="*/ 87499 w 1002260"/>
                <a:gd name="connsiteY4" fmla="*/ 1158435 h 2659408"/>
                <a:gd name="connsiteX5" fmla="*/ 87499 w 1002260"/>
                <a:gd name="connsiteY5" fmla="*/ 2539586 h 2659408"/>
                <a:gd name="connsiteX6" fmla="*/ 914761 w 1002260"/>
                <a:gd name="connsiteY6" fmla="*/ 2105320 h 2659408"/>
                <a:gd name="connsiteX7" fmla="*/ 914761 w 1002260"/>
                <a:gd name="connsiteY7" fmla="*/ 2133410 h 2659408"/>
                <a:gd name="connsiteX8" fmla="*/ 957185 w 1002260"/>
                <a:gd name="connsiteY8" fmla="*/ 2133410 h 2659408"/>
                <a:gd name="connsiteX9" fmla="*/ 938624 w 1002260"/>
                <a:gd name="connsiteY9" fmla="*/ 2092793 h 2659408"/>
                <a:gd name="connsiteX10" fmla="*/ 914761 w 1002260"/>
                <a:gd name="connsiteY10" fmla="*/ 2105320 h 2659408"/>
                <a:gd name="connsiteX11" fmla="*/ 914761 w 1002260"/>
                <a:gd name="connsiteY11" fmla="*/ 1512089 h 2659408"/>
                <a:gd name="connsiteX12" fmla="*/ 1002260 w 1002260"/>
                <a:gd name="connsiteY12" fmla="*/ 1549495 h 2659408"/>
                <a:gd name="connsiteX13" fmla="*/ 1002260 w 1002260"/>
                <a:gd name="connsiteY13" fmla="*/ 2133410 h 2659408"/>
                <a:gd name="connsiteX14" fmla="*/ 978397 w 1002260"/>
                <a:gd name="connsiteY14" fmla="*/ 2174028 h 2659408"/>
                <a:gd name="connsiteX15" fmla="*/ 63636 w 1002260"/>
                <a:gd name="connsiteY15" fmla="*/ 2653316 h 2659408"/>
                <a:gd name="connsiteX16" fmla="*/ 21212 w 1002260"/>
                <a:gd name="connsiteY16" fmla="*/ 2653316 h 2659408"/>
                <a:gd name="connsiteX17" fmla="*/ 0 w 1002260"/>
                <a:gd name="connsiteY17" fmla="*/ 2612698 h 2659408"/>
                <a:gd name="connsiteX18" fmla="*/ 655277 w 1002260"/>
                <a:gd name="connsiteY18" fmla="*/ 0 h 2659408"/>
                <a:gd name="connsiteX19" fmla="*/ 655277 w 1002260"/>
                <a:gd name="connsiteY19" fmla="*/ 101178 h 2659408"/>
                <a:gd name="connsiteX20" fmla="*/ 340122 w 1002260"/>
                <a:gd name="connsiteY20" fmla="*/ 267262 h 2659408"/>
                <a:gd name="connsiteX21" fmla="*/ 234083 w 1002260"/>
                <a:gd name="connsiteY21" fmla="*/ 221930 h 265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2260" h="2659408">
                  <a:moveTo>
                    <a:pt x="1002260" y="1344634"/>
                  </a:moveTo>
                  <a:lnTo>
                    <a:pt x="1002260" y="1534806"/>
                  </a:lnTo>
                  <a:lnTo>
                    <a:pt x="984972" y="1354064"/>
                  </a:lnTo>
                  <a:close/>
                  <a:moveTo>
                    <a:pt x="0" y="1121030"/>
                  </a:moveTo>
                  <a:lnTo>
                    <a:pt x="87499" y="1158435"/>
                  </a:lnTo>
                  <a:lnTo>
                    <a:pt x="87499" y="2539586"/>
                  </a:lnTo>
                  <a:lnTo>
                    <a:pt x="914761" y="2105320"/>
                  </a:lnTo>
                  <a:lnTo>
                    <a:pt x="914761" y="2133410"/>
                  </a:lnTo>
                  <a:lnTo>
                    <a:pt x="957185" y="2133410"/>
                  </a:lnTo>
                  <a:lnTo>
                    <a:pt x="938624" y="2092793"/>
                  </a:lnTo>
                  <a:lnTo>
                    <a:pt x="914761" y="2105320"/>
                  </a:lnTo>
                  <a:lnTo>
                    <a:pt x="914761" y="1512089"/>
                  </a:lnTo>
                  <a:lnTo>
                    <a:pt x="1002260" y="1549495"/>
                  </a:lnTo>
                  <a:lnTo>
                    <a:pt x="1002260" y="2133410"/>
                  </a:lnTo>
                  <a:cubicBezTo>
                    <a:pt x="1002260" y="2149657"/>
                    <a:pt x="991654" y="2165904"/>
                    <a:pt x="978397" y="2174028"/>
                  </a:cubicBezTo>
                  <a:lnTo>
                    <a:pt x="63636" y="2653316"/>
                  </a:lnTo>
                  <a:cubicBezTo>
                    <a:pt x="50378" y="2661439"/>
                    <a:pt x="34469" y="2661439"/>
                    <a:pt x="21212" y="2653316"/>
                  </a:cubicBezTo>
                  <a:cubicBezTo>
                    <a:pt x="7954" y="2645192"/>
                    <a:pt x="0" y="2628945"/>
                    <a:pt x="0" y="2612698"/>
                  </a:cubicBezTo>
                  <a:close/>
                  <a:moveTo>
                    <a:pt x="655277" y="0"/>
                  </a:moveTo>
                  <a:lnTo>
                    <a:pt x="655277" y="101178"/>
                  </a:lnTo>
                  <a:lnTo>
                    <a:pt x="340122" y="267262"/>
                  </a:lnTo>
                  <a:lnTo>
                    <a:pt x="234083" y="221930"/>
                  </a:lnTo>
                  <a:close/>
                </a:path>
              </a:pathLst>
            </a:custGeom>
            <a:grpFill/>
            <a:ln>
              <a:noFill/>
            </a:ln>
          </p:spPr>
          <p:txBody>
            <a:bodyPr vert="horz" wrap="square" lIns="91440" tIns="45720" rIns="91440" bIns="45720" numCol="1" anchor="t" anchorCtr="0" compatLnSpc="1">
              <a:prstTxWarp prst="textNoShape">
                <a:avLst/>
              </a:prstTxWarp>
              <a:noAutofit/>
            </a:bodyPr>
            <a:lstStyle/>
            <a:p>
              <a:pPr defTabSz="914378">
                <a:defRPr/>
              </a:pPr>
              <a:endParaRPr lang="fr-FR" dirty="0">
                <a:solidFill>
                  <a:prstClr val="black"/>
                </a:solidFill>
                <a:latin typeface="Calibri" panose="020F0502020204030204"/>
              </a:endParaRPr>
            </a:p>
          </p:txBody>
        </p:sp>
        <p:sp>
          <p:nvSpPr>
            <p:cNvPr id="425" name="Freeform 2897">
              <a:extLst>
                <a:ext uri="{FF2B5EF4-FFF2-40B4-BE49-F238E27FC236}">
                  <a16:creationId xmlns:a16="http://schemas.microsoft.com/office/drawing/2014/main" id="{CA460560-46D3-EDC5-E39D-F5DDCFD691B0}"/>
                </a:ext>
              </a:extLst>
            </p:cNvPr>
            <p:cNvSpPr>
              <a:spLocks/>
            </p:cNvSpPr>
            <p:nvPr/>
          </p:nvSpPr>
          <p:spPr bwMode="auto">
            <a:xfrm>
              <a:off x="6542468" y="2576648"/>
              <a:ext cx="1023147" cy="2818861"/>
            </a:xfrm>
            <a:custGeom>
              <a:avLst/>
              <a:gdLst>
                <a:gd name="T0" fmla="*/ 360 w 377"/>
                <a:gd name="T1" fmla="*/ 845 h 1040"/>
                <a:gd name="T2" fmla="*/ 353 w 377"/>
                <a:gd name="T3" fmla="*/ 830 h 1040"/>
                <a:gd name="T4" fmla="*/ 33 w 377"/>
                <a:gd name="T5" fmla="*/ 995 h 1040"/>
                <a:gd name="T6" fmla="*/ 33 w 377"/>
                <a:gd name="T7" fmla="*/ 205 h 1040"/>
                <a:gd name="T8" fmla="*/ 344 w 377"/>
                <a:gd name="T9" fmla="*/ 44 h 1040"/>
                <a:gd name="T10" fmla="*/ 344 w 377"/>
                <a:gd name="T11" fmla="*/ 845 h 1040"/>
                <a:gd name="T12" fmla="*/ 360 w 377"/>
                <a:gd name="T13" fmla="*/ 845 h 1040"/>
                <a:gd name="T14" fmla="*/ 353 w 377"/>
                <a:gd name="T15" fmla="*/ 830 h 1040"/>
                <a:gd name="T16" fmla="*/ 360 w 377"/>
                <a:gd name="T17" fmla="*/ 845 h 1040"/>
                <a:gd name="T18" fmla="*/ 377 w 377"/>
                <a:gd name="T19" fmla="*/ 845 h 1040"/>
                <a:gd name="T20" fmla="*/ 377 w 377"/>
                <a:gd name="T21" fmla="*/ 17 h 1040"/>
                <a:gd name="T22" fmla="*/ 369 w 377"/>
                <a:gd name="T23" fmla="*/ 3 h 1040"/>
                <a:gd name="T24" fmla="*/ 353 w 377"/>
                <a:gd name="T25" fmla="*/ 2 h 1040"/>
                <a:gd name="T26" fmla="*/ 9 w 377"/>
                <a:gd name="T27" fmla="*/ 180 h 1040"/>
                <a:gd name="T28" fmla="*/ 0 w 377"/>
                <a:gd name="T29" fmla="*/ 195 h 1040"/>
                <a:gd name="T30" fmla="*/ 0 w 377"/>
                <a:gd name="T31" fmla="*/ 1023 h 1040"/>
                <a:gd name="T32" fmla="*/ 8 w 377"/>
                <a:gd name="T33" fmla="*/ 1037 h 1040"/>
                <a:gd name="T34" fmla="*/ 24 w 377"/>
                <a:gd name="T35" fmla="*/ 1037 h 1040"/>
                <a:gd name="T36" fmla="*/ 368 w 377"/>
                <a:gd name="T37" fmla="*/ 860 h 1040"/>
                <a:gd name="T38" fmla="*/ 377 w 377"/>
                <a:gd name="T39" fmla="*/ 845 h 1040"/>
                <a:gd name="T40" fmla="*/ 360 w 377"/>
                <a:gd name="T41" fmla="*/ 845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1040">
                  <a:moveTo>
                    <a:pt x="360" y="845"/>
                  </a:moveTo>
                  <a:lnTo>
                    <a:pt x="353" y="830"/>
                  </a:lnTo>
                  <a:lnTo>
                    <a:pt x="33" y="995"/>
                  </a:lnTo>
                  <a:lnTo>
                    <a:pt x="33" y="205"/>
                  </a:lnTo>
                  <a:lnTo>
                    <a:pt x="344" y="44"/>
                  </a:lnTo>
                  <a:lnTo>
                    <a:pt x="344" y="845"/>
                  </a:lnTo>
                  <a:lnTo>
                    <a:pt x="360" y="845"/>
                  </a:lnTo>
                  <a:lnTo>
                    <a:pt x="353" y="830"/>
                  </a:lnTo>
                  <a:lnTo>
                    <a:pt x="360" y="845"/>
                  </a:lnTo>
                  <a:lnTo>
                    <a:pt x="377" y="845"/>
                  </a:lnTo>
                  <a:lnTo>
                    <a:pt x="377" y="17"/>
                  </a:lnTo>
                  <a:cubicBezTo>
                    <a:pt x="377" y="11"/>
                    <a:pt x="374" y="6"/>
                    <a:pt x="369" y="3"/>
                  </a:cubicBezTo>
                  <a:cubicBezTo>
                    <a:pt x="364" y="0"/>
                    <a:pt x="358" y="0"/>
                    <a:pt x="353" y="2"/>
                  </a:cubicBezTo>
                  <a:lnTo>
                    <a:pt x="9" y="180"/>
                  </a:lnTo>
                  <a:cubicBezTo>
                    <a:pt x="3" y="183"/>
                    <a:pt x="0" y="189"/>
                    <a:pt x="0" y="195"/>
                  </a:cubicBezTo>
                  <a:lnTo>
                    <a:pt x="0" y="1023"/>
                  </a:lnTo>
                  <a:cubicBezTo>
                    <a:pt x="0" y="1028"/>
                    <a:pt x="3" y="1034"/>
                    <a:pt x="8" y="1037"/>
                  </a:cubicBezTo>
                  <a:cubicBezTo>
                    <a:pt x="12" y="1040"/>
                    <a:pt x="19" y="1040"/>
                    <a:pt x="24" y="1037"/>
                  </a:cubicBezTo>
                  <a:lnTo>
                    <a:pt x="368" y="860"/>
                  </a:lnTo>
                  <a:cubicBezTo>
                    <a:pt x="374" y="857"/>
                    <a:pt x="377" y="851"/>
                    <a:pt x="377" y="845"/>
                  </a:cubicBezTo>
                  <a:lnTo>
                    <a:pt x="360" y="845"/>
                  </a:lnTo>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26" name="Freeform 2899">
              <a:extLst>
                <a:ext uri="{FF2B5EF4-FFF2-40B4-BE49-F238E27FC236}">
                  <a16:creationId xmlns:a16="http://schemas.microsoft.com/office/drawing/2014/main" id="{E4C26088-9583-86E3-664A-7D283B297550}"/>
                </a:ext>
              </a:extLst>
            </p:cNvPr>
            <p:cNvSpPr>
              <a:spLocks/>
            </p:cNvSpPr>
            <p:nvPr/>
          </p:nvSpPr>
          <p:spPr bwMode="auto">
            <a:xfrm>
              <a:off x="7482080" y="2576648"/>
              <a:ext cx="1023147" cy="2818861"/>
            </a:xfrm>
            <a:custGeom>
              <a:avLst/>
              <a:gdLst>
                <a:gd name="T0" fmla="*/ 17 w 378"/>
                <a:gd name="T1" fmla="*/ 846 h 1041"/>
                <a:gd name="T2" fmla="*/ 9 w 378"/>
                <a:gd name="T3" fmla="*/ 861 h 1041"/>
                <a:gd name="T4" fmla="*/ 354 w 378"/>
                <a:gd name="T5" fmla="*/ 1038 h 1041"/>
                <a:gd name="T6" fmla="*/ 370 w 378"/>
                <a:gd name="T7" fmla="*/ 1038 h 1041"/>
                <a:gd name="T8" fmla="*/ 378 w 378"/>
                <a:gd name="T9" fmla="*/ 1024 h 1041"/>
                <a:gd name="T10" fmla="*/ 378 w 378"/>
                <a:gd name="T11" fmla="*/ 196 h 1041"/>
                <a:gd name="T12" fmla="*/ 369 w 378"/>
                <a:gd name="T13" fmla="*/ 181 h 1041"/>
                <a:gd name="T14" fmla="*/ 25 w 378"/>
                <a:gd name="T15" fmla="*/ 3 h 1041"/>
                <a:gd name="T16" fmla="*/ 8 w 378"/>
                <a:gd name="T17" fmla="*/ 4 h 1041"/>
                <a:gd name="T18" fmla="*/ 0 w 378"/>
                <a:gd name="T19" fmla="*/ 18 h 1041"/>
                <a:gd name="T20" fmla="*/ 0 w 378"/>
                <a:gd name="T21" fmla="*/ 846 h 1041"/>
                <a:gd name="T22" fmla="*/ 9 w 378"/>
                <a:gd name="T23" fmla="*/ 861 h 1041"/>
                <a:gd name="T24" fmla="*/ 17 w 378"/>
                <a:gd name="T25" fmla="*/ 846 h 1041"/>
                <a:gd name="T26" fmla="*/ 34 w 378"/>
                <a:gd name="T27" fmla="*/ 846 h 1041"/>
                <a:gd name="T28" fmla="*/ 34 w 378"/>
                <a:gd name="T29" fmla="*/ 45 h 1041"/>
                <a:gd name="T30" fmla="*/ 345 w 378"/>
                <a:gd name="T31" fmla="*/ 206 h 1041"/>
                <a:gd name="T32" fmla="*/ 345 w 378"/>
                <a:gd name="T33" fmla="*/ 996 h 1041"/>
                <a:gd name="T34" fmla="*/ 25 w 378"/>
                <a:gd name="T35" fmla="*/ 831 h 1041"/>
                <a:gd name="T36" fmla="*/ 17 w 378"/>
                <a:gd name="T37" fmla="*/ 846 h 1041"/>
                <a:gd name="T38" fmla="*/ 34 w 378"/>
                <a:gd name="T39" fmla="*/ 846 h 1041"/>
                <a:gd name="T40" fmla="*/ 17 w 378"/>
                <a:gd name="T41" fmla="*/ 846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8" h="1041">
                  <a:moveTo>
                    <a:pt x="17" y="846"/>
                  </a:moveTo>
                  <a:lnTo>
                    <a:pt x="9" y="861"/>
                  </a:lnTo>
                  <a:lnTo>
                    <a:pt x="354" y="1038"/>
                  </a:lnTo>
                  <a:cubicBezTo>
                    <a:pt x="359" y="1041"/>
                    <a:pt x="365" y="1041"/>
                    <a:pt x="370" y="1038"/>
                  </a:cubicBezTo>
                  <a:cubicBezTo>
                    <a:pt x="375" y="1035"/>
                    <a:pt x="378" y="1029"/>
                    <a:pt x="378" y="1024"/>
                  </a:cubicBezTo>
                  <a:lnTo>
                    <a:pt x="378" y="196"/>
                  </a:lnTo>
                  <a:cubicBezTo>
                    <a:pt x="378" y="189"/>
                    <a:pt x="375" y="184"/>
                    <a:pt x="369" y="181"/>
                  </a:cubicBezTo>
                  <a:lnTo>
                    <a:pt x="25" y="3"/>
                  </a:lnTo>
                  <a:cubicBezTo>
                    <a:pt x="19" y="0"/>
                    <a:pt x="13" y="1"/>
                    <a:pt x="8" y="4"/>
                  </a:cubicBezTo>
                  <a:cubicBezTo>
                    <a:pt x="4" y="7"/>
                    <a:pt x="0" y="12"/>
                    <a:pt x="0" y="18"/>
                  </a:cubicBezTo>
                  <a:lnTo>
                    <a:pt x="0" y="846"/>
                  </a:lnTo>
                  <a:cubicBezTo>
                    <a:pt x="0" y="852"/>
                    <a:pt x="4" y="858"/>
                    <a:pt x="9" y="861"/>
                  </a:cubicBezTo>
                  <a:lnTo>
                    <a:pt x="17" y="846"/>
                  </a:lnTo>
                  <a:lnTo>
                    <a:pt x="34" y="846"/>
                  </a:lnTo>
                  <a:lnTo>
                    <a:pt x="34" y="45"/>
                  </a:lnTo>
                  <a:lnTo>
                    <a:pt x="345" y="206"/>
                  </a:lnTo>
                  <a:lnTo>
                    <a:pt x="345" y="996"/>
                  </a:lnTo>
                  <a:lnTo>
                    <a:pt x="25" y="831"/>
                  </a:lnTo>
                  <a:lnTo>
                    <a:pt x="17" y="846"/>
                  </a:lnTo>
                  <a:lnTo>
                    <a:pt x="34" y="846"/>
                  </a:lnTo>
                  <a:lnTo>
                    <a:pt x="17" y="846"/>
                  </a:ln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27" name="Freeform 2903">
              <a:extLst>
                <a:ext uri="{FF2B5EF4-FFF2-40B4-BE49-F238E27FC236}">
                  <a16:creationId xmlns:a16="http://schemas.microsoft.com/office/drawing/2014/main" id="{A6D8BA45-98D5-7EB2-3FEC-86C9E7BF1E2E}"/>
                </a:ext>
              </a:extLst>
            </p:cNvPr>
            <p:cNvSpPr>
              <a:spLocks/>
            </p:cNvSpPr>
            <p:nvPr/>
          </p:nvSpPr>
          <p:spPr bwMode="auto">
            <a:xfrm>
              <a:off x="6542468" y="2576648"/>
              <a:ext cx="1023147" cy="2818861"/>
            </a:xfrm>
            <a:custGeom>
              <a:avLst/>
              <a:gdLst>
                <a:gd name="T0" fmla="*/ 360 w 377"/>
                <a:gd name="T1" fmla="*/ 845 h 1040"/>
                <a:gd name="T2" fmla="*/ 353 w 377"/>
                <a:gd name="T3" fmla="*/ 830 h 1040"/>
                <a:gd name="T4" fmla="*/ 33 w 377"/>
                <a:gd name="T5" fmla="*/ 995 h 1040"/>
                <a:gd name="T6" fmla="*/ 33 w 377"/>
                <a:gd name="T7" fmla="*/ 205 h 1040"/>
                <a:gd name="T8" fmla="*/ 344 w 377"/>
                <a:gd name="T9" fmla="*/ 44 h 1040"/>
                <a:gd name="T10" fmla="*/ 344 w 377"/>
                <a:gd name="T11" fmla="*/ 845 h 1040"/>
                <a:gd name="T12" fmla="*/ 360 w 377"/>
                <a:gd name="T13" fmla="*/ 845 h 1040"/>
                <a:gd name="T14" fmla="*/ 353 w 377"/>
                <a:gd name="T15" fmla="*/ 830 h 1040"/>
                <a:gd name="T16" fmla="*/ 360 w 377"/>
                <a:gd name="T17" fmla="*/ 845 h 1040"/>
                <a:gd name="T18" fmla="*/ 377 w 377"/>
                <a:gd name="T19" fmla="*/ 845 h 1040"/>
                <a:gd name="T20" fmla="*/ 377 w 377"/>
                <a:gd name="T21" fmla="*/ 17 h 1040"/>
                <a:gd name="T22" fmla="*/ 369 w 377"/>
                <a:gd name="T23" fmla="*/ 3 h 1040"/>
                <a:gd name="T24" fmla="*/ 353 w 377"/>
                <a:gd name="T25" fmla="*/ 2 h 1040"/>
                <a:gd name="T26" fmla="*/ 9 w 377"/>
                <a:gd name="T27" fmla="*/ 180 h 1040"/>
                <a:gd name="T28" fmla="*/ 0 w 377"/>
                <a:gd name="T29" fmla="*/ 195 h 1040"/>
                <a:gd name="T30" fmla="*/ 0 w 377"/>
                <a:gd name="T31" fmla="*/ 1023 h 1040"/>
                <a:gd name="T32" fmla="*/ 8 w 377"/>
                <a:gd name="T33" fmla="*/ 1037 h 1040"/>
                <a:gd name="T34" fmla="*/ 24 w 377"/>
                <a:gd name="T35" fmla="*/ 1037 h 1040"/>
                <a:gd name="T36" fmla="*/ 368 w 377"/>
                <a:gd name="T37" fmla="*/ 860 h 1040"/>
                <a:gd name="T38" fmla="*/ 377 w 377"/>
                <a:gd name="T39" fmla="*/ 845 h 1040"/>
                <a:gd name="T40" fmla="*/ 360 w 377"/>
                <a:gd name="T41" fmla="*/ 845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1040">
                  <a:moveTo>
                    <a:pt x="360" y="845"/>
                  </a:moveTo>
                  <a:lnTo>
                    <a:pt x="353" y="830"/>
                  </a:lnTo>
                  <a:lnTo>
                    <a:pt x="33" y="995"/>
                  </a:lnTo>
                  <a:lnTo>
                    <a:pt x="33" y="205"/>
                  </a:lnTo>
                  <a:lnTo>
                    <a:pt x="344" y="44"/>
                  </a:lnTo>
                  <a:lnTo>
                    <a:pt x="344" y="845"/>
                  </a:lnTo>
                  <a:lnTo>
                    <a:pt x="360" y="845"/>
                  </a:lnTo>
                  <a:lnTo>
                    <a:pt x="353" y="830"/>
                  </a:lnTo>
                  <a:lnTo>
                    <a:pt x="360" y="845"/>
                  </a:lnTo>
                  <a:lnTo>
                    <a:pt x="377" y="845"/>
                  </a:lnTo>
                  <a:lnTo>
                    <a:pt x="377" y="17"/>
                  </a:lnTo>
                  <a:cubicBezTo>
                    <a:pt x="377" y="11"/>
                    <a:pt x="374" y="6"/>
                    <a:pt x="369" y="3"/>
                  </a:cubicBezTo>
                  <a:cubicBezTo>
                    <a:pt x="364" y="0"/>
                    <a:pt x="358" y="0"/>
                    <a:pt x="353" y="2"/>
                  </a:cubicBezTo>
                  <a:lnTo>
                    <a:pt x="9" y="180"/>
                  </a:lnTo>
                  <a:cubicBezTo>
                    <a:pt x="3" y="183"/>
                    <a:pt x="0" y="189"/>
                    <a:pt x="0" y="195"/>
                  </a:cubicBezTo>
                  <a:lnTo>
                    <a:pt x="0" y="1023"/>
                  </a:lnTo>
                  <a:cubicBezTo>
                    <a:pt x="0" y="1028"/>
                    <a:pt x="3" y="1034"/>
                    <a:pt x="8" y="1037"/>
                  </a:cubicBezTo>
                  <a:cubicBezTo>
                    <a:pt x="12" y="1040"/>
                    <a:pt x="19" y="1040"/>
                    <a:pt x="24" y="1037"/>
                  </a:cubicBezTo>
                  <a:lnTo>
                    <a:pt x="368" y="860"/>
                  </a:lnTo>
                  <a:cubicBezTo>
                    <a:pt x="374" y="857"/>
                    <a:pt x="377" y="851"/>
                    <a:pt x="377" y="845"/>
                  </a:cubicBezTo>
                  <a:lnTo>
                    <a:pt x="360" y="845"/>
                  </a:lnTo>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28" name="Freeform 2907">
              <a:extLst>
                <a:ext uri="{FF2B5EF4-FFF2-40B4-BE49-F238E27FC236}">
                  <a16:creationId xmlns:a16="http://schemas.microsoft.com/office/drawing/2014/main" id="{14154758-D001-769B-0D55-BC129DD58701}"/>
                </a:ext>
              </a:extLst>
            </p:cNvPr>
            <p:cNvSpPr>
              <a:spLocks/>
            </p:cNvSpPr>
            <p:nvPr/>
          </p:nvSpPr>
          <p:spPr bwMode="auto">
            <a:xfrm>
              <a:off x="9340443" y="2576648"/>
              <a:ext cx="1023147" cy="2818861"/>
            </a:xfrm>
            <a:custGeom>
              <a:avLst/>
              <a:gdLst>
                <a:gd name="T0" fmla="*/ 17 w 378"/>
                <a:gd name="T1" fmla="*/ 845 h 1040"/>
                <a:gd name="T2" fmla="*/ 9 w 378"/>
                <a:gd name="T3" fmla="*/ 859 h 1040"/>
                <a:gd name="T4" fmla="*/ 353 w 378"/>
                <a:gd name="T5" fmla="*/ 1037 h 1040"/>
                <a:gd name="T6" fmla="*/ 370 w 378"/>
                <a:gd name="T7" fmla="*/ 1037 h 1040"/>
                <a:gd name="T8" fmla="*/ 378 w 378"/>
                <a:gd name="T9" fmla="*/ 1022 h 1040"/>
                <a:gd name="T10" fmla="*/ 378 w 378"/>
                <a:gd name="T11" fmla="*/ 195 h 1040"/>
                <a:gd name="T12" fmla="*/ 369 w 378"/>
                <a:gd name="T13" fmla="*/ 180 h 1040"/>
                <a:gd name="T14" fmla="*/ 24 w 378"/>
                <a:gd name="T15" fmla="*/ 2 h 1040"/>
                <a:gd name="T16" fmla="*/ 8 w 378"/>
                <a:gd name="T17" fmla="*/ 3 h 1040"/>
                <a:gd name="T18" fmla="*/ 0 w 378"/>
                <a:gd name="T19" fmla="*/ 17 h 1040"/>
                <a:gd name="T20" fmla="*/ 0 w 378"/>
                <a:gd name="T21" fmla="*/ 845 h 1040"/>
                <a:gd name="T22" fmla="*/ 9 w 378"/>
                <a:gd name="T23" fmla="*/ 859 h 1040"/>
                <a:gd name="T24" fmla="*/ 17 w 378"/>
                <a:gd name="T25" fmla="*/ 845 h 1040"/>
                <a:gd name="T26" fmla="*/ 33 w 378"/>
                <a:gd name="T27" fmla="*/ 845 h 1040"/>
                <a:gd name="T28" fmla="*/ 33 w 378"/>
                <a:gd name="T29" fmla="*/ 44 h 1040"/>
                <a:gd name="T30" fmla="*/ 344 w 378"/>
                <a:gd name="T31" fmla="*/ 205 h 1040"/>
                <a:gd name="T32" fmla="*/ 344 w 378"/>
                <a:gd name="T33" fmla="*/ 995 h 1040"/>
                <a:gd name="T34" fmla="*/ 24 w 378"/>
                <a:gd name="T35" fmla="*/ 830 h 1040"/>
                <a:gd name="T36" fmla="*/ 17 w 378"/>
                <a:gd name="T37" fmla="*/ 845 h 1040"/>
                <a:gd name="T38" fmla="*/ 33 w 378"/>
                <a:gd name="T39" fmla="*/ 845 h 1040"/>
                <a:gd name="T40" fmla="*/ 17 w 378"/>
                <a:gd name="T41" fmla="*/ 845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8" h="1040">
                  <a:moveTo>
                    <a:pt x="17" y="845"/>
                  </a:moveTo>
                  <a:lnTo>
                    <a:pt x="9" y="859"/>
                  </a:lnTo>
                  <a:lnTo>
                    <a:pt x="353" y="1037"/>
                  </a:lnTo>
                  <a:cubicBezTo>
                    <a:pt x="359" y="1040"/>
                    <a:pt x="365" y="1040"/>
                    <a:pt x="370" y="1037"/>
                  </a:cubicBezTo>
                  <a:cubicBezTo>
                    <a:pt x="375" y="1034"/>
                    <a:pt x="378" y="1028"/>
                    <a:pt x="378" y="1022"/>
                  </a:cubicBezTo>
                  <a:lnTo>
                    <a:pt x="378" y="195"/>
                  </a:lnTo>
                  <a:cubicBezTo>
                    <a:pt x="378" y="189"/>
                    <a:pt x="374" y="183"/>
                    <a:pt x="369" y="180"/>
                  </a:cubicBezTo>
                  <a:lnTo>
                    <a:pt x="24" y="2"/>
                  </a:lnTo>
                  <a:cubicBezTo>
                    <a:pt x="19" y="0"/>
                    <a:pt x="13" y="0"/>
                    <a:pt x="8" y="3"/>
                  </a:cubicBezTo>
                  <a:cubicBezTo>
                    <a:pt x="3" y="6"/>
                    <a:pt x="0" y="11"/>
                    <a:pt x="0" y="17"/>
                  </a:cubicBezTo>
                  <a:lnTo>
                    <a:pt x="0" y="845"/>
                  </a:lnTo>
                  <a:cubicBezTo>
                    <a:pt x="0" y="851"/>
                    <a:pt x="3" y="857"/>
                    <a:pt x="9" y="859"/>
                  </a:cubicBezTo>
                  <a:lnTo>
                    <a:pt x="17" y="845"/>
                  </a:lnTo>
                  <a:lnTo>
                    <a:pt x="33" y="845"/>
                  </a:lnTo>
                  <a:lnTo>
                    <a:pt x="33" y="44"/>
                  </a:lnTo>
                  <a:lnTo>
                    <a:pt x="344" y="205"/>
                  </a:lnTo>
                  <a:lnTo>
                    <a:pt x="344" y="995"/>
                  </a:lnTo>
                  <a:lnTo>
                    <a:pt x="24" y="830"/>
                  </a:lnTo>
                  <a:lnTo>
                    <a:pt x="17" y="845"/>
                  </a:lnTo>
                  <a:lnTo>
                    <a:pt x="33" y="845"/>
                  </a:lnTo>
                  <a:lnTo>
                    <a:pt x="17" y="845"/>
                  </a:ln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29" name="Freeform 2909">
              <a:extLst>
                <a:ext uri="{FF2B5EF4-FFF2-40B4-BE49-F238E27FC236}">
                  <a16:creationId xmlns:a16="http://schemas.microsoft.com/office/drawing/2014/main" id="{CBC05DFD-5147-B750-FF8C-DA8962D4DBB1}"/>
                </a:ext>
              </a:extLst>
            </p:cNvPr>
            <p:cNvSpPr>
              <a:spLocks/>
            </p:cNvSpPr>
            <p:nvPr/>
          </p:nvSpPr>
          <p:spPr bwMode="auto">
            <a:xfrm>
              <a:off x="7482080" y="2563645"/>
              <a:ext cx="1023147" cy="2818861"/>
            </a:xfrm>
            <a:custGeom>
              <a:avLst/>
              <a:gdLst>
                <a:gd name="T0" fmla="*/ 17 w 378"/>
                <a:gd name="T1" fmla="*/ 846 h 1041"/>
                <a:gd name="T2" fmla="*/ 9 w 378"/>
                <a:gd name="T3" fmla="*/ 861 h 1041"/>
                <a:gd name="T4" fmla="*/ 354 w 378"/>
                <a:gd name="T5" fmla="*/ 1038 h 1041"/>
                <a:gd name="T6" fmla="*/ 370 w 378"/>
                <a:gd name="T7" fmla="*/ 1038 h 1041"/>
                <a:gd name="T8" fmla="*/ 378 w 378"/>
                <a:gd name="T9" fmla="*/ 1024 h 1041"/>
                <a:gd name="T10" fmla="*/ 378 w 378"/>
                <a:gd name="T11" fmla="*/ 196 h 1041"/>
                <a:gd name="T12" fmla="*/ 369 w 378"/>
                <a:gd name="T13" fmla="*/ 181 h 1041"/>
                <a:gd name="T14" fmla="*/ 25 w 378"/>
                <a:gd name="T15" fmla="*/ 3 h 1041"/>
                <a:gd name="T16" fmla="*/ 8 w 378"/>
                <a:gd name="T17" fmla="*/ 4 h 1041"/>
                <a:gd name="T18" fmla="*/ 0 w 378"/>
                <a:gd name="T19" fmla="*/ 18 h 1041"/>
                <a:gd name="T20" fmla="*/ 0 w 378"/>
                <a:gd name="T21" fmla="*/ 846 h 1041"/>
                <a:gd name="T22" fmla="*/ 9 w 378"/>
                <a:gd name="T23" fmla="*/ 861 h 1041"/>
                <a:gd name="T24" fmla="*/ 17 w 378"/>
                <a:gd name="T25" fmla="*/ 846 h 1041"/>
                <a:gd name="T26" fmla="*/ 34 w 378"/>
                <a:gd name="T27" fmla="*/ 846 h 1041"/>
                <a:gd name="T28" fmla="*/ 34 w 378"/>
                <a:gd name="T29" fmla="*/ 45 h 1041"/>
                <a:gd name="T30" fmla="*/ 345 w 378"/>
                <a:gd name="T31" fmla="*/ 206 h 1041"/>
                <a:gd name="T32" fmla="*/ 345 w 378"/>
                <a:gd name="T33" fmla="*/ 996 h 1041"/>
                <a:gd name="T34" fmla="*/ 25 w 378"/>
                <a:gd name="T35" fmla="*/ 831 h 1041"/>
                <a:gd name="T36" fmla="*/ 17 w 378"/>
                <a:gd name="T37" fmla="*/ 846 h 1041"/>
                <a:gd name="T38" fmla="*/ 34 w 378"/>
                <a:gd name="T39" fmla="*/ 846 h 1041"/>
                <a:gd name="T40" fmla="*/ 17 w 378"/>
                <a:gd name="T41" fmla="*/ 846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8" h="1041">
                  <a:moveTo>
                    <a:pt x="17" y="846"/>
                  </a:moveTo>
                  <a:lnTo>
                    <a:pt x="9" y="861"/>
                  </a:lnTo>
                  <a:lnTo>
                    <a:pt x="354" y="1038"/>
                  </a:lnTo>
                  <a:cubicBezTo>
                    <a:pt x="359" y="1041"/>
                    <a:pt x="365" y="1041"/>
                    <a:pt x="370" y="1038"/>
                  </a:cubicBezTo>
                  <a:cubicBezTo>
                    <a:pt x="375" y="1035"/>
                    <a:pt x="378" y="1029"/>
                    <a:pt x="378" y="1024"/>
                  </a:cubicBezTo>
                  <a:lnTo>
                    <a:pt x="378" y="196"/>
                  </a:lnTo>
                  <a:cubicBezTo>
                    <a:pt x="378" y="189"/>
                    <a:pt x="375" y="184"/>
                    <a:pt x="369" y="181"/>
                  </a:cubicBezTo>
                  <a:lnTo>
                    <a:pt x="25" y="3"/>
                  </a:lnTo>
                  <a:cubicBezTo>
                    <a:pt x="19" y="0"/>
                    <a:pt x="13" y="1"/>
                    <a:pt x="8" y="4"/>
                  </a:cubicBezTo>
                  <a:cubicBezTo>
                    <a:pt x="4" y="7"/>
                    <a:pt x="0" y="12"/>
                    <a:pt x="0" y="18"/>
                  </a:cubicBezTo>
                  <a:lnTo>
                    <a:pt x="0" y="846"/>
                  </a:lnTo>
                  <a:cubicBezTo>
                    <a:pt x="0" y="852"/>
                    <a:pt x="4" y="858"/>
                    <a:pt x="9" y="861"/>
                  </a:cubicBezTo>
                  <a:lnTo>
                    <a:pt x="17" y="846"/>
                  </a:lnTo>
                  <a:lnTo>
                    <a:pt x="34" y="846"/>
                  </a:lnTo>
                  <a:lnTo>
                    <a:pt x="34" y="45"/>
                  </a:lnTo>
                  <a:lnTo>
                    <a:pt x="345" y="206"/>
                  </a:lnTo>
                  <a:lnTo>
                    <a:pt x="345" y="996"/>
                  </a:lnTo>
                  <a:lnTo>
                    <a:pt x="25" y="831"/>
                  </a:lnTo>
                  <a:lnTo>
                    <a:pt x="17" y="846"/>
                  </a:lnTo>
                  <a:lnTo>
                    <a:pt x="34" y="846"/>
                  </a:lnTo>
                  <a:lnTo>
                    <a:pt x="17" y="846"/>
                  </a:ln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30" name="Freeform 2911">
              <a:extLst>
                <a:ext uri="{FF2B5EF4-FFF2-40B4-BE49-F238E27FC236}">
                  <a16:creationId xmlns:a16="http://schemas.microsoft.com/office/drawing/2014/main" id="{03505F8B-5EDE-4D3A-C731-E1174E291ABC}"/>
                </a:ext>
              </a:extLst>
            </p:cNvPr>
            <p:cNvSpPr>
              <a:spLocks/>
            </p:cNvSpPr>
            <p:nvPr/>
          </p:nvSpPr>
          <p:spPr bwMode="auto">
            <a:xfrm>
              <a:off x="9340443" y="2576648"/>
              <a:ext cx="1023147" cy="2818861"/>
            </a:xfrm>
            <a:custGeom>
              <a:avLst/>
              <a:gdLst>
                <a:gd name="T0" fmla="*/ 17 w 378"/>
                <a:gd name="T1" fmla="*/ 845 h 1040"/>
                <a:gd name="T2" fmla="*/ 9 w 378"/>
                <a:gd name="T3" fmla="*/ 859 h 1040"/>
                <a:gd name="T4" fmla="*/ 353 w 378"/>
                <a:gd name="T5" fmla="*/ 1037 h 1040"/>
                <a:gd name="T6" fmla="*/ 370 w 378"/>
                <a:gd name="T7" fmla="*/ 1037 h 1040"/>
                <a:gd name="T8" fmla="*/ 378 w 378"/>
                <a:gd name="T9" fmla="*/ 1022 h 1040"/>
                <a:gd name="T10" fmla="*/ 378 w 378"/>
                <a:gd name="T11" fmla="*/ 195 h 1040"/>
                <a:gd name="T12" fmla="*/ 369 w 378"/>
                <a:gd name="T13" fmla="*/ 180 h 1040"/>
                <a:gd name="T14" fmla="*/ 24 w 378"/>
                <a:gd name="T15" fmla="*/ 2 h 1040"/>
                <a:gd name="T16" fmla="*/ 8 w 378"/>
                <a:gd name="T17" fmla="*/ 3 h 1040"/>
                <a:gd name="T18" fmla="*/ 0 w 378"/>
                <a:gd name="T19" fmla="*/ 17 h 1040"/>
                <a:gd name="T20" fmla="*/ 0 w 378"/>
                <a:gd name="T21" fmla="*/ 845 h 1040"/>
                <a:gd name="T22" fmla="*/ 9 w 378"/>
                <a:gd name="T23" fmla="*/ 859 h 1040"/>
                <a:gd name="T24" fmla="*/ 17 w 378"/>
                <a:gd name="T25" fmla="*/ 845 h 1040"/>
                <a:gd name="T26" fmla="*/ 33 w 378"/>
                <a:gd name="T27" fmla="*/ 845 h 1040"/>
                <a:gd name="T28" fmla="*/ 33 w 378"/>
                <a:gd name="T29" fmla="*/ 44 h 1040"/>
                <a:gd name="T30" fmla="*/ 344 w 378"/>
                <a:gd name="T31" fmla="*/ 205 h 1040"/>
                <a:gd name="T32" fmla="*/ 344 w 378"/>
                <a:gd name="T33" fmla="*/ 995 h 1040"/>
                <a:gd name="T34" fmla="*/ 24 w 378"/>
                <a:gd name="T35" fmla="*/ 830 h 1040"/>
                <a:gd name="T36" fmla="*/ 17 w 378"/>
                <a:gd name="T37" fmla="*/ 845 h 1040"/>
                <a:gd name="T38" fmla="*/ 33 w 378"/>
                <a:gd name="T39" fmla="*/ 845 h 1040"/>
                <a:gd name="T40" fmla="*/ 17 w 378"/>
                <a:gd name="T41" fmla="*/ 845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8" h="1040">
                  <a:moveTo>
                    <a:pt x="17" y="845"/>
                  </a:moveTo>
                  <a:lnTo>
                    <a:pt x="9" y="859"/>
                  </a:lnTo>
                  <a:lnTo>
                    <a:pt x="353" y="1037"/>
                  </a:lnTo>
                  <a:cubicBezTo>
                    <a:pt x="359" y="1040"/>
                    <a:pt x="365" y="1040"/>
                    <a:pt x="370" y="1037"/>
                  </a:cubicBezTo>
                  <a:cubicBezTo>
                    <a:pt x="375" y="1034"/>
                    <a:pt x="378" y="1028"/>
                    <a:pt x="378" y="1022"/>
                  </a:cubicBezTo>
                  <a:lnTo>
                    <a:pt x="378" y="195"/>
                  </a:lnTo>
                  <a:cubicBezTo>
                    <a:pt x="378" y="189"/>
                    <a:pt x="374" y="183"/>
                    <a:pt x="369" y="180"/>
                  </a:cubicBezTo>
                  <a:lnTo>
                    <a:pt x="24" y="2"/>
                  </a:lnTo>
                  <a:cubicBezTo>
                    <a:pt x="19" y="0"/>
                    <a:pt x="13" y="0"/>
                    <a:pt x="8" y="3"/>
                  </a:cubicBezTo>
                  <a:cubicBezTo>
                    <a:pt x="3" y="6"/>
                    <a:pt x="0" y="11"/>
                    <a:pt x="0" y="17"/>
                  </a:cubicBezTo>
                  <a:lnTo>
                    <a:pt x="0" y="845"/>
                  </a:lnTo>
                  <a:cubicBezTo>
                    <a:pt x="0" y="851"/>
                    <a:pt x="3" y="857"/>
                    <a:pt x="9" y="859"/>
                  </a:cubicBezTo>
                  <a:lnTo>
                    <a:pt x="17" y="845"/>
                  </a:lnTo>
                  <a:lnTo>
                    <a:pt x="33" y="845"/>
                  </a:lnTo>
                  <a:lnTo>
                    <a:pt x="33" y="44"/>
                  </a:lnTo>
                  <a:lnTo>
                    <a:pt x="344" y="205"/>
                  </a:lnTo>
                  <a:lnTo>
                    <a:pt x="344" y="995"/>
                  </a:lnTo>
                  <a:lnTo>
                    <a:pt x="24" y="830"/>
                  </a:lnTo>
                  <a:lnTo>
                    <a:pt x="17" y="845"/>
                  </a:lnTo>
                  <a:lnTo>
                    <a:pt x="33" y="845"/>
                  </a:lnTo>
                  <a:lnTo>
                    <a:pt x="17" y="845"/>
                  </a:ln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31" name="Freeform 2912">
              <a:extLst>
                <a:ext uri="{FF2B5EF4-FFF2-40B4-BE49-F238E27FC236}">
                  <a16:creationId xmlns:a16="http://schemas.microsoft.com/office/drawing/2014/main" id="{62F35033-3519-B878-EFCE-8E285376C45E}"/>
                </a:ext>
              </a:extLst>
            </p:cNvPr>
            <p:cNvSpPr>
              <a:spLocks noEditPoints="1"/>
            </p:cNvSpPr>
            <p:nvPr/>
          </p:nvSpPr>
          <p:spPr bwMode="auto">
            <a:xfrm>
              <a:off x="6772146" y="3161299"/>
              <a:ext cx="3424388" cy="1607797"/>
            </a:xfrm>
            <a:custGeom>
              <a:avLst/>
              <a:gdLst>
                <a:gd name="T0" fmla="*/ 5 w 1269"/>
                <a:gd name="T1" fmla="*/ 585 h 597"/>
                <a:gd name="T2" fmla="*/ 57 w 1269"/>
                <a:gd name="T3" fmla="*/ 541 h 597"/>
                <a:gd name="T4" fmla="*/ 124 w 1269"/>
                <a:gd name="T5" fmla="*/ 526 h 597"/>
                <a:gd name="T6" fmla="*/ 161 w 1269"/>
                <a:gd name="T7" fmla="*/ 526 h 597"/>
                <a:gd name="T8" fmla="*/ 187 w 1269"/>
                <a:gd name="T9" fmla="*/ 503 h 597"/>
                <a:gd name="T10" fmla="*/ 187 w 1269"/>
                <a:gd name="T11" fmla="*/ 503 h 597"/>
                <a:gd name="T12" fmla="*/ 224 w 1269"/>
                <a:gd name="T13" fmla="*/ 512 h 597"/>
                <a:gd name="T14" fmla="*/ 285 w 1269"/>
                <a:gd name="T15" fmla="*/ 542 h 597"/>
                <a:gd name="T16" fmla="*/ 310 w 1269"/>
                <a:gd name="T17" fmla="*/ 506 h 597"/>
                <a:gd name="T18" fmla="*/ 341 w 1269"/>
                <a:gd name="T19" fmla="*/ 486 h 597"/>
                <a:gd name="T20" fmla="*/ 366 w 1269"/>
                <a:gd name="T21" fmla="*/ 443 h 597"/>
                <a:gd name="T22" fmla="*/ 366 w 1269"/>
                <a:gd name="T23" fmla="*/ 443 h 597"/>
                <a:gd name="T24" fmla="*/ 366 w 1269"/>
                <a:gd name="T25" fmla="*/ 394 h 597"/>
                <a:gd name="T26" fmla="*/ 430 w 1269"/>
                <a:gd name="T27" fmla="*/ 419 h 597"/>
                <a:gd name="T28" fmla="*/ 475 w 1269"/>
                <a:gd name="T29" fmla="*/ 471 h 597"/>
                <a:gd name="T30" fmla="*/ 493 w 1269"/>
                <a:gd name="T31" fmla="*/ 504 h 597"/>
                <a:gd name="T32" fmla="*/ 534 w 1269"/>
                <a:gd name="T33" fmla="*/ 532 h 597"/>
                <a:gd name="T34" fmla="*/ 534 w 1269"/>
                <a:gd name="T35" fmla="*/ 532 h 597"/>
                <a:gd name="T36" fmla="*/ 570 w 1269"/>
                <a:gd name="T37" fmla="*/ 538 h 597"/>
                <a:gd name="T38" fmla="*/ 635 w 1269"/>
                <a:gd name="T39" fmla="*/ 563 h 597"/>
                <a:gd name="T40" fmla="*/ 684 w 1269"/>
                <a:gd name="T41" fmla="*/ 547 h 597"/>
                <a:gd name="T42" fmla="*/ 721 w 1269"/>
                <a:gd name="T43" fmla="*/ 546 h 597"/>
                <a:gd name="T44" fmla="*/ 765 w 1269"/>
                <a:gd name="T45" fmla="*/ 522 h 597"/>
                <a:gd name="T46" fmla="*/ 765 w 1269"/>
                <a:gd name="T47" fmla="*/ 522 h 597"/>
                <a:gd name="T48" fmla="*/ 786 w 1269"/>
                <a:gd name="T49" fmla="*/ 492 h 597"/>
                <a:gd name="T50" fmla="*/ 837 w 1269"/>
                <a:gd name="T51" fmla="*/ 446 h 597"/>
                <a:gd name="T52" fmla="*/ 904 w 1269"/>
                <a:gd name="T53" fmla="*/ 429 h 597"/>
                <a:gd name="T54" fmla="*/ 941 w 1269"/>
                <a:gd name="T55" fmla="*/ 428 h 597"/>
                <a:gd name="T56" fmla="*/ 976 w 1269"/>
                <a:gd name="T57" fmla="*/ 411 h 597"/>
                <a:gd name="T58" fmla="*/ 976 w 1269"/>
                <a:gd name="T59" fmla="*/ 411 h 597"/>
                <a:gd name="T60" fmla="*/ 1011 w 1269"/>
                <a:gd name="T61" fmla="*/ 398 h 597"/>
                <a:gd name="T62" fmla="*/ 1079 w 1269"/>
                <a:gd name="T63" fmla="*/ 390 h 597"/>
                <a:gd name="T64" fmla="*/ 1144 w 1269"/>
                <a:gd name="T65" fmla="*/ 414 h 597"/>
                <a:gd name="T66" fmla="*/ 1175 w 1269"/>
                <a:gd name="T67" fmla="*/ 434 h 597"/>
                <a:gd name="T68" fmla="*/ 1224 w 1269"/>
                <a:gd name="T69" fmla="*/ 440 h 597"/>
                <a:gd name="T70" fmla="*/ 1224 w 1269"/>
                <a:gd name="T71" fmla="*/ 440 h 597"/>
                <a:gd name="T72" fmla="*/ 1253 w 1269"/>
                <a:gd name="T73" fmla="*/ 420 h 597"/>
                <a:gd name="T74" fmla="*/ 1236 w 1269"/>
                <a:gd name="T75" fmla="*/ 353 h 597"/>
                <a:gd name="T76" fmla="*/ 1253 w 1269"/>
                <a:gd name="T77" fmla="*/ 287 h 597"/>
                <a:gd name="T78" fmla="*/ 1269 w 1269"/>
                <a:gd name="T79" fmla="*/ 253 h 597"/>
                <a:gd name="T80" fmla="*/ 1269 w 1269"/>
                <a:gd name="T81" fmla="*/ 203 h 597"/>
                <a:gd name="T82" fmla="*/ 1269 w 1269"/>
                <a:gd name="T83" fmla="*/ 203 h 597"/>
                <a:gd name="T84" fmla="*/ 1240 w 1269"/>
                <a:gd name="T85" fmla="*/ 177 h 597"/>
                <a:gd name="T86" fmla="*/ 1174 w 1269"/>
                <a:gd name="T87" fmla="*/ 157 h 597"/>
                <a:gd name="T88" fmla="*/ 1125 w 1269"/>
                <a:gd name="T89" fmla="*/ 109 h 597"/>
                <a:gd name="T90" fmla="*/ 1105 w 1269"/>
                <a:gd name="T91" fmla="*/ 78 h 597"/>
                <a:gd name="T92" fmla="*/ 1062 w 1269"/>
                <a:gd name="T93" fmla="*/ 53 h 597"/>
                <a:gd name="T94" fmla="*/ 1062 w 1269"/>
                <a:gd name="T95" fmla="*/ 53 h 597"/>
                <a:gd name="T96" fmla="*/ 1025 w 1269"/>
                <a:gd name="T97" fmla="*/ 50 h 597"/>
                <a:gd name="T98" fmla="*/ 980 w 1269"/>
                <a:gd name="T99" fmla="*/ 30 h 597"/>
                <a:gd name="T100" fmla="*/ 921 w 1269"/>
                <a:gd name="T101" fmla="*/ 66 h 597"/>
                <a:gd name="T102" fmla="*/ 886 w 1269"/>
                <a:gd name="T103" fmla="*/ 78 h 597"/>
                <a:gd name="T104" fmla="*/ 851 w 1269"/>
                <a:gd name="T105" fmla="*/ 114 h 597"/>
                <a:gd name="T106" fmla="*/ 851 w 1269"/>
                <a:gd name="T107" fmla="*/ 114 h 597"/>
                <a:gd name="T108" fmla="*/ 839 w 1269"/>
                <a:gd name="T109" fmla="*/ 149 h 597"/>
                <a:gd name="T110" fmla="*/ 804 w 1269"/>
                <a:gd name="T111" fmla="*/ 209 h 597"/>
                <a:gd name="T112" fmla="*/ 746 w 1269"/>
                <a:gd name="T113" fmla="*/ 24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9" h="597">
                  <a:moveTo>
                    <a:pt x="27" y="593"/>
                  </a:moveTo>
                  <a:lnTo>
                    <a:pt x="27" y="593"/>
                  </a:lnTo>
                  <a:cubicBezTo>
                    <a:pt x="35" y="589"/>
                    <a:pt x="38" y="579"/>
                    <a:pt x="34" y="570"/>
                  </a:cubicBezTo>
                  <a:cubicBezTo>
                    <a:pt x="30" y="562"/>
                    <a:pt x="20" y="559"/>
                    <a:pt x="12" y="563"/>
                  </a:cubicBezTo>
                  <a:cubicBezTo>
                    <a:pt x="4" y="567"/>
                    <a:pt x="0" y="577"/>
                    <a:pt x="5" y="585"/>
                  </a:cubicBezTo>
                  <a:cubicBezTo>
                    <a:pt x="8" y="593"/>
                    <a:pt x="18" y="597"/>
                    <a:pt x="27" y="593"/>
                  </a:cubicBezTo>
                  <a:close/>
                  <a:moveTo>
                    <a:pt x="72" y="570"/>
                  </a:moveTo>
                  <a:lnTo>
                    <a:pt x="72" y="570"/>
                  </a:lnTo>
                  <a:cubicBezTo>
                    <a:pt x="80" y="566"/>
                    <a:pt x="83" y="556"/>
                    <a:pt x="79" y="548"/>
                  </a:cubicBezTo>
                  <a:cubicBezTo>
                    <a:pt x="75" y="540"/>
                    <a:pt x="65" y="537"/>
                    <a:pt x="57" y="541"/>
                  </a:cubicBezTo>
                  <a:cubicBezTo>
                    <a:pt x="49" y="545"/>
                    <a:pt x="45" y="555"/>
                    <a:pt x="49" y="563"/>
                  </a:cubicBezTo>
                  <a:cubicBezTo>
                    <a:pt x="53" y="571"/>
                    <a:pt x="63" y="574"/>
                    <a:pt x="72" y="570"/>
                  </a:cubicBezTo>
                  <a:close/>
                  <a:moveTo>
                    <a:pt x="116" y="548"/>
                  </a:moveTo>
                  <a:lnTo>
                    <a:pt x="116" y="548"/>
                  </a:lnTo>
                  <a:cubicBezTo>
                    <a:pt x="125" y="544"/>
                    <a:pt x="128" y="534"/>
                    <a:pt x="124" y="526"/>
                  </a:cubicBezTo>
                  <a:cubicBezTo>
                    <a:pt x="120" y="518"/>
                    <a:pt x="110" y="514"/>
                    <a:pt x="102" y="518"/>
                  </a:cubicBezTo>
                  <a:cubicBezTo>
                    <a:pt x="93" y="522"/>
                    <a:pt x="90" y="532"/>
                    <a:pt x="94" y="541"/>
                  </a:cubicBezTo>
                  <a:cubicBezTo>
                    <a:pt x="98" y="549"/>
                    <a:pt x="108" y="552"/>
                    <a:pt x="116" y="548"/>
                  </a:cubicBezTo>
                  <a:close/>
                  <a:moveTo>
                    <a:pt x="161" y="526"/>
                  </a:moveTo>
                  <a:lnTo>
                    <a:pt x="161" y="526"/>
                  </a:lnTo>
                  <a:cubicBezTo>
                    <a:pt x="169" y="522"/>
                    <a:pt x="173" y="512"/>
                    <a:pt x="169" y="503"/>
                  </a:cubicBezTo>
                  <a:cubicBezTo>
                    <a:pt x="164" y="495"/>
                    <a:pt x="154" y="492"/>
                    <a:pt x="146" y="496"/>
                  </a:cubicBezTo>
                  <a:cubicBezTo>
                    <a:pt x="138" y="500"/>
                    <a:pt x="135" y="510"/>
                    <a:pt x="139" y="518"/>
                  </a:cubicBezTo>
                  <a:cubicBezTo>
                    <a:pt x="143" y="527"/>
                    <a:pt x="153" y="530"/>
                    <a:pt x="161" y="526"/>
                  </a:cubicBezTo>
                  <a:close/>
                  <a:moveTo>
                    <a:pt x="187" y="503"/>
                  </a:moveTo>
                  <a:lnTo>
                    <a:pt x="187" y="503"/>
                  </a:lnTo>
                  <a:cubicBezTo>
                    <a:pt x="195" y="509"/>
                    <a:pt x="205" y="508"/>
                    <a:pt x="211" y="501"/>
                  </a:cubicBezTo>
                  <a:cubicBezTo>
                    <a:pt x="217" y="494"/>
                    <a:pt x="216" y="483"/>
                    <a:pt x="209" y="477"/>
                  </a:cubicBezTo>
                  <a:cubicBezTo>
                    <a:pt x="202" y="471"/>
                    <a:pt x="191" y="472"/>
                    <a:pt x="185" y="479"/>
                  </a:cubicBezTo>
                  <a:cubicBezTo>
                    <a:pt x="179" y="486"/>
                    <a:pt x="180" y="497"/>
                    <a:pt x="187" y="503"/>
                  </a:cubicBezTo>
                  <a:close/>
                  <a:moveTo>
                    <a:pt x="226" y="535"/>
                  </a:moveTo>
                  <a:lnTo>
                    <a:pt x="226" y="535"/>
                  </a:lnTo>
                  <a:cubicBezTo>
                    <a:pt x="233" y="541"/>
                    <a:pt x="243" y="540"/>
                    <a:pt x="249" y="533"/>
                  </a:cubicBezTo>
                  <a:cubicBezTo>
                    <a:pt x="255" y="526"/>
                    <a:pt x="254" y="516"/>
                    <a:pt x="247" y="510"/>
                  </a:cubicBezTo>
                  <a:cubicBezTo>
                    <a:pt x="240" y="504"/>
                    <a:pt x="230" y="505"/>
                    <a:pt x="224" y="512"/>
                  </a:cubicBezTo>
                  <a:cubicBezTo>
                    <a:pt x="218" y="519"/>
                    <a:pt x="219" y="529"/>
                    <a:pt x="226" y="535"/>
                  </a:cubicBezTo>
                  <a:close/>
                  <a:moveTo>
                    <a:pt x="264" y="567"/>
                  </a:moveTo>
                  <a:lnTo>
                    <a:pt x="264" y="567"/>
                  </a:lnTo>
                  <a:cubicBezTo>
                    <a:pt x="271" y="573"/>
                    <a:pt x="281" y="572"/>
                    <a:pt x="287" y="565"/>
                  </a:cubicBezTo>
                  <a:cubicBezTo>
                    <a:pt x="293" y="558"/>
                    <a:pt x="293" y="548"/>
                    <a:pt x="285" y="542"/>
                  </a:cubicBezTo>
                  <a:cubicBezTo>
                    <a:pt x="278" y="536"/>
                    <a:pt x="268" y="537"/>
                    <a:pt x="262" y="544"/>
                  </a:cubicBezTo>
                  <a:cubicBezTo>
                    <a:pt x="256" y="551"/>
                    <a:pt x="257" y="561"/>
                    <a:pt x="264" y="567"/>
                  </a:cubicBezTo>
                  <a:close/>
                  <a:moveTo>
                    <a:pt x="316" y="529"/>
                  </a:moveTo>
                  <a:lnTo>
                    <a:pt x="316" y="529"/>
                  </a:lnTo>
                  <a:cubicBezTo>
                    <a:pt x="321" y="521"/>
                    <a:pt x="318" y="511"/>
                    <a:pt x="310" y="506"/>
                  </a:cubicBezTo>
                  <a:cubicBezTo>
                    <a:pt x="302" y="502"/>
                    <a:pt x="292" y="505"/>
                    <a:pt x="287" y="513"/>
                  </a:cubicBezTo>
                  <a:cubicBezTo>
                    <a:pt x="282" y="520"/>
                    <a:pt x="285" y="531"/>
                    <a:pt x="293" y="535"/>
                  </a:cubicBezTo>
                  <a:cubicBezTo>
                    <a:pt x="301" y="540"/>
                    <a:pt x="311" y="537"/>
                    <a:pt x="316" y="529"/>
                  </a:cubicBezTo>
                  <a:close/>
                  <a:moveTo>
                    <a:pt x="341" y="486"/>
                  </a:moveTo>
                  <a:lnTo>
                    <a:pt x="341" y="486"/>
                  </a:lnTo>
                  <a:cubicBezTo>
                    <a:pt x="346" y="478"/>
                    <a:pt x="343" y="468"/>
                    <a:pt x="335" y="463"/>
                  </a:cubicBezTo>
                  <a:cubicBezTo>
                    <a:pt x="327" y="459"/>
                    <a:pt x="317" y="461"/>
                    <a:pt x="312" y="469"/>
                  </a:cubicBezTo>
                  <a:cubicBezTo>
                    <a:pt x="307" y="477"/>
                    <a:pt x="310" y="488"/>
                    <a:pt x="318" y="492"/>
                  </a:cubicBezTo>
                  <a:cubicBezTo>
                    <a:pt x="326" y="497"/>
                    <a:pt x="336" y="494"/>
                    <a:pt x="341" y="486"/>
                  </a:cubicBezTo>
                  <a:close/>
                  <a:moveTo>
                    <a:pt x="366" y="443"/>
                  </a:moveTo>
                  <a:lnTo>
                    <a:pt x="366" y="443"/>
                  </a:lnTo>
                  <a:cubicBezTo>
                    <a:pt x="370" y="435"/>
                    <a:pt x="368" y="424"/>
                    <a:pt x="360" y="420"/>
                  </a:cubicBezTo>
                  <a:cubicBezTo>
                    <a:pt x="352" y="415"/>
                    <a:pt x="342" y="418"/>
                    <a:pt x="337" y="426"/>
                  </a:cubicBezTo>
                  <a:cubicBezTo>
                    <a:pt x="332" y="434"/>
                    <a:pt x="335" y="444"/>
                    <a:pt x="343" y="449"/>
                  </a:cubicBezTo>
                  <a:cubicBezTo>
                    <a:pt x="351" y="453"/>
                    <a:pt x="361" y="451"/>
                    <a:pt x="366" y="443"/>
                  </a:cubicBezTo>
                  <a:close/>
                  <a:moveTo>
                    <a:pt x="370" y="418"/>
                  </a:moveTo>
                  <a:lnTo>
                    <a:pt x="370" y="418"/>
                  </a:lnTo>
                  <a:cubicBezTo>
                    <a:pt x="377" y="423"/>
                    <a:pt x="388" y="421"/>
                    <a:pt x="393" y="413"/>
                  </a:cubicBezTo>
                  <a:cubicBezTo>
                    <a:pt x="398" y="406"/>
                    <a:pt x="396" y="396"/>
                    <a:pt x="389" y="390"/>
                  </a:cubicBezTo>
                  <a:cubicBezTo>
                    <a:pt x="381" y="385"/>
                    <a:pt x="371" y="387"/>
                    <a:pt x="366" y="394"/>
                  </a:cubicBezTo>
                  <a:cubicBezTo>
                    <a:pt x="360" y="402"/>
                    <a:pt x="362" y="412"/>
                    <a:pt x="370" y="418"/>
                  </a:cubicBezTo>
                  <a:close/>
                  <a:moveTo>
                    <a:pt x="411" y="446"/>
                  </a:moveTo>
                  <a:lnTo>
                    <a:pt x="411" y="446"/>
                  </a:lnTo>
                  <a:cubicBezTo>
                    <a:pt x="418" y="451"/>
                    <a:pt x="429" y="450"/>
                    <a:pt x="434" y="442"/>
                  </a:cubicBezTo>
                  <a:cubicBezTo>
                    <a:pt x="439" y="435"/>
                    <a:pt x="438" y="424"/>
                    <a:pt x="430" y="419"/>
                  </a:cubicBezTo>
                  <a:cubicBezTo>
                    <a:pt x="422" y="414"/>
                    <a:pt x="412" y="416"/>
                    <a:pt x="407" y="423"/>
                  </a:cubicBezTo>
                  <a:cubicBezTo>
                    <a:pt x="401" y="431"/>
                    <a:pt x="403" y="441"/>
                    <a:pt x="411" y="446"/>
                  </a:cubicBezTo>
                  <a:close/>
                  <a:moveTo>
                    <a:pt x="452" y="475"/>
                  </a:moveTo>
                  <a:lnTo>
                    <a:pt x="452" y="475"/>
                  </a:lnTo>
                  <a:cubicBezTo>
                    <a:pt x="459" y="480"/>
                    <a:pt x="470" y="478"/>
                    <a:pt x="475" y="471"/>
                  </a:cubicBezTo>
                  <a:cubicBezTo>
                    <a:pt x="480" y="463"/>
                    <a:pt x="478" y="453"/>
                    <a:pt x="471" y="448"/>
                  </a:cubicBezTo>
                  <a:cubicBezTo>
                    <a:pt x="463" y="442"/>
                    <a:pt x="453" y="444"/>
                    <a:pt x="448" y="452"/>
                  </a:cubicBezTo>
                  <a:cubicBezTo>
                    <a:pt x="442" y="459"/>
                    <a:pt x="444" y="470"/>
                    <a:pt x="452" y="475"/>
                  </a:cubicBezTo>
                  <a:close/>
                  <a:moveTo>
                    <a:pt x="493" y="504"/>
                  </a:moveTo>
                  <a:lnTo>
                    <a:pt x="493" y="504"/>
                  </a:lnTo>
                  <a:cubicBezTo>
                    <a:pt x="500" y="509"/>
                    <a:pt x="511" y="507"/>
                    <a:pt x="516" y="500"/>
                  </a:cubicBezTo>
                  <a:cubicBezTo>
                    <a:pt x="521" y="492"/>
                    <a:pt x="519" y="482"/>
                    <a:pt x="512" y="476"/>
                  </a:cubicBezTo>
                  <a:cubicBezTo>
                    <a:pt x="504" y="471"/>
                    <a:pt x="494" y="473"/>
                    <a:pt x="489" y="480"/>
                  </a:cubicBezTo>
                  <a:cubicBezTo>
                    <a:pt x="483" y="488"/>
                    <a:pt x="485" y="498"/>
                    <a:pt x="493" y="504"/>
                  </a:cubicBezTo>
                  <a:close/>
                  <a:moveTo>
                    <a:pt x="534" y="532"/>
                  </a:moveTo>
                  <a:lnTo>
                    <a:pt x="534" y="532"/>
                  </a:lnTo>
                  <a:cubicBezTo>
                    <a:pt x="541" y="538"/>
                    <a:pt x="551" y="536"/>
                    <a:pt x="557" y="528"/>
                  </a:cubicBezTo>
                  <a:cubicBezTo>
                    <a:pt x="562" y="521"/>
                    <a:pt x="560" y="510"/>
                    <a:pt x="553" y="505"/>
                  </a:cubicBezTo>
                  <a:cubicBezTo>
                    <a:pt x="545" y="500"/>
                    <a:pt x="535" y="502"/>
                    <a:pt x="529" y="509"/>
                  </a:cubicBezTo>
                  <a:cubicBezTo>
                    <a:pt x="524" y="517"/>
                    <a:pt x="526" y="527"/>
                    <a:pt x="534" y="532"/>
                  </a:cubicBezTo>
                  <a:close/>
                  <a:moveTo>
                    <a:pt x="574" y="561"/>
                  </a:moveTo>
                  <a:lnTo>
                    <a:pt x="574" y="561"/>
                  </a:lnTo>
                  <a:cubicBezTo>
                    <a:pt x="582" y="567"/>
                    <a:pt x="592" y="565"/>
                    <a:pt x="598" y="557"/>
                  </a:cubicBezTo>
                  <a:cubicBezTo>
                    <a:pt x="603" y="550"/>
                    <a:pt x="601" y="539"/>
                    <a:pt x="593" y="534"/>
                  </a:cubicBezTo>
                  <a:cubicBezTo>
                    <a:pt x="586" y="529"/>
                    <a:pt x="576" y="530"/>
                    <a:pt x="570" y="538"/>
                  </a:cubicBezTo>
                  <a:cubicBezTo>
                    <a:pt x="565" y="545"/>
                    <a:pt x="567" y="556"/>
                    <a:pt x="574" y="561"/>
                  </a:cubicBezTo>
                  <a:close/>
                  <a:moveTo>
                    <a:pt x="615" y="590"/>
                  </a:moveTo>
                  <a:lnTo>
                    <a:pt x="615" y="590"/>
                  </a:lnTo>
                  <a:cubicBezTo>
                    <a:pt x="623" y="595"/>
                    <a:pt x="633" y="593"/>
                    <a:pt x="638" y="586"/>
                  </a:cubicBezTo>
                  <a:cubicBezTo>
                    <a:pt x="644" y="578"/>
                    <a:pt x="642" y="568"/>
                    <a:pt x="635" y="563"/>
                  </a:cubicBezTo>
                  <a:cubicBezTo>
                    <a:pt x="627" y="557"/>
                    <a:pt x="616" y="559"/>
                    <a:pt x="611" y="567"/>
                  </a:cubicBezTo>
                  <a:cubicBezTo>
                    <a:pt x="606" y="574"/>
                    <a:pt x="608" y="585"/>
                    <a:pt x="615" y="590"/>
                  </a:cubicBezTo>
                  <a:close/>
                  <a:moveTo>
                    <a:pt x="677" y="570"/>
                  </a:moveTo>
                  <a:lnTo>
                    <a:pt x="677" y="570"/>
                  </a:lnTo>
                  <a:cubicBezTo>
                    <a:pt x="685" y="565"/>
                    <a:pt x="688" y="555"/>
                    <a:pt x="684" y="547"/>
                  </a:cubicBezTo>
                  <a:cubicBezTo>
                    <a:pt x="679" y="539"/>
                    <a:pt x="669" y="536"/>
                    <a:pt x="661" y="540"/>
                  </a:cubicBezTo>
                  <a:cubicBezTo>
                    <a:pt x="653" y="545"/>
                    <a:pt x="650" y="555"/>
                    <a:pt x="654" y="563"/>
                  </a:cubicBezTo>
                  <a:cubicBezTo>
                    <a:pt x="659" y="571"/>
                    <a:pt x="669" y="574"/>
                    <a:pt x="677" y="570"/>
                  </a:cubicBezTo>
                  <a:close/>
                  <a:moveTo>
                    <a:pt x="721" y="546"/>
                  </a:moveTo>
                  <a:lnTo>
                    <a:pt x="721" y="546"/>
                  </a:lnTo>
                  <a:cubicBezTo>
                    <a:pt x="729" y="542"/>
                    <a:pt x="732" y="532"/>
                    <a:pt x="728" y="523"/>
                  </a:cubicBezTo>
                  <a:cubicBezTo>
                    <a:pt x="723" y="515"/>
                    <a:pt x="713" y="512"/>
                    <a:pt x="705" y="517"/>
                  </a:cubicBezTo>
                  <a:cubicBezTo>
                    <a:pt x="697" y="521"/>
                    <a:pt x="694" y="531"/>
                    <a:pt x="698" y="539"/>
                  </a:cubicBezTo>
                  <a:cubicBezTo>
                    <a:pt x="703" y="547"/>
                    <a:pt x="713" y="550"/>
                    <a:pt x="721" y="546"/>
                  </a:cubicBezTo>
                  <a:close/>
                  <a:moveTo>
                    <a:pt x="765" y="522"/>
                  </a:moveTo>
                  <a:lnTo>
                    <a:pt x="765" y="522"/>
                  </a:lnTo>
                  <a:cubicBezTo>
                    <a:pt x="773" y="518"/>
                    <a:pt x="776" y="508"/>
                    <a:pt x="771" y="500"/>
                  </a:cubicBezTo>
                  <a:cubicBezTo>
                    <a:pt x="767" y="492"/>
                    <a:pt x="757" y="489"/>
                    <a:pt x="749" y="493"/>
                  </a:cubicBezTo>
                  <a:cubicBezTo>
                    <a:pt x="741" y="497"/>
                    <a:pt x="738" y="507"/>
                    <a:pt x="742" y="516"/>
                  </a:cubicBezTo>
                  <a:cubicBezTo>
                    <a:pt x="746" y="524"/>
                    <a:pt x="757" y="527"/>
                    <a:pt x="765" y="522"/>
                  </a:cubicBezTo>
                  <a:close/>
                  <a:moveTo>
                    <a:pt x="809" y="499"/>
                  </a:moveTo>
                  <a:lnTo>
                    <a:pt x="809" y="499"/>
                  </a:lnTo>
                  <a:cubicBezTo>
                    <a:pt x="817" y="494"/>
                    <a:pt x="820" y="484"/>
                    <a:pt x="816" y="476"/>
                  </a:cubicBezTo>
                  <a:cubicBezTo>
                    <a:pt x="811" y="468"/>
                    <a:pt x="801" y="465"/>
                    <a:pt x="793" y="469"/>
                  </a:cubicBezTo>
                  <a:cubicBezTo>
                    <a:pt x="785" y="474"/>
                    <a:pt x="782" y="484"/>
                    <a:pt x="786" y="492"/>
                  </a:cubicBezTo>
                  <a:cubicBezTo>
                    <a:pt x="791" y="500"/>
                    <a:pt x="801" y="503"/>
                    <a:pt x="809" y="499"/>
                  </a:cubicBezTo>
                  <a:close/>
                  <a:moveTo>
                    <a:pt x="853" y="475"/>
                  </a:moveTo>
                  <a:lnTo>
                    <a:pt x="853" y="475"/>
                  </a:lnTo>
                  <a:cubicBezTo>
                    <a:pt x="861" y="471"/>
                    <a:pt x="864" y="461"/>
                    <a:pt x="860" y="452"/>
                  </a:cubicBezTo>
                  <a:cubicBezTo>
                    <a:pt x="855" y="444"/>
                    <a:pt x="845" y="441"/>
                    <a:pt x="837" y="446"/>
                  </a:cubicBezTo>
                  <a:cubicBezTo>
                    <a:pt x="829" y="450"/>
                    <a:pt x="826" y="460"/>
                    <a:pt x="830" y="468"/>
                  </a:cubicBezTo>
                  <a:cubicBezTo>
                    <a:pt x="835" y="476"/>
                    <a:pt x="845" y="479"/>
                    <a:pt x="853" y="475"/>
                  </a:cubicBezTo>
                  <a:close/>
                  <a:moveTo>
                    <a:pt x="897" y="451"/>
                  </a:moveTo>
                  <a:lnTo>
                    <a:pt x="897" y="451"/>
                  </a:lnTo>
                  <a:cubicBezTo>
                    <a:pt x="905" y="447"/>
                    <a:pt x="908" y="437"/>
                    <a:pt x="904" y="429"/>
                  </a:cubicBezTo>
                  <a:cubicBezTo>
                    <a:pt x="899" y="421"/>
                    <a:pt x="889" y="418"/>
                    <a:pt x="881" y="422"/>
                  </a:cubicBezTo>
                  <a:cubicBezTo>
                    <a:pt x="873" y="426"/>
                    <a:pt x="870" y="436"/>
                    <a:pt x="874" y="445"/>
                  </a:cubicBezTo>
                  <a:cubicBezTo>
                    <a:pt x="879" y="453"/>
                    <a:pt x="889" y="456"/>
                    <a:pt x="897" y="451"/>
                  </a:cubicBezTo>
                  <a:close/>
                  <a:moveTo>
                    <a:pt x="941" y="428"/>
                  </a:moveTo>
                  <a:lnTo>
                    <a:pt x="941" y="428"/>
                  </a:lnTo>
                  <a:cubicBezTo>
                    <a:pt x="949" y="423"/>
                    <a:pt x="952" y="413"/>
                    <a:pt x="948" y="405"/>
                  </a:cubicBezTo>
                  <a:cubicBezTo>
                    <a:pt x="943" y="397"/>
                    <a:pt x="933" y="394"/>
                    <a:pt x="925" y="398"/>
                  </a:cubicBezTo>
                  <a:cubicBezTo>
                    <a:pt x="917" y="403"/>
                    <a:pt x="914" y="413"/>
                    <a:pt x="918" y="421"/>
                  </a:cubicBezTo>
                  <a:cubicBezTo>
                    <a:pt x="923" y="429"/>
                    <a:pt x="933" y="432"/>
                    <a:pt x="941" y="428"/>
                  </a:cubicBezTo>
                  <a:close/>
                  <a:moveTo>
                    <a:pt x="976" y="411"/>
                  </a:moveTo>
                  <a:lnTo>
                    <a:pt x="976" y="411"/>
                  </a:lnTo>
                  <a:cubicBezTo>
                    <a:pt x="985" y="412"/>
                    <a:pt x="994" y="406"/>
                    <a:pt x="995" y="397"/>
                  </a:cubicBezTo>
                  <a:cubicBezTo>
                    <a:pt x="996" y="387"/>
                    <a:pt x="989" y="379"/>
                    <a:pt x="980" y="378"/>
                  </a:cubicBezTo>
                  <a:cubicBezTo>
                    <a:pt x="971" y="377"/>
                    <a:pt x="963" y="383"/>
                    <a:pt x="961" y="393"/>
                  </a:cubicBezTo>
                  <a:cubicBezTo>
                    <a:pt x="960" y="402"/>
                    <a:pt x="967" y="410"/>
                    <a:pt x="976" y="411"/>
                  </a:cubicBezTo>
                  <a:close/>
                  <a:moveTo>
                    <a:pt x="1026" y="417"/>
                  </a:moveTo>
                  <a:lnTo>
                    <a:pt x="1026" y="417"/>
                  </a:lnTo>
                  <a:cubicBezTo>
                    <a:pt x="1035" y="418"/>
                    <a:pt x="1043" y="412"/>
                    <a:pt x="1044" y="402"/>
                  </a:cubicBezTo>
                  <a:cubicBezTo>
                    <a:pt x="1045" y="393"/>
                    <a:pt x="1039" y="385"/>
                    <a:pt x="1030" y="384"/>
                  </a:cubicBezTo>
                  <a:cubicBezTo>
                    <a:pt x="1021" y="383"/>
                    <a:pt x="1012" y="389"/>
                    <a:pt x="1011" y="398"/>
                  </a:cubicBezTo>
                  <a:cubicBezTo>
                    <a:pt x="1010" y="408"/>
                    <a:pt x="1017" y="416"/>
                    <a:pt x="1026" y="417"/>
                  </a:cubicBezTo>
                  <a:close/>
                  <a:moveTo>
                    <a:pt x="1076" y="423"/>
                  </a:moveTo>
                  <a:lnTo>
                    <a:pt x="1076" y="423"/>
                  </a:lnTo>
                  <a:cubicBezTo>
                    <a:pt x="1085" y="424"/>
                    <a:pt x="1093" y="417"/>
                    <a:pt x="1094" y="408"/>
                  </a:cubicBezTo>
                  <a:cubicBezTo>
                    <a:pt x="1095" y="399"/>
                    <a:pt x="1088" y="391"/>
                    <a:pt x="1079" y="390"/>
                  </a:cubicBezTo>
                  <a:cubicBezTo>
                    <a:pt x="1070" y="389"/>
                    <a:pt x="1062" y="395"/>
                    <a:pt x="1061" y="404"/>
                  </a:cubicBezTo>
                  <a:cubicBezTo>
                    <a:pt x="1060" y="413"/>
                    <a:pt x="1066" y="422"/>
                    <a:pt x="1076" y="423"/>
                  </a:cubicBezTo>
                  <a:close/>
                  <a:moveTo>
                    <a:pt x="1125" y="429"/>
                  </a:moveTo>
                  <a:lnTo>
                    <a:pt x="1125" y="429"/>
                  </a:lnTo>
                  <a:cubicBezTo>
                    <a:pt x="1134" y="430"/>
                    <a:pt x="1143" y="423"/>
                    <a:pt x="1144" y="414"/>
                  </a:cubicBezTo>
                  <a:cubicBezTo>
                    <a:pt x="1145" y="405"/>
                    <a:pt x="1138" y="397"/>
                    <a:pt x="1129" y="396"/>
                  </a:cubicBezTo>
                  <a:cubicBezTo>
                    <a:pt x="1120" y="394"/>
                    <a:pt x="1112" y="401"/>
                    <a:pt x="1110" y="410"/>
                  </a:cubicBezTo>
                  <a:cubicBezTo>
                    <a:pt x="1109" y="419"/>
                    <a:pt x="1116" y="427"/>
                    <a:pt x="1125" y="429"/>
                  </a:cubicBezTo>
                  <a:close/>
                  <a:moveTo>
                    <a:pt x="1175" y="434"/>
                  </a:moveTo>
                  <a:lnTo>
                    <a:pt x="1175" y="434"/>
                  </a:lnTo>
                  <a:cubicBezTo>
                    <a:pt x="1184" y="435"/>
                    <a:pt x="1192" y="429"/>
                    <a:pt x="1193" y="420"/>
                  </a:cubicBezTo>
                  <a:cubicBezTo>
                    <a:pt x="1194" y="411"/>
                    <a:pt x="1188" y="402"/>
                    <a:pt x="1179" y="401"/>
                  </a:cubicBezTo>
                  <a:cubicBezTo>
                    <a:pt x="1170" y="400"/>
                    <a:pt x="1161" y="407"/>
                    <a:pt x="1160" y="416"/>
                  </a:cubicBezTo>
                  <a:cubicBezTo>
                    <a:pt x="1159" y="425"/>
                    <a:pt x="1166" y="433"/>
                    <a:pt x="1175" y="434"/>
                  </a:cubicBezTo>
                  <a:close/>
                  <a:moveTo>
                    <a:pt x="1224" y="440"/>
                  </a:moveTo>
                  <a:lnTo>
                    <a:pt x="1224" y="440"/>
                  </a:lnTo>
                  <a:cubicBezTo>
                    <a:pt x="1234" y="441"/>
                    <a:pt x="1242" y="435"/>
                    <a:pt x="1243" y="426"/>
                  </a:cubicBezTo>
                  <a:cubicBezTo>
                    <a:pt x="1244" y="417"/>
                    <a:pt x="1238" y="408"/>
                    <a:pt x="1228" y="407"/>
                  </a:cubicBezTo>
                  <a:cubicBezTo>
                    <a:pt x="1219" y="406"/>
                    <a:pt x="1211" y="413"/>
                    <a:pt x="1210" y="422"/>
                  </a:cubicBezTo>
                  <a:cubicBezTo>
                    <a:pt x="1209" y="431"/>
                    <a:pt x="1215" y="439"/>
                    <a:pt x="1224" y="440"/>
                  </a:cubicBezTo>
                  <a:close/>
                  <a:moveTo>
                    <a:pt x="1269" y="403"/>
                  </a:moveTo>
                  <a:lnTo>
                    <a:pt x="1269" y="403"/>
                  </a:lnTo>
                  <a:cubicBezTo>
                    <a:pt x="1269" y="394"/>
                    <a:pt x="1262" y="387"/>
                    <a:pt x="1253" y="387"/>
                  </a:cubicBezTo>
                  <a:cubicBezTo>
                    <a:pt x="1244" y="387"/>
                    <a:pt x="1236" y="394"/>
                    <a:pt x="1236" y="403"/>
                  </a:cubicBezTo>
                  <a:cubicBezTo>
                    <a:pt x="1236" y="412"/>
                    <a:pt x="1244" y="420"/>
                    <a:pt x="1253" y="420"/>
                  </a:cubicBezTo>
                  <a:cubicBezTo>
                    <a:pt x="1262" y="420"/>
                    <a:pt x="1269" y="412"/>
                    <a:pt x="1269" y="403"/>
                  </a:cubicBezTo>
                  <a:close/>
                  <a:moveTo>
                    <a:pt x="1269" y="353"/>
                  </a:moveTo>
                  <a:lnTo>
                    <a:pt x="1269" y="353"/>
                  </a:lnTo>
                  <a:cubicBezTo>
                    <a:pt x="1269" y="344"/>
                    <a:pt x="1262" y="337"/>
                    <a:pt x="1253" y="337"/>
                  </a:cubicBezTo>
                  <a:cubicBezTo>
                    <a:pt x="1244" y="337"/>
                    <a:pt x="1236" y="344"/>
                    <a:pt x="1236" y="353"/>
                  </a:cubicBezTo>
                  <a:cubicBezTo>
                    <a:pt x="1236" y="362"/>
                    <a:pt x="1244" y="370"/>
                    <a:pt x="1253" y="370"/>
                  </a:cubicBezTo>
                  <a:cubicBezTo>
                    <a:pt x="1262" y="370"/>
                    <a:pt x="1269" y="362"/>
                    <a:pt x="1269" y="353"/>
                  </a:cubicBezTo>
                  <a:close/>
                  <a:moveTo>
                    <a:pt x="1269" y="303"/>
                  </a:moveTo>
                  <a:lnTo>
                    <a:pt x="1269" y="303"/>
                  </a:lnTo>
                  <a:cubicBezTo>
                    <a:pt x="1269" y="294"/>
                    <a:pt x="1262" y="287"/>
                    <a:pt x="1253" y="287"/>
                  </a:cubicBezTo>
                  <a:cubicBezTo>
                    <a:pt x="1244" y="287"/>
                    <a:pt x="1236" y="294"/>
                    <a:pt x="1236" y="303"/>
                  </a:cubicBezTo>
                  <a:cubicBezTo>
                    <a:pt x="1236" y="312"/>
                    <a:pt x="1244" y="320"/>
                    <a:pt x="1253" y="320"/>
                  </a:cubicBezTo>
                  <a:cubicBezTo>
                    <a:pt x="1262" y="320"/>
                    <a:pt x="1269" y="312"/>
                    <a:pt x="1269" y="303"/>
                  </a:cubicBezTo>
                  <a:close/>
                  <a:moveTo>
                    <a:pt x="1269" y="253"/>
                  </a:moveTo>
                  <a:lnTo>
                    <a:pt x="1269" y="253"/>
                  </a:lnTo>
                  <a:cubicBezTo>
                    <a:pt x="1269" y="244"/>
                    <a:pt x="1262" y="237"/>
                    <a:pt x="1253" y="237"/>
                  </a:cubicBezTo>
                  <a:cubicBezTo>
                    <a:pt x="1244" y="237"/>
                    <a:pt x="1236" y="244"/>
                    <a:pt x="1236" y="253"/>
                  </a:cubicBezTo>
                  <a:cubicBezTo>
                    <a:pt x="1236" y="262"/>
                    <a:pt x="1244" y="270"/>
                    <a:pt x="1253" y="270"/>
                  </a:cubicBezTo>
                  <a:cubicBezTo>
                    <a:pt x="1262" y="270"/>
                    <a:pt x="1269" y="262"/>
                    <a:pt x="1269" y="253"/>
                  </a:cubicBezTo>
                  <a:close/>
                  <a:moveTo>
                    <a:pt x="1269" y="203"/>
                  </a:moveTo>
                  <a:lnTo>
                    <a:pt x="1269" y="203"/>
                  </a:lnTo>
                  <a:cubicBezTo>
                    <a:pt x="1269" y="194"/>
                    <a:pt x="1262" y="187"/>
                    <a:pt x="1253" y="187"/>
                  </a:cubicBezTo>
                  <a:cubicBezTo>
                    <a:pt x="1244" y="187"/>
                    <a:pt x="1236" y="194"/>
                    <a:pt x="1236" y="203"/>
                  </a:cubicBezTo>
                  <a:cubicBezTo>
                    <a:pt x="1236" y="212"/>
                    <a:pt x="1244" y="220"/>
                    <a:pt x="1253" y="220"/>
                  </a:cubicBezTo>
                  <a:cubicBezTo>
                    <a:pt x="1262" y="220"/>
                    <a:pt x="1269" y="212"/>
                    <a:pt x="1269" y="203"/>
                  </a:cubicBezTo>
                  <a:close/>
                  <a:moveTo>
                    <a:pt x="1234" y="154"/>
                  </a:moveTo>
                  <a:lnTo>
                    <a:pt x="1234" y="154"/>
                  </a:lnTo>
                  <a:cubicBezTo>
                    <a:pt x="1226" y="150"/>
                    <a:pt x="1216" y="152"/>
                    <a:pt x="1211" y="160"/>
                  </a:cubicBezTo>
                  <a:cubicBezTo>
                    <a:pt x="1207" y="168"/>
                    <a:pt x="1209" y="178"/>
                    <a:pt x="1217" y="183"/>
                  </a:cubicBezTo>
                  <a:cubicBezTo>
                    <a:pt x="1225" y="188"/>
                    <a:pt x="1235" y="185"/>
                    <a:pt x="1240" y="177"/>
                  </a:cubicBezTo>
                  <a:cubicBezTo>
                    <a:pt x="1245" y="169"/>
                    <a:pt x="1242" y="159"/>
                    <a:pt x="1234" y="154"/>
                  </a:cubicBezTo>
                  <a:close/>
                  <a:moveTo>
                    <a:pt x="1191" y="129"/>
                  </a:moveTo>
                  <a:lnTo>
                    <a:pt x="1191" y="129"/>
                  </a:lnTo>
                  <a:cubicBezTo>
                    <a:pt x="1183" y="124"/>
                    <a:pt x="1173" y="127"/>
                    <a:pt x="1168" y="135"/>
                  </a:cubicBezTo>
                  <a:cubicBezTo>
                    <a:pt x="1164" y="143"/>
                    <a:pt x="1166" y="153"/>
                    <a:pt x="1174" y="157"/>
                  </a:cubicBezTo>
                  <a:cubicBezTo>
                    <a:pt x="1182" y="162"/>
                    <a:pt x="1192" y="160"/>
                    <a:pt x="1197" y="152"/>
                  </a:cubicBezTo>
                  <a:cubicBezTo>
                    <a:pt x="1202" y="144"/>
                    <a:pt x="1199" y="133"/>
                    <a:pt x="1191" y="129"/>
                  </a:cubicBezTo>
                  <a:close/>
                  <a:moveTo>
                    <a:pt x="1148" y="104"/>
                  </a:moveTo>
                  <a:lnTo>
                    <a:pt x="1148" y="104"/>
                  </a:lnTo>
                  <a:cubicBezTo>
                    <a:pt x="1140" y="99"/>
                    <a:pt x="1130" y="101"/>
                    <a:pt x="1125" y="109"/>
                  </a:cubicBezTo>
                  <a:cubicBezTo>
                    <a:pt x="1121" y="117"/>
                    <a:pt x="1123" y="128"/>
                    <a:pt x="1131" y="132"/>
                  </a:cubicBezTo>
                  <a:cubicBezTo>
                    <a:pt x="1139" y="137"/>
                    <a:pt x="1149" y="134"/>
                    <a:pt x="1154" y="126"/>
                  </a:cubicBezTo>
                  <a:cubicBezTo>
                    <a:pt x="1159" y="118"/>
                    <a:pt x="1156" y="108"/>
                    <a:pt x="1148" y="104"/>
                  </a:cubicBezTo>
                  <a:close/>
                  <a:moveTo>
                    <a:pt x="1105" y="78"/>
                  </a:moveTo>
                  <a:lnTo>
                    <a:pt x="1105" y="78"/>
                  </a:lnTo>
                  <a:cubicBezTo>
                    <a:pt x="1097" y="73"/>
                    <a:pt x="1087" y="76"/>
                    <a:pt x="1082" y="84"/>
                  </a:cubicBezTo>
                  <a:cubicBezTo>
                    <a:pt x="1077" y="92"/>
                    <a:pt x="1080" y="102"/>
                    <a:pt x="1088" y="107"/>
                  </a:cubicBezTo>
                  <a:cubicBezTo>
                    <a:pt x="1096" y="111"/>
                    <a:pt x="1106" y="109"/>
                    <a:pt x="1111" y="101"/>
                  </a:cubicBezTo>
                  <a:cubicBezTo>
                    <a:pt x="1116" y="93"/>
                    <a:pt x="1113" y="83"/>
                    <a:pt x="1105" y="78"/>
                  </a:cubicBezTo>
                  <a:close/>
                  <a:moveTo>
                    <a:pt x="1062" y="53"/>
                  </a:moveTo>
                  <a:lnTo>
                    <a:pt x="1062" y="53"/>
                  </a:lnTo>
                  <a:cubicBezTo>
                    <a:pt x="1054" y="48"/>
                    <a:pt x="1044" y="51"/>
                    <a:pt x="1039" y="58"/>
                  </a:cubicBezTo>
                  <a:cubicBezTo>
                    <a:pt x="1034" y="66"/>
                    <a:pt x="1037" y="77"/>
                    <a:pt x="1045" y="81"/>
                  </a:cubicBezTo>
                  <a:cubicBezTo>
                    <a:pt x="1053" y="86"/>
                    <a:pt x="1063" y="83"/>
                    <a:pt x="1068" y="75"/>
                  </a:cubicBezTo>
                  <a:cubicBezTo>
                    <a:pt x="1073" y="67"/>
                    <a:pt x="1070" y="57"/>
                    <a:pt x="1062" y="53"/>
                  </a:cubicBezTo>
                  <a:close/>
                  <a:moveTo>
                    <a:pt x="1019" y="27"/>
                  </a:moveTo>
                  <a:lnTo>
                    <a:pt x="1019" y="27"/>
                  </a:lnTo>
                  <a:cubicBezTo>
                    <a:pt x="1011" y="23"/>
                    <a:pt x="1001" y="25"/>
                    <a:pt x="996" y="33"/>
                  </a:cubicBezTo>
                  <a:cubicBezTo>
                    <a:pt x="991" y="41"/>
                    <a:pt x="994" y="51"/>
                    <a:pt x="1002" y="56"/>
                  </a:cubicBezTo>
                  <a:cubicBezTo>
                    <a:pt x="1010" y="60"/>
                    <a:pt x="1020" y="58"/>
                    <a:pt x="1025" y="50"/>
                  </a:cubicBezTo>
                  <a:cubicBezTo>
                    <a:pt x="1029" y="42"/>
                    <a:pt x="1027" y="32"/>
                    <a:pt x="1019" y="27"/>
                  </a:cubicBezTo>
                  <a:close/>
                  <a:moveTo>
                    <a:pt x="956" y="7"/>
                  </a:moveTo>
                  <a:lnTo>
                    <a:pt x="956" y="7"/>
                  </a:lnTo>
                  <a:cubicBezTo>
                    <a:pt x="949" y="13"/>
                    <a:pt x="950" y="24"/>
                    <a:pt x="956" y="31"/>
                  </a:cubicBezTo>
                  <a:cubicBezTo>
                    <a:pt x="963" y="37"/>
                    <a:pt x="973" y="37"/>
                    <a:pt x="980" y="30"/>
                  </a:cubicBezTo>
                  <a:cubicBezTo>
                    <a:pt x="986" y="24"/>
                    <a:pt x="986" y="13"/>
                    <a:pt x="979" y="7"/>
                  </a:cubicBezTo>
                  <a:cubicBezTo>
                    <a:pt x="973" y="0"/>
                    <a:pt x="962" y="0"/>
                    <a:pt x="956" y="7"/>
                  </a:cubicBezTo>
                  <a:close/>
                  <a:moveTo>
                    <a:pt x="921" y="43"/>
                  </a:moveTo>
                  <a:lnTo>
                    <a:pt x="921" y="43"/>
                  </a:lnTo>
                  <a:cubicBezTo>
                    <a:pt x="914" y="49"/>
                    <a:pt x="914" y="60"/>
                    <a:pt x="921" y="66"/>
                  </a:cubicBezTo>
                  <a:cubicBezTo>
                    <a:pt x="928" y="73"/>
                    <a:pt x="938" y="73"/>
                    <a:pt x="945" y="66"/>
                  </a:cubicBezTo>
                  <a:cubicBezTo>
                    <a:pt x="951" y="59"/>
                    <a:pt x="951" y="49"/>
                    <a:pt x="944" y="42"/>
                  </a:cubicBezTo>
                  <a:cubicBezTo>
                    <a:pt x="938" y="36"/>
                    <a:pt x="927" y="36"/>
                    <a:pt x="921" y="43"/>
                  </a:cubicBezTo>
                  <a:close/>
                  <a:moveTo>
                    <a:pt x="886" y="78"/>
                  </a:moveTo>
                  <a:lnTo>
                    <a:pt x="886" y="78"/>
                  </a:lnTo>
                  <a:cubicBezTo>
                    <a:pt x="879" y="85"/>
                    <a:pt x="879" y="95"/>
                    <a:pt x="886" y="102"/>
                  </a:cubicBezTo>
                  <a:cubicBezTo>
                    <a:pt x="892" y="108"/>
                    <a:pt x="903" y="108"/>
                    <a:pt x="909" y="102"/>
                  </a:cubicBezTo>
                  <a:cubicBezTo>
                    <a:pt x="916" y="95"/>
                    <a:pt x="916" y="84"/>
                    <a:pt x="909" y="78"/>
                  </a:cubicBezTo>
                  <a:cubicBezTo>
                    <a:pt x="903" y="72"/>
                    <a:pt x="892" y="72"/>
                    <a:pt x="886" y="78"/>
                  </a:cubicBezTo>
                  <a:close/>
                  <a:moveTo>
                    <a:pt x="851" y="114"/>
                  </a:moveTo>
                  <a:lnTo>
                    <a:pt x="851" y="114"/>
                  </a:lnTo>
                  <a:cubicBezTo>
                    <a:pt x="844" y="120"/>
                    <a:pt x="844" y="131"/>
                    <a:pt x="851" y="137"/>
                  </a:cubicBezTo>
                  <a:cubicBezTo>
                    <a:pt x="857" y="144"/>
                    <a:pt x="868" y="144"/>
                    <a:pt x="875" y="137"/>
                  </a:cubicBezTo>
                  <a:cubicBezTo>
                    <a:pt x="881" y="131"/>
                    <a:pt x="881" y="120"/>
                    <a:pt x="874" y="114"/>
                  </a:cubicBezTo>
                  <a:cubicBezTo>
                    <a:pt x="868" y="107"/>
                    <a:pt x="857" y="107"/>
                    <a:pt x="851" y="114"/>
                  </a:cubicBezTo>
                  <a:close/>
                  <a:moveTo>
                    <a:pt x="816" y="150"/>
                  </a:moveTo>
                  <a:lnTo>
                    <a:pt x="816" y="150"/>
                  </a:lnTo>
                  <a:cubicBezTo>
                    <a:pt x="809" y="156"/>
                    <a:pt x="809" y="167"/>
                    <a:pt x="816" y="173"/>
                  </a:cubicBezTo>
                  <a:cubicBezTo>
                    <a:pt x="822" y="179"/>
                    <a:pt x="833" y="179"/>
                    <a:pt x="839" y="173"/>
                  </a:cubicBezTo>
                  <a:cubicBezTo>
                    <a:pt x="846" y="166"/>
                    <a:pt x="846" y="156"/>
                    <a:pt x="839" y="149"/>
                  </a:cubicBezTo>
                  <a:cubicBezTo>
                    <a:pt x="833" y="143"/>
                    <a:pt x="822" y="143"/>
                    <a:pt x="816" y="150"/>
                  </a:cubicBezTo>
                  <a:close/>
                  <a:moveTo>
                    <a:pt x="781" y="185"/>
                  </a:moveTo>
                  <a:lnTo>
                    <a:pt x="781" y="185"/>
                  </a:lnTo>
                  <a:cubicBezTo>
                    <a:pt x="774" y="192"/>
                    <a:pt x="774" y="202"/>
                    <a:pt x="781" y="209"/>
                  </a:cubicBezTo>
                  <a:cubicBezTo>
                    <a:pt x="787" y="215"/>
                    <a:pt x="798" y="215"/>
                    <a:pt x="804" y="209"/>
                  </a:cubicBezTo>
                  <a:cubicBezTo>
                    <a:pt x="811" y="202"/>
                    <a:pt x="811" y="191"/>
                    <a:pt x="804" y="185"/>
                  </a:cubicBezTo>
                  <a:cubicBezTo>
                    <a:pt x="798" y="179"/>
                    <a:pt x="787" y="179"/>
                    <a:pt x="781" y="185"/>
                  </a:cubicBezTo>
                  <a:close/>
                  <a:moveTo>
                    <a:pt x="746" y="221"/>
                  </a:moveTo>
                  <a:lnTo>
                    <a:pt x="746" y="221"/>
                  </a:lnTo>
                  <a:cubicBezTo>
                    <a:pt x="739" y="228"/>
                    <a:pt x="739" y="238"/>
                    <a:pt x="746" y="244"/>
                  </a:cubicBezTo>
                  <a:cubicBezTo>
                    <a:pt x="752" y="251"/>
                    <a:pt x="763" y="251"/>
                    <a:pt x="769" y="244"/>
                  </a:cubicBezTo>
                  <a:cubicBezTo>
                    <a:pt x="776" y="238"/>
                    <a:pt x="776" y="227"/>
                    <a:pt x="769" y="221"/>
                  </a:cubicBezTo>
                  <a:cubicBezTo>
                    <a:pt x="763" y="214"/>
                    <a:pt x="752" y="214"/>
                    <a:pt x="746" y="221"/>
                  </a:cubicBez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32" name="Freeform 2914">
              <a:extLst>
                <a:ext uri="{FF2B5EF4-FFF2-40B4-BE49-F238E27FC236}">
                  <a16:creationId xmlns:a16="http://schemas.microsoft.com/office/drawing/2014/main" id="{4B7481DE-4E11-8F87-BB56-3EAD69540A82}"/>
                </a:ext>
              </a:extLst>
            </p:cNvPr>
            <p:cNvSpPr>
              <a:spLocks noEditPoints="1"/>
            </p:cNvSpPr>
            <p:nvPr/>
          </p:nvSpPr>
          <p:spPr bwMode="auto">
            <a:xfrm>
              <a:off x="8296423" y="2200801"/>
              <a:ext cx="1023147" cy="1691319"/>
            </a:xfrm>
            <a:custGeom>
              <a:avLst/>
              <a:gdLst>
                <a:gd name="T0" fmla="*/ 188 w 376"/>
                <a:gd name="T1" fmla="*/ 312 h 626"/>
                <a:gd name="T2" fmla="*/ 188 w 376"/>
                <a:gd name="T3" fmla="*/ 296 h 626"/>
                <a:gd name="T4" fmla="*/ 121 w 376"/>
                <a:gd name="T5" fmla="*/ 268 h 626"/>
                <a:gd name="T6" fmla="*/ 94 w 376"/>
                <a:gd name="T7" fmla="*/ 202 h 626"/>
                <a:gd name="T8" fmla="*/ 121 w 376"/>
                <a:gd name="T9" fmla="*/ 135 h 626"/>
                <a:gd name="T10" fmla="*/ 188 w 376"/>
                <a:gd name="T11" fmla="*/ 108 h 626"/>
                <a:gd name="T12" fmla="*/ 254 w 376"/>
                <a:gd name="T13" fmla="*/ 135 h 626"/>
                <a:gd name="T14" fmla="*/ 282 w 376"/>
                <a:gd name="T15" fmla="*/ 202 h 626"/>
                <a:gd name="T16" fmla="*/ 254 w 376"/>
                <a:gd name="T17" fmla="*/ 268 h 626"/>
                <a:gd name="T18" fmla="*/ 188 w 376"/>
                <a:gd name="T19" fmla="*/ 296 h 626"/>
                <a:gd name="T20" fmla="*/ 188 w 376"/>
                <a:gd name="T21" fmla="*/ 312 h 626"/>
                <a:gd name="T22" fmla="*/ 188 w 376"/>
                <a:gd name="T23" fmla="*/ 329 h 626"/>
                <a:gd name="T24" fmla="*/ 315 w 376"/>
                <a:gd name="T25" fmla="*/ 202 h 626"/>
                <a:gd name="T26" fmla="*/ 188 w 376"/>
                <a:gd name="T27" fmla="*/ 74 h 626"/>
                <a:gd name="T28" fmla="*/ 61 w 376"/>
                <a:gd name="T29" fmla="*/ 202 h 626"/>
                <a:gd name="T30" fmla="*/ 188 w 376"/>
                <a:gd name="T31" fmla="*/ 329 h 626"/>
                <a:gd name="T32" fmla="*/ 188 w 376"/>
                <a:gd name="T33" fmla="*/ 312 h 626"/>
                <a:gd name="T34" fmla="*/ 188 w 376"/>
                <a:gd name="T35" fmla="*/ 17 h 626"/>
                <a:gd name="T36" fmla="*/ 188 w 376"/>
                <a:gd name="T37" fmla="*/ 0 h 626"/>
                <a:gd name="T38" fmla="*/ 0 w 376"/>
                <a:gd name="T39" fmla="*/ 188 h 626"/>
                <a:gd name="T40" fmla="*/ 8 w 376"/>
                <a:gd name="T41" fmla="*/ 237 h 626"/>
                <a:gd name="T42" fmla="*/ 103 w 376"/>
                <a:gd name="T43" fmla="*/ 465 h 626"/>
                <a:gd name="T44" fmla="*/ 173 w 376"/>
                <a:gd name="T45" fmla="*/ 599 h 626"/>
                <a:gd name="T46" fmla="*/ 188 w 376"/>
                <a:gd name="T47" fmla="*/ 626 h 626"/>
                <a:gd name="T48" fmla="*/ 203 w 376"/>
                <a:gd name="T49" fmla="*/ 599 h 626"/>
                <a:gd name="T50" fmla="*/ 289 w 376"/>
                <a:gd name="T51" fmla="*/ 433 h 626"/>
                <a:gd name="T52" fmla="*/ 348 w 376"/>
                <a:gd name="T53" fmla="*/ 297 h 626"/>
                <a:gd name="T54" fmla="*/ 368 w 376"/>
                <a:gd name="T55" fmla="*/ 237 h 626"/>
                <a:gd name="T56" fmla="*/ 376 w 376"/>
                <a:gd name="T57" fmla="*/ 188 h 626"/>
                <a:gd name="T58" fmla="*/ 188 w 376"/>
                <a:gd name="T59" fmla="*/ 0 h 626"/>
                <a:gd name="T60" fmla="*/ 188 w 376"/>
                <a:gd name="T61" fmla="*/ 17 h 626"/>
                <a:gd name="T62" fmla="*/ 188 w 376"/>
                <a:gd name="T63" fmla="*/ 33 h 626"/>
                <a:gd name="T64" fmla="*/ 297 w 376"/>
                <a:gd name="T65" fmla="*/ 79 h 626"/>
                <a:gd name="T66" fmla="*/ 343 w 376"/>
                <a:gd name="T67" fmla="*/ 188 h 626"/>
                <a:gd name="T68" fmla="*/ 336 w 376"/>
                <a:gd name="T69" fmla="*/ 228 h 626"/>
                <a:gd name="T70" fmla="*/ 243 w 376"/>
                <a:gd name="T71" fmla="*/ 450 h 626"/>
                <a:gd name="T72" fmla="*/ 194 w 376"/>
                <a:gd name="T73" fmla="*/ 545 h 626"/>
                <a:gd name="T74" fmla="*/ 179 w 376"/>
                <a:gd name="T75" fmla="*/ 573 h 626"/>
                <a:gd name="T76" fmla="*/ 173 w 376"/>
                <a:gd name="T77" fmla="*/ 583 h 626"/>
                <a:gd name="T78" fmla="*/ 188 w 376"/>
                <a:gd name="T79" fmla="*/ 591 h 626"/>
                <a:gd name="T80" fmla="*/ 203 w 376"/>
                <a:gd name="T81" fmla="*/ 583 h 626"/>
                <a:gd name="T82" fmla="*/ 195 w 376"/>
                <a:gd name="T83" fmla="*/ 570 h 626"/>
                <a:gd name="T84" fmla="*/ 101 w 376"/>
                <a:gd name="T85" fmla="*/ 384 h 626"/>
                <a:gd name="T86" fmla="*/ 53 w 376"/>
                <a:gd name="T87" fmla="*/ 270 h 626"/>
                <a:gd name="T88" fmla="*/ 38 w 376"/>
                <a:gd name="T89" fmla="*/ 222 h 626"/>
                <a:gd name="T90" fmla="*/ 33 w 376"/>
                <a:gd name="T91" fmla="*/ 188 h 626"/>
                <a:gd name="T92" fmla="*/ 78 w 376"/>
                <a:gd name="T93" fmla="*/ 79 h 626"/>
                <a:gd name="T94" fmla="*/ 188 w 376"/>
                <a:gd name="T95" fmla="*/ 33 h 626"/>
                <a:gd name="T96" fmla="*/ 188 w 376"/>
                <a:gd name="T97" fmla="*/ 17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6" h="626">
                  <a:moveTo>
                    <a:pt x="188" y="312"/>
                  </a:moveTo>
                  <a:lnTo>
                    <a:pt x="188" y="296"/>
                  </a:lnTo>
                  <a:cubicBezTo>
                    <a:pt x="162" y="296"/>
                    <a:pt x="139" y="285"/>
                    <a:pt x="121" y="268"/>
                  </a:cubicBezTo>
                  <a:cubicBezTo>
                    <a:pt x="104" y="251"/>
                    <a:pt x="94" y="228"/>
                    <a:pt x="94" y="202"/>
                  </a:cubicBezTo>
                  <a:cubicBezTo>
                    <a:pt x="94" y="176"/>
                    <a:pt x="104" y="152"/>
                    <a:pt x="121" y="135"/>
                  </a:cubicBezTo>
                  <a:cubicBezTo>
                    <a:pt x="139" y="118"/>
                    <a:pt x="162" y="108"/>
                    <a:pt x="188" y="108"/>
                  </a:cubicBezTo>
                  <a:cubicBezTo>
                    <a:pt x="214" y="108"/>
                    <a:pt x="237" y="118"/>
                    <a:pt x="254" y="135"/>
                  </a:cubicBezTo>
                  <a:cubicBezTo>
                    <a:pt x="271" y="152"/>
                    <a:pt x="282" y="176"/>
                    <a:pt x="282" y="202"/>
                  </a:cubicBezTo>
                  <a:cubicBezTo>
                    <a:pt x="282" y="228"/>
                    <a:pt x="271" y="251"/>
                    <a:pt x="254" y="268"/>
                  </a:cubicBezTo>
                  <a:cubicBezTo>
                    <a:pt x="237" y="285"/>
                    <a:pt x="214" y="296"/>
                    <a:pt x="188" y="296"/>
                  </a:cubicBezTo>
                  <a:lnTo>
                    <a:pt x="188" y="312"/>
                  </a:lnTo>
                  <a:lnTo>
                    <a:pt x="188" y="329"/>
                  </a:lnTo>
                  <a:cubicBezTo>
                    <a:pt x="258" y="329"/>
                    <a:pt x="315" y="272"/>
                    <a:pt x="315" y="202"/>
                  </a:cubicBezTo>
                  <a:cubicBezTo>
                    <a:pt x="315" y="131"/>
                    <a:pt x="258" y="74"/>
                    <a:pt x="188" y="74"/>
                  </a:cubicBezTo>
                  <a:cubicBezTo>
                    <a:pt x="118" y="74"/>
                    <a:pt x="61" y="131"/>
                    <a:pt x="61" y="202"/>
                  </a:cubicBezTo>
                  <a:cubicBezTo>
                    <a:pt x="61" y="272"/>
                    <a:pt x="118" y="329"/>
                    <a:pt x="188" y="329"/>
                  </a:cubicBezTo>
                  <a:lnTo>
                    <a:pt x="188" y="312"/>
                  </a:lnTo>
                  <a:close/>
                  <a:moveTo>
                    <a:pt x="188" y="17"/>
                  </a:moveTo>
                  <a:lnTo>
                    <a:pt x="188" y="0"/>
                  </a:lnTo>
                  <a:cubicBezTo>
                    <a:pt x="84" y="0"/>
                    <a:pt x="0" y="84"/>
                    <a:pt x="0" y="188"/>
                  </a:cubicBezTo>
                  <a:cubicBezTo>
                    <a:pt x="0" y="203"/>
                    <a:pt x="3" y="219"/>
                    <a:pt x="8" y="237"/>
                  </a:cubicBezTo>
                  <a:cubicBezTo>
                    <a:pt x="25" y="301"/>
                    <a:pt x="66" y="390"/>
                    <a:pt x="103" y="465"/>
                  </a:cubicBezTo>
                  <a:cubicBezTo>
                    <a:pt x="140" y="540"/>
                    <a:pt x="173" y="599"/>
                    <a:pt x="173" y="599"/>
                  </a:cubicBezTo>
                  <a:lnTo>
                    <a:pt x="188" y="626"/>
                  </a:lnTo>
                  <a:lnTo>
                    <a:pt x="203" y="599"/>
                  </a:lnTo>
                  <a:cubicBezTo>
                    <a:pt x="203" y="599"/>
                    <a:pt x="246" y="522"/>
                    <a:pt x="289" y="433"/>
                  </a:cubicBezTo>
                  <a:cubicBezTo>
                    <a:pt x="310" y="388"/>
                    <a:pt x="332" y="340"/>
                    <a:pt x="348" y="297"/>
                  </a:cubicBezTo>
                  <a:cubicBezTo>
                    <a:pt x="356" y="276"/>
                    <a:pt x="363" y="255"/>
                    <a:pt x="368" y="237"/>
                  </a:cubicBezTo>
                  <a:cubicBezTo>
                    <a:pt x="373" y="219"/>
                    <a:pt x="376" y="203"/>
                    <a:pt x="376" y="188"/>
                  </a:cubicBezTo>
                  <a:cubicBezTo>
                    <a:pt x="376" y="84"/>
                    <a:pt x="292" y="0"/>
                    <a:pt x="188" y="0"/>
                  </a:cubicBezTo>
                  <a:lnTo>
                    <a:pt x="188" y="17"/>
                  </a:lnTo>
                  <a:lnTo>
                    <a:pt x="188" y="33"/>
                  </a:lnTo>
                  <a:cubicBezTo>
                    <a:pt x="231" y="33"/>
                    <a:pt x="269" y="51"/>
                    <a:pt x="297" y="79"/>
                  </a:cubicBezTo>
                  <a:cubicBezTo>
                    <a:pt x="325" y="107"/>
                    <a:pt x="343" y="145"/>
                    <a:pt x="343" y="188"/>
                  </a:cubicBezTo>
                  <a:cubicBezTo>
                    <a:pt x="343" y="197"/>
                    <a:pt x="340" y="212"/>
                    <a:pt x="336" y="228"/>
                  </a:cubicBezTo>
                  <a:cubicBezTo>
                    <a:pt x="320" y="287"/>
                    <a:pt x="280" y="377"/>
                    <a:pt x="243" y="450"/>
                  </a:cubicBezTo>
                  <a:cubicBezTo>
                    <a:pt x="224" y="487"/>
                    <a:pt x="207" y="521"/>
                    <a:pt x="194" y="545"/>
                  </a:cubicBezTo>
                  <a:cubicBezTo>
                    <a:pt x="188" y="557"/>
                    <a:pt x="183" y="566"/>
                    <a:pt x="179" y="573"/>
                  </a:cubicBezTo>
                  <a:cubicBezTo>
                    <a:pt x="175" y="579"/>
                    <a:pt x="173" y="583"/>
                    <a:pt x="173" y="583"/>
                  </a:cubicBezTo>
                  <a:lnTo>
                    <a:pt x="188" y="591"/>
                  </a:lnTo>
                  <a:lnTo>
                    <a:pt x="203" y="583"/>
                  </a:lnTo>
                  <a:cubicBezTo>
                    <a:pt x="203" y="583"/>
                    <a:pt x="200" y="578"/>
                    <a:pt x="195" y="570"/>
                  </a:cubicBezTo>
                  <a:cubicBezTo>
                    <a:pt x="179" y="540"/>
                    <a:pt x="138" y="463"/>
                    <a:pt x="101" y="384"/>
                  </a:cubicBezTo>
                  <a:cubicBezTo>
                    <a:pt x="83" y="345"/>
                    <a:pt x="66" y="305"/>
                    <a:pt x="53" y="270"/>
                  </a:cubicBezTo>
                  <a:cubicBezTo>
                    <a:pt x="47" y="252"/>
                    <a:pt x="42" y="236"/>
                    <a:pt x="38" y="222"/>
                  </a:cubicBezTo>
                  <a:cubicBezTo>
                    <a:pt x="35" y="208"/>
                    <a:pt x="33" y="196"/>
                    <a:pt x="33" y="188"/>
                  </a:cubicBezTo>
                  <a:cubicBezTo>
                    <a:pt x="33" y="145"/>
                    <a:pt x="50" y="107"/>
                    <a:pt x="78" y="79"/>
                  </a:cubicBezTo>
                  <a:cubicBezTo>
                    <a:pt x="107" y="51"/>
                    <a:pt x="145" y="33"/>
                    <a:pt x="188" y="33"/>
                  </a:cubicBezTo>
                  <a:lnTo>
                    <a:pt x="188" y="17"/>
                  </a:lnTo>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33" name="Freeform 2916">
              <a:extLst>
                <a:ext uri="{FF2B5EF4-FFF2-40B4-BE49-F238E27FC236}">
                  <a16:creationId xmlns:a16="http://schemas.microsoft.com/office/drawing/2014/main" id="{E481ACEE-7353-07CF-DC9A-B0CDF42B7E32}"/>
                </a:ext>
              </a:extLst>
            </p:cNvPr>
            <p:cNvSpPr>
              <a:spLocks noEditPoints="1"/>
            </p:cNvSpPr>
            <p:nvPr/>
          </p:nvSpPr>
          <p:spPr bwMode="auto">
            <a:xfrm>
              <a:off x="8755792" y="2200801"/>
              <a:ext cx="563778" cy="1628671"/>
            </a:xfrm>
            <a:custGeom>
              <a:avLst/>
              <a:gdLst>
                <a:gd name="T0" fmla="*/ 30 w 203"/>
                <a:gd name="T1" fmla="*/ 599 h 599"/>
                <a:gd name="T2" fmla="*/ 116 w 203"/>
                <a:gd name="T3" fmla="*/ 433 h 599"/>
                <a:gd name="T4" fmla="*/ 175 w 203"/>
                <a:gd name="T5" fmla="*/ 297 h 599"/>
                <a:gd name="T6" fmla="*/ 195 w 203"/>
                <a:gd name="T7" fmla="*/ 237 h 599"/>
                <a:gd name="T8" fmla="*/ 203 w 203"/>
                <a:gd name="T9" fmla="*/ 188 h 599"/>
                <a:gd name="T10" fmla="*/ 15 w 203"/>
                <a:gd name="T11" fmla="*/ 0 h 599"/>
                <a:gd name="T12" fmla="*/ 15 w 203"/>
                <a:gd name="T13" fmla="*/ 33 h 599"/>
                <a:gd name="T14" fmla="*/ 124 w 203"/>
                <a:gd name="T15" fmla="*/ 79 h 599"/>
                <a:gd name="T16" fmla="*/ 170 w 203"/>
                <a:gd name="T17" fmla="*/ 188 h 599"/>
                <a:gd name="T18" fmla="*/ 163 w 203"/>
                <a:gd name="T19" fmla="*/ 228 h 599"/>
                <a:gd name="T20" fmla="*/ 70 w 203"/>
                <a:gd name="T21" fmla="*/ 450 h 599"/>
                <a:gd name="T22" fmla="*/ 21 w 203"/>
                <a:gd name="T23" fmla="*/ 545 h 599"/>
                <a:gd name="T24" fmla="*/ 6 w 203"/>
                <a:gd name="T25" fmla="*/ 573 h 599"/>
                <a:gd name="T26" fmla="*/ 0 w 203"/>
                <a:gd name="T27" fmla="*/ 583 h 599"/>
                <a:gd name="T28" fmla="*/ 30 w 203"/>
                <a:gd name="T29" fmla="*/ 599 h 599"/>
                <a:gd name="T30" fmla="*/ 15 w 203"/>
                <a:gd name="T31" fmla="*/ 108 h 599"/>
                <a:gd name="T32" fmla="*/ 81 w 203"/>
                <a:gd name="T33" fmla="*/ 135 h 599"/>
                <a:gd name="T34" fmla="*/ 109 w 203"/>
                <a:gd name="T35" fmla="*/ 202 h 599"/>
                <a:gd name="T36" fmla="*/ 81 w 203"/>
                <a:gd name="T37" fmla="*/ 268 h 599"/>
                <a:gd name="T38" fmla="*/ 15 w 203"/>
                <a:gd name="T39" fmla="*/ 296 h 599"/>
                <a:gd name="T40" fmla="*/ 15 w 203"/>
                <a:gd name="T41" fmla="*/ 329 h 599"/>
                <a:gd name="T42" fmla="*/ 142 w 203"/>
                <a:gd name="T43" fmla="*/ 202 h 599"/>
                <a:gd name="T44" fmla="*/ 15 w 203"/>
                <a:gd name="T45" fmla="*/ 74 h 599"/>
                <a:gd name="T46" fmla="*/ 15 w 203"/>
                <a:gd name="T47" fmla="*/ 108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599">
                  <a:moveTo>
                    <a:pt x="30" y="599"/>
                  </a:moveTo>
                  <a:cubicBezTo>
                    <a:pt x="30" y="599"/>
                    <a:pt x="73" y="522"/>
                    <a:pt x="116" y="433"/>
                  </a:cubicBezTo>
                  <a:cubicBezTo>
                    <a:pt x="137" y="388"/>
                    <a:pt x="159" y="340"/>
                    <a:pt x="175" y="297"/>
                  </a:cubicBezTo>
                  <a:cubicBezTo>
                    <a:pt x="183" y="276"/>
                    <a:pt x="190" y="255"/>
                    <a:pt x="195" y="237"/>
                  </a:cubicBezTo>
                  <a:cubicBezTo>
                    <a:pt x="200" y="219"/>
                    <a:pt x="203" y="203"/>
                    <a:pt x="203" y="188"/>
                  </a:cubicBezTo>
                  <a:cubicBezTo>
                    <a:pt x="203" y="84"/>
                    <a:pt x="119" y="0"/>
                    <a:pt x="15" y="0"/>
                  </a:cubicBezTo>
                  <a:lnTo>
                    <a:pt x="15" y="33"/>
                  </a:lnTo>
                  <a:cubicBezTo>
                    <a:pt x="58" y="33"/>
                    <a:pt x="96" y="51"/>
                    <a:pt x="124" y="79"/>
                  </a:cubicBezTo>
                  <a:cubicBezTo>
                    <a:pt x="152" y="107"/>
                    <a:pt x="170" y="145"/>
                    <a:pt x="170" y="188"/>
                  </a:cubicBezTo>
                  <a:cubicBezTo>
                    <a:pt x="170" y="197"/>
                    <a:pt x="167" y="212"/>
                    <a:pt x="163" y="228"/>
                  </a:cubicBezTo>
                  <a:cubicBezTo>
                    <a:pt x="147" y="287"/>
                    <a:pt x="107" y="377"/>
                    <a:pt x="70" y="450"/>
                  </a:cubicBezTo>
                  <a:cubicBezTo>
                    <a:pt x="51" y="487"/>
                    <a:pt x="34" y="521"/>
                    <a:pt x="21" y="545"/>
                  </a:cubicBezTo>
                  <a:cubicBezTo>
                    <a:pt x="15" y="557"/>
                    <a:pt x="10" y="566"/>
                    <a:pt x="6" y="573"/>
                  </a:cubicBezTo>
                  <a:cubicBezTo>
                    <a:pt x="2" y="579"/>
                    <a:pt x="0" y="583"/>
                    <a:pt x="0" y="583"/>
                  </a:cubicBezTo>
                  <a:lnTo>
                    <a:pt x="30" y="599"/>
                  </a:lnTo>
                  <a:close/>
                  <a:moveTo>
                    <a:pt x="15" y="108"/>
                  </a:moveTo>
                  <a:cubicBezTo>
                    <a:pt x="41" y="108"/>
                    <a:pt x="64" y="118"/>
                    <a:pt x="81" y="135"/>
                  </a:cubicBezTo>
                  <a:cubicBezTo>
                    <a:pt x="98" y="152"/>
                    <a:pt x="109" y="176"/>
                    <a:pt x="109" y="202"/>
                  </a:cubicBezTo>
                  <a:cubicBezTo>
                    <a:pt x="109" y="228"/>
                    <a:pt x="98" y="251"/>
                    <a:pt x="81" y="268"/>
                  </a:cubicBezTo>
                  <a:cubicBezTo>
                    <a:pt x="64" y="285"/>
                    <a:pt x="41" y="296"/>
                    <a:pt x="15" y="296"/>
                  </a:cubicBezTo>
                  <a:lnTo>
                    <a:pt x="15" y="329"/>
                  </a:lnTo>
                  <a:cubicBezTo>
                    <a:pt x="85" y="329"/>
                    <a:pt x="142" y="272"/>
                    <a:pt x="142" y="202"/>
                  </a:cubicBezTo>
                  <a:cubicBezTo>
                    <a:pt x="142" y="131"/>
                    <a:pt x="85" y="74"/>
                    <a:pt x="15" y="74"/>
                  </a:cubicBezTo>
                  <a:lnTo>
                    <a:pt x="15" y="108"/>
                  </a:ln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34" name="Line 2917">
              <a:extLst>
                <a:ext uri="{FF2B5EF4-FFF2-40B4-BE49-F238E27FC236}">
                  <a16:creationId xmlns:a16="http://schemas.microsoft.com/office/drawing/2014/main" id="{40BBB175-C572-6CA8-AE95-143B17C51227}"/>
                </a:ext>
              </a:extLst>
            </p:cNvPr>
            <p:cNvSpPr>
              <a:spLocks noChangeShapeType="1"/>
            </p:cNvSpPr>
            <p:nvPr/>
          </p:nvSpPr>
          <p:spPr bwMode="auto">
            <a:xfrm flipV="1">
              <a:off x="6813907" y="3933868"/>
              <a:ext cx="0" cy="751694"/>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35" name="Freeform 2918">
              <a:extLst>
                <a:ext uri="{FF2B5EF4-FFF2-40B4-BE49-F238E27FC236}">
                  <a16:creationId xmlns:a16="http://schemas.microsoft.com/office/drawing/2014/main" id="{E88A47AF-BBFD-BC4C-E557-0ACA3B831DEE}"/>
                </a:ext>
              </a:extLst>
            </p:cNvPr>
            <p:cNvSpPr>
              <a:spLocks/>
            </p:cNvSpPr>
            <p:nvPr/>
          </p:nvSpPr>
          <p:spPr bwMode="auto">
            <a:xfrm>
              <a:off x="6772146" y="3892107"/>
              <a:ext cx="104409" cy="835216"/>
            </a:xfrm>
            <a:custGeom>
              <a:avLst/>
              <a:gdLst>
                <a:gd name="T0" fmla="*/ 33 w 33"/>
                <a:gd name="T1" fmla="*/ 293 h 309"/>
                <a:gd name="T2" fmla="*/ 33 w 33"/>
                <a:gd name="T3" fmla="*/ 16 h 309"/>
                <a:gd name="T4" fmla="*/ 16 w 33"/>
                <a:gd name="T5" fmla="*/ 0 h 309"/>
                <a:gd name="T6" fmla="*/ 0 w 33"/>
                <a:gd name="T7" fmla="*/ 16 h 309"/>
                <a:gd name="T8" fmla="*/ 0 w 33"/>
                <a:gd name="T9" fmla="*/ 293 h 309"/>
                <a:gd name="T10" fmla="*/ 16 w 33"/>
                <a:gd name="T11" fmla="*/ 309 h 309"/>
                <a:gd name="T12" fmla="*/ 33 w 33"/>
                <a:gd name="T13" fmla="*/ 293 h 309"/>
              </a:gdLst>
              <a:ahLst/>
              <a:cxnLst>
                <a:cxn ang="0">
                  <a:pos x="T0" y="T1"/>
                </a:cxn>
                <a:cxn ang="0">
                  <a:pos x="T2" y="T3"/>
                </a:cxn>
                <a:cxn ang="0">
                  <a:pos x="T4" y="T5"/>
                </a:cxn>
                <a:cxn ang="0">
                  <a:pos x="T6" y="T7"/>
                </a:cxn>
                <a:cxn ang="0">
                  <a:pos x="T8" y="T9"/>
                </a:cxn>
                <a:cxn ang="0">
                  <a:pos x="T10" y="T11"/>
                </a:cxn>
                <a:cxn ang="0">
                  <a:pos x="T12" y="T13"/>
                </a:cxn>
              </a:cxnLst>
              <a:rect l="0" t="0" r="r" b="b"/>
              <a:pathLst>
                <a:path w="33" h="309">
                  <a:moveTo>
                    <a:pt x="33" y="293"/>
                  </a:moveTo>
                  <a:lnTo>
                    <a:pt x="33" y="16"/>
                  </a:lnTo>
                  <a:cubicBezTo>
                    <a:pt x="33" y="7"/>
                    <a:pt x="26" y="0"/>
                    <a:pt x="16" y="0"/>
                  </a:cubicBezTo>
                  <a:cubicBezTo>
                    <a:pt x="7" y="0"/>
                    <a:pt x="0" y="7"/>
                    <a:pt x="0" y="16"/>
                  </a:cubicBezTo>
                  <a:lnTo>
                    <a:pt x="0" y="293"/>
                  </a:lnTo>
                  <a:cubicBezTo>
                    <a:pt x="0" y="302"/>
                    <a:pt x="7" y="309"/>
                    <a:pt x="16" y="309"/>
                  </a:cubicBezTo>
                  <a:cubicBezTo>
                    <a:pt x="26" y="309"/>
                    <a:pt x="33" y="302"/>
                    <a:pt x="33" y="293"/>
                  </a:cubicBez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36" name="Freeform 2920">
              <a:extLst>
                <a:ext uri="{FF2B5EF4-FFF2-40B4-BE49-F238E27FC236}">
                  <a16:creationId xmlns:a16="http://schemas.microsoft.com/office/drawing/2014/main" id="{0246A673-992F-265E-2414-9E5DED1093EC}"/>
                </a:ext>
              </a:extLst>
            </p:cNvPr>
            <p:cNvSpPr>
              <a:spLocks/>
            </p:cNvSpPr>
            <p:nvPr/>
          </p:nvSpPr>
          <p:spPr bwMode="auto">
            <a:xfrm>
              <a:off x="6772146" y="3558021"/>
              <a:ext cx="772582" cy="647299"/>
            </a:xfrm>
            <a:custGeom>
              <a:avLst/>
              <a:gdLst>
                <a:gd name="T0" fmla="*/ 33 w 37"/>
                <a:gd name="T1" fmla="*/ 29 h 31"/>
                <a:gd name="T2" fmla="*/ 33 w 37"/>
                <a:gd name="T3" fmla="*/ 26 h 31"/>
                <a:gd name="T4" fmla="*/ 5 w 37"/>
                <a:gd name="T5" fmla="*/ 26 h 31"/>
                <a:gd name="T6" fmla="*/ 5 w 37"/>
                <a:gd name="T7" fmla="*/ 5 h 31"/>
                <a:gd name="T8" fmla="*/ 29 w 37"/>
                <a:gd name="T9" fmla="*/ 5 h 31"/>
                <a:gd name="T10" fmla="*/ 21 w 37"/>
                <a:gd name="T11" fmla="*/ 16 h 31"/>
                <a:gd name="T12" fmla="*/ 31 w 37"/>
                <a:gd name="T13" fmla="*/ 30 h 31"/>
                <a:gd name="T14" fmla="*/ 33 w 37"/>
                <a:gd name="T15" fmla="*/ 29 h 31"/>
                <a:gd name="T16" fmla="*/ 33 w 37"/>
                <a:gd name="T17" fmla="*/ 26 h 31"/>
                <a:gd name="T18" fmla="*/ 33 w 37"/>
                <a:gd name="T19" fmla="*/ 29 h 31"/>
                <a:gd name="T20" fmla="*/ 35 w 37"/>
                <a:gd name="T21" fmla="*/ 27 h 31"/>
                <a:gd name="T22" fmla="*/ 26 w 37"/>
                <a:gd name="T23" fmla="*/ 16 h 31"/>
                <a:gd name="T24" fmla="*/ 37 w 37"/>
                <a:gd name="T25" fmla="*/ 0 h 31"/>
                <a:gd name="T26" fmla="*/ 0 w 37"/>
                <a:gd name="T27" fmla="*/ 0 h 31"/>
                <a:gd name="T28" fmla="*/ 0 w 37"/>
                <a:gd name="T29" fmla="*/ 31 h 31"/>
                <a:gd name="T30" fmla="*/ 37 w 37"/>
                <a:gd name="T31" fmla="*/ 31 h 31"/>
                <a:gd name="T32" fmla="*/ 35 w 37"/>
                <a:gd name="T33" fmla="*/ 27 h 31"/>
                <a:gd name="T34" fmla="*/ 33 w 37"/>
                <a:gd name="T3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31">
                  <a:moveTo>
                    <a:pt x="33" y="29"/>
                  </a:moveTo>
                  <a:lnTo>
                    <a:pt x="33" y="26"/>
                  </a:lnTo>
                  <a:lnTo>
                    <a:pt x="5" y="26"/>
                  </a:lnTo>
                  <a:lnTo>
                    <a:pt x="5" y="5"/>
                  </a:lnTo>
                  <a:lnTo>
                    <a:pt x="29" y="5"/>
                  </a:lnTo>
                  <a:lnTo>
                    <a:pt x="21" y="16"/>
                  </a:lnTo>
                  <a:lnTo>
                    <a:pt x="31" y="30"/>
                  </a:lnTo>
                  <a:lnTo>
                    <a:pt x="33" y="29"/>
                  </a:lnTo>
                  <a:lnTo>
                    <a:pt x="33" y="26"/>
                  </a:lnTo>
                  <a:lnTo>
                    <a:pt x="33" y="29"/>
                  </a:lnTo>
                  <a:lnTo>
                    <a:pt x="35" y="27"/>
                  </a:lnTo>
                  <a:lnTo>
                    <a:pt x="26" y="16"/>
                  </a:lnTo>
                  <a:lnTo>
                    <a:pt x="37" y="0"/>
                  </a:lnTo>
                  <a:lnTo>
                    <a:pt x="0" y="0"/>
                  </a:lnTo>
                  <a:lnTo>
                    <a:pt x="0" y="31"/>
                  </a:lnTo>
                  <a:lnTo>
                    <a:pt x="37" y="31"/>
                  </a:lnTo>
                  <a:lnTo>
                    <a:pt x="35" y="27"/>
                  </a:lnTo>
                  <a:lnTo>
                    <a:pt x="33" y="29"/>
                  </a:lnTo>
                  <a:close/>
                </a:path>
              </a:pathLst>
            </a:custGeom>
            <a:grp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grpSp>
      <p:sp>
        <p:nvSpPr>
          <p:cNvPr id="437" name="Arc_de_Triomphe2" descr="{&quot;Key&quot;:&quot;POWER_USER_SHAPE_ICON&quot;,&quot;Value&quot;:&quot;POWER_USER_SHAPE_ICON_STYLE_1&quot;}">
            <a:extLst>
              <a:ext uri="{FF2B5EF4-FFF2-40B4-BE49-F238E27FC236}">
                <a16:creationId xmlns:a16="http://schemas.microsoft.com/office/drawing/2014/main" id="{FEDF25A9-B674-C343-9909-EE15886E0A61}"/>
              </a:ext>
            </a:extLst>
          </p:cNvPr>
          <p:cNvSpPr>
            <a:spLocks noChangeAspect="1" noEditPoints="1"/>
          </p:cNvSpPr>
          <p:nvPr>
            <p:custDataLst>
              <p:tags r:id="rId1"/>
            </p:custDataLst>
          </p:nvPr>
        </p:nvSpPr>
        <p:spPr bwMode="auto">
          <a:xfrm>
            <a:off x="2093224" y="2894156"/>
            <a:ext cx="592913" cy="542666"/>
          </a:xfrm>
          <a:custGeom>
            <a:avLst/>
            <a:gdLst>
              <a:gd name="T0" fmla="*/ 1690 w 4893"/>
              <a:gd name="T1" fmla="*/ 4022 h 4467"/>
              <a:gd name="T2" fmla="*/ 4646 w 4893"/>
              <a:gd name="T3" fmla="*/ 4022 h 4467"/>
              <a:gd name="T4" fmla="*/ 1632 w 4893"/>
              <a:gd name="T5" fmla="*/ 2297 h 4467"/>
              <a:gd name="T6" fmla="*/ 1632 w 4893"/>
              <a:gd name="T7" fmla="*/ 2230 h 4467"/>
              <a:gd name="T8" fmla="*/ 4588 w 4893"/>
              <a:gd name="T9" fmla="*/ 2479 h 4467"/>
              <a:gd name="T10" fmla="*/ 3266 w 4893"/>
              <a:gd name="T11" fmla="*/ 2230 h 4467"/>
              <a:gd name="T12" fmla="*/ 4690 w 4893"/>
              <a:gd name="T13" fmla="*/ 2297 h 4467"/>
              <a:gd name="T14" fmla="*/ 1665 w 4893"/>
              <a:gd name="T15" fmla="*/ 1134 h 4467"/>
              <a:gd name="T16" fmla="*/ 4793 w 4893"/>
              <a:gd name="T17" fmla="*/ 880 h 4467"/>
              <a:gd name="T18" fmla="*/ 2725 w 4893"/>
              <a:gd name="T19" fmla="*/ 1200 h 4467"/>
              <a:gd name="T20" fmla="*/ 2449 w 4893"/>
              <a:gd name="T21" fmla="*/ 1485 h 4467"/>
              <a:gd name="T22" fmla="*/ 4588 w 4893"/>
              <a:gd name="T23" fmla="*/ 249 h 4467"/>
              <a:gd name="T24" fmla="*/ 4588 w 4893"/>
              <a:gd name="T25" fmla="*/ 813 h 4467"/>
              <a:gd name="T26" fmla="*/ 4605 w 4893"/>
              <a:gd name="T27" fmla="*/ 182 h 4467"/>
              <a:gd name="T28" fmla="*/ 2114 w 4893"/>
              <a:gd name="T29" fmla="*/ 0 h 4467"/>
              <a:gd name="T30" fmla="*/ 4655 w 4893"/>
              <a:gd name="T31" fmla="*/ 226 h 4467"/>
              <a:gd name="T32" fmla="*/ 4655 w 4893"/>
              <a:gd name="T33" fmla="*/ 1178 h 4467"/>
              <a:gd name="T34" fmla="*/ 4783 w 4893"/>
              <a:gd name="T35" fmla="*/ 2283 h 4467"/>
              <a:gd name="T36" fmla="*/ 4712 w 4893"/>
              <a:gd name="T37" fmla="*/ 3989 h 4467"/>
              <a:gd name="T38" fmla="*/ 3141 w 4893"/>
              <a:gd name="T39" fmla="*/ 3989 h 4467"/>
              <a:gd name="T40" fmla="*/ 2449 w 4893"/>
              <a:gd name="T41" fmla="*/ 1551 h 4467"/>
              <a:gd name="T42" fmla="*/ 1723 w 4893"/>
              <a:gd name="T43" fmla="*/ 3955 h 4467"/>
              <a:gd name="T44" fmla="*/ 185 w 4893"/>
              <a:gd name="T45" fmla="*/ 4434 h 4467"/>
              <a:gd name="T46" fmla="*/ 115 w 4893"/>
              <a:gd name="T47" fmla="*/ 2283 h 4467"/>
              <a:gd name="T48" fmla="*/ 243 w 4893"/>
              <a:gd name="T49" fmla="*/ 2230 h 4467"/>
              <a:gd name="T50" fmla="*/ 38 w 4893"/>
              <a:gd name="T51" fmla="*/ 813 h 4467"/>
              <a:gd name="T52" fmla="*/ 114 w 4893"/>
              <a:gd name="T53" fmla="*/ 54 h 4467"/>
              <a:gd name="T54" fmla="*/ 772 w 4893"/>
              <a:gd name="T55" fmla="*/ 458 h 4467"/>
              <a:gd name="T56" fmla="*/ 947 w 4893"/>
              <a:gd name="T57" fmla="*/ 531 h 4467"/>
              <a:gd name="T58" fmla="*/ 964 w 4893"/>
              <a:gd name="T59" fmla="*/ 650 h 4467"/>
              <a:gd name="T60" fmla="*/ 845 w 4893"/>
              <a:gd name="T61" fmla="*/ 362 h 4467"/>
              <a:gd name="T62" fmla="*/ 1575 w 4893"/>
              <a:gd name="T63" fmla="*/ 603 h 4467"/>
              <a:gd name="T64" fmla="*/ 1647 w 4893"/>
              <a:gd name="T65" fmla="*/ 362 h 4467"/>
              <a:gd name="T66" fmla="*/ 1528 w 4893"/>
              <a:gd name="T67" fmla="*/ 650 h 4467"/>
              <a:gd name="T68" fmla="*/ 2450 w 4893"/>
              <a:gd name="T69" fmla="*/ 428 h 4467"/>
              <a:gd name="T70" fmla="*/ 2522 w 4893"/>
              <a:gd name="T71" fmla="*/ 603 h 4467"/>
              <a:gd name="T72" fmla="*/ 2618 w 4893"/>
              <a:gd name="T73" fmla="*/ 531 h 4467"/>
              <a:gd name="T74" fmla="*/ 2330 w 4893"/>
              <a:gd name="T75" fmla="*/ 411 h 4467"/>
              <a:gd name="T76" fmla="*/ 3150 w 4893"/>
              <a:gd name="T77" fmla="*/ 531 h 4467"/>
              <a:gd name="T78" fmla="*/ 3324 w 4893"/>
              <a:gd name="T79" fmla="*/ 458 h 4467"/>
              <a:gd name="T80" fmla="*/ 3252 w 4893"/>
              <a:gd name="T81" fmla="*/ 700 h 4467"/>
              <a:gd name="T82" fmla="*/ 4127 w 4893"/>
              <a:gd name="T83" fmla="*/ 458 h 4467"/>
              <a:gd name="T84" fmla="*/ 4054 w 4893"/>
              <a:gd name="T85" fmla="*/ 633 h 4467"/>
              <a:gd name="T86" fmla="*/ 4174 w 4893"/>
              <a:gd name="T87" fmla="*/ 411 h 4467"/>
              <a:gd name="T88" fmla="*/ 3885 w 4893"/>
              <a:gd name="T89" fmla="*/ 531 h 4467"/>
              <a:gd name="T90" fmla="*/ 512 w 4893"/>
              <a:gd name="T91" fmla="*/ 1995 h 4467"/>
              <a:gd name="T92" fmla="*/ 1430 w 4893"/>
              <a:gd name="T93" fmla="*/ 1995 h 4467"/>
              <a:gd name="T94" fmla="*/ 578 w 4893"/>
              <a:gd name="T95" fmla="*/ 1477 h 4467"/>
              <a:gd name="T96" fmla="*/ 512 w 4893"/>
              <a:gd name="T97" fmla="*/ 2704 h 4467"/>
              <a:gd name="T98" fmla="*/ 1396 w 4893"/>
              <a:gd name="T99" fmla="*/ 3747 h 4467"/>
              <a:gd name="T100" fmla="*/ 578 w 4893"/>
              <a:gd name="T101" fmla="*/ 3680 h 4467"/>
              <a:gd name="T102" fmla="*/ 3535 w 4893"/>
              <a:gd name="T103" fmla="*/ 1961 h 4467"/>
              <a:gd name="T104" fmla="*/ 3501 w 4893"/>
              <a:gd name="T105" fmla="*/ 1410 h 4467"/>
              <a:gd name="T106" fmla="*/ 3535 w 4893"/>
              <a:gd name="T107" fmla="*/ 3680 h 4467"/>
              <a:gd name="T108" fmla="*/ 4352 w 4893"/>
              <a:gd name="T109" fmla="*/ 3747 h 4467"/>
              <a:gd name="T110" fmla="*/ 4352 w 4893"/>
              <a:gd name="T111" fmla="*/ 2671 h 4467"/>
              <a:gd name="T112" fmla="*/ 1632 w 4893"/>
              <a:gd name="T113" fmla="*/ 2479 h 4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3" h="4467">
                <a:moveTo>
                  <a:pt x="1690" y="4022"/>
                </a:moveTo>
                <a:lnTo>
                  <a:pt x="252" y="4022"/>
                </a:lnTo>
                <a:lnTo>
                  <a:pt x="252" y="4400"/>
                </a:lnTo>
                <a:lnTo>
                  <a:pt x="1690" y="4400"/>
                </a:lnTo>
                <a:lnTo>
                  <a:pt x="1690" y="4022"/>
                </a:lnTo>
                <a:close/>
                <a:moveTo>
                  <a:pt x="4646" y="4022"/>
                </a:moveTo>
                <a:lnTo>
                  <a:pt x="3208" y="4022"/>
                </a:lnTo>
                <a:lnTo>
                  <a:pt x="3208" y="4400"/>
                </a:lnTo>
                <a:lnTo>
                  <a:pt x="4646" y="4400"/>
                </a:lnTo>
                <a:lnTo>
                  <a:pt x="4646" y="4022"/>
                </a:lnTo>
                <a:close/>
                <a:moveTo>
                  <a:pt x="1632" y="2297"/>
                </a:moveTo>
                <a:lnTo>
                  <a:pt x="207" y="2297"/>
                </a:lnTo>
                <a:lnTo>
                  <a:pt x="293" y="2412"/>
                </a:lnTo>
                <a:lnTo>
                  <a:pt x="1632" y="2412"/>
                </a:lnTo>
                <a:lnTo>
                  <a:pt x="1632" y="2297"/>
                </a:lnTo>
                <a:close/>
                <a:moveTo>
                  <a:pt x="1632" y="2230"/>
                </a:moveTo>
                <a:lnTo>
                  <a:pt x="1632" y="1200"/>
                </a:lnTo>
                <a:lnTo>
                  <a:pt x="309" y="1200"/>
                </a:lnTo>
                <a:lnTo>
                  <a:pt x="309" y="2230"/>
                </a:lnTo>
                <a:lnTo>
                  <a:pt x="1632" y="2230"/>
                </a:lnTo>
                <a:close/>
                <a:moveTo>
                  <a:pt x="4588" y="2479"/>
                </a:moveTo>
                <a:lnTo>
                  <a:pt x="3266" y="2479"/>
                </a:lnTo>
                <a:lnTo>
                  <a:pt x="3266" y="3955"/>
                </a:lnTo>
                <a:lnTo>
                  <a:pt x="4588" y="3955"/>
                </a:lnTo>
                <a:lnTo>
                  <a:pt x="4588" y="2479"/>
                </a:lnTo>
                <a:close/>
                <a:moveTo>
                  <a:pt x="3266" y="2230"/>
                </a:moveTo>
                <a:lnTo>
                  <a:pt x="4588" y="2230"/>
                </a:lnTo>
                <a:lnTo>
                  <a:pt x="4588" y="1200"/>
                </a:lnTo>
                <a:lnTo>
                  <a:pt x="3266" y="1200"/>
                </a:lnTo>
                <a:lnTo>
                  <a:pt x="3266" y="2230"/>
                </a:lnTo>
                <a:close/>
                <a:moveTo>
                  <a:pt x="4690" y="2297"/>
                </a:moveTo>
                <a:lnTo>
                  <a:pt x="3266" y="2297"/>
                </a:lnTo>
                <a:lnTo>
                  <a:pt x="3266" y="2412"/>
                </a:lnTo>
                <a:lnTo>
                  <a:pt x="4605" y="2412"/>
                </a:lnTo>
                <a:lnTo>
                  <a:pt x="4690" y="2297"/>
                </a:lnTo>
                <a:close/>
                <a:moveTo>
                  <a:pt x="2172" y="880"/>
                </a:moveTo>
                <a:lnTo>
                  <a:pt x="243" y="880"/>
                </a:lnTo>
                <a:lnTo>
                  <a:pt x="104" y="880"/>
                </a:lnTo>
                <a:lnTo>
                  <a:pt x="293" y="1134"/>
                </a:lnTo>
                <a:lnTo>
                  <a:pt x="1665" y="1134"/>
                </a:lnTo>
                <a:lnTo>
                  <a:pt x="2172" y="1134"/>
                </a:lnTo>
                <a:lnTo>
                  <a:pt x="2725" y="1134"/>
                </a:lnTo>
                <a:lnTo>
                  <a:pt x="3232" y="1134"/>
                </a:lnTo>
                <a:lnTo>
                  <a:pt x="4605" y="1134"/>
                </a:lnTo>
                <a:lnTo>
                  <a:pt x="4793" y="880"/>
                </a:lnTo>
                <a:lnTo>
                  <a:pt x="4655" y="880"/>
                </a:lnTo>
                <a:lnTo>
                  <a:pt x="2725" y="880"/>
                </a:lnTo>
                <a:lnTo>
                  <a:pt x="2172" y="880"/>
                </a:lnTo>
                <a:close/>
                <a:moveTo>
                  <a:pt x="3199" y="1200"/>
                </a:moveTo>
                <a:lnTo>
                  <a:pt x="2725" y="1200"/>
                </a:lnTo>
                <a:lnTo>
                  <a:pt x="2172" y="1200"/>
                </a:lnTo>
                <a:lnTo>
                  <a:pt x="1698" y="1200"/>
                </a:lnTo>
                <a:lnTo>
                  <a:pt x="1698" y="1979"/>
                </a:lnTo>
                <a:cubicBezTo>
                  <a:pt x="1740" y="1883"/>
                  <a:pt x="1799" y="1797"/>
                  <a:pt x="1872" y="1724"/>
                </a:cubicBezTo>
                <a:cubicBezTo>
                  <a:pt x="2020" y="1576"/>
                  <a:pt x="2224" y="1485"/>
                  <a:pt x="2449" y="1485"/>
                </a:cubicBezTo>
                <a:lnTo>
                  <a:pt x="2449" y="1485"/>
                </a:lnTo>
                <a:cubicBezTo>
                  <a:pt x="2673" y="1485"/>
                  <a:pt x="2878" y="1576"/>
                  <a:pt x="3025" y="1724"/>
                </a:cubicBezTo>
                <a:cubicBezTo>
                  <a:pt x="3098" y="1797"/>
                  <a:pt x="3158" y="1883"/>
                  <a:pt x="3199" y="1979"/>
                </a:cubicBezTo>
                <a:lnTo>
                  <a:pt x="3199" y="1200"/>
                </a:lnTo>
                <a:close/>
                <a:moveTo>
                  <a:pt x="4588" y="249"/>
                </a:moveTo>
                <a:lnTo>
                  <a:pt x="309" y="249"/>
                </a:lnTo>
                <a:lnTo>
                  <a:pt x="309" y="813"/>
                </a:lnTo>
                <a:lnTo>
                  <a:pt x="2172" y="813"/>
                </a:lnTo>
                <a:lnTo>
                  <a:pt x="2725" y="813"/>
                </a:lnTo>
                <a:lnTo>
                  <a:pt x="4588" y="813"/>
                </a:lnTo>
                <a:lnTo>
                  <a:pt x="4588" y="249"/>
                </a:lnTo>
                <a:close/>
                <a:moveTo>
                  <a:pt x="2114" y="67"/>
                </a:moveTo>
                <a:lnTo>
                  <a:pt x="207" y="67"/>
                </a:lnTo>
                <a:lnTo>
                  <a:pt x="293" y="182"/>
                </a:lnTo>
                <a:lnTo>
                  <a:pt x="4605" y="182"/>
                </a:lnTo>
                <a:lnTo>
                  <a:pt x="4690" y="67"/>
                </a:lnTo>
                <a:lnTo>
                  <a:pt x="2783" y="67"/>
                </a:lnTo>
                <a:lnTo>
                  <a:pt x="2114" y="67"/>
                </a:lnTo>
                <a:close/>
                <a:moveTo>
                  <a:pt x="141" y="0"/>
                </a:moveTo>
                <a:lnTo>
                  <a:pt x="2114" y="0"/>
                </a:lnTo>
                <a:lnTo>
                  <a:pt x="2783" y="0"/>
                </a:lnTo>
                <a:lnTo>
                  <a:pt x="4756" y="0"/>
                </a:lnTo>
                <a:cubicBezTo>
                  <a:pt x="4775" y="0"/>
                  <a:pt x="4790" y="15"/>
                  <a:pt x="4790" y="34"/>
                </a:cubicBezTo>
                <a:cubicBezTo>
                  <a:pt x="4790" y="42"/>
                  <a:pt x="4787" y="50"/>
                  <a:pt x="4781" y="56"/>
                </a:cubicBezTo>
                <a:lnTo>
                  <a:pt x="4655" y="226"/>
                </a:lnTo>
                <a:lnTo>
                  <a:pt x="4655" y="813"/>
                </a:lnTo>
                <a:lnTo>
                  <a:pt x="4859" y="813"/>
                </a:lnTo>
                <a:cubicBezTo>
                  <a:pt x="4878" y="813"/>
                  <a:pt x="4893" y="828"/>
                  <a:pt x="4893" y="846"/>
                </a:cubicBezTo>
                <a:cubicBezTo>
                  <a:pt x="4893" y="855"/>
                  <a:pt x="4890" y="862"/>
                  <a:pt x="4884" y="868"/>
                </a:cubicBezTo>
                <a:lnTo>
                  <a:pt x="4655" y="1178"/>
                </a:lnTo>
                <a:lnTo>
                  <a:pt x="4655" y="2230"/>
                </a:lnTo>
                <a:lnTo>
                  <a:pt x="4756" y="2230"/>
                </a:lnTo>
                <a:lnTo>
                  <a:pt x="4756" y="2230"/>
                </a:lnTo>
                <a:cubicBezTo>
                  <a:pt x="4763" y="2230"/>
                  <a:pt x="4770" y="2232"/>
                  <a:pt x="4776" y="2237"/>
                </a:cubicBezTo>
                <a:cubicBezTo>
                  <a:pt x="4791" y="2248"/>
                  <a:pt x="4794" y="2269"/>
                  <a:pt x="4783" y="2283"/>
                </a:cubicBezTo>
                <a:lnTo>
                  <a:pt x="4783" y="2283"/>
                </a:lnTo>
                <a:lnTo>
                  <a:pt x="4655" y="2456"/>
                </a:lnTo>
                <a:lnTo>
                  <a:pt x="4655" y="3955"/>
                </a:lnTo>
                <a:lnTo>
                  <a:pt x="4679" y="3955"/>
                </a:lnTo>
                <a:cubicBezTo>
                  <a:pt x="4697" y="3955"/>
                  <a:pt x="4712" y="3970"/>
                  <a:pt x="4712" y="3989"/>
                </a:cubicBezTo>
                <a:lnTo>
                  <a:pt x="4712" y="4434"/>
                </a:lnTo>
                <a:cubicBezTo>
                  <a:pt x="4712" y="4452"/>
                  <a:pt x="4697" y="4467"/>
                  <a:pt x="4679" y="4467"/>
                </a:cubicBezTo>
                <a:lnTo>
                  <a:pt x="3175" y="4467"/>
                </a:lnTo>
                <a:cubicBezTo>
                  <a:pt x="3156" y="4467"/>
                  <a:pt x="3141" y="4452"/>
                  <a:pt x="3141" y="4434"/>
                </a:cubicBezTo>
                <a:lnTo>
                  <a:pt x="3141" y="3989"/>
                </a:lnTo>
                <a:cubicBezTo>
                  <a:pt x="3141" y="3970"/>
                  <a:pt x="3156" y="3955"/>
                  <a:pt x="3175" y="3955"/>
                </a:cubicBezTo>
                <a:lnTo>
                  <a:pt x="3199" y="3955"/>
                </a:lnTo>
                <a:lnTo>
                  <a:pt x="3199" y="2301"/>
                </a:lnTo>
                <a:cubicBezTo>
                  <a:pt x="3199" y="2095"/>
                  <a:pt x="3114" y="1907"/>
                  <a:pt x="2979" y="1772"/>
                </a:cubicBezTo>
                <a:cubicBezTo>
                  <a:pt x="2843" y="1636"/>
                  <a:pt x="2655" y="1551"/>
                  <a:pt x="2449" y="1551"/>
                </a:cubicBezTo>
                <a:lnTo>
                  <a:pt x="2449" y="1551"/>
                </a:lnTo>
                <a:cubicBezTo>
                  <a:pt x="2242" y="1551"/>
                  <a:pt x="2055" y="1636"/>
                  <a:pt x="1919" y="1772"/>
                </a:cubicBezTo>
                <a:cubicBezTo>
                  <a:pt x="1783" y="1907"/>
                  <a:pt x="1699" y="2095"/>
                  <a:pt x="1698" y="2301"/>
                </a:cubicBezTo>
                <a:lnTo>
                  <a:pt x="1698" y="3955"/>
                </a:lnTo>
                <a:lnTo>
                  <a:pt x="1723" y="3955"/>
                </a:lnTo>
                <a:cubicBezTo>
                  <a:pt x="1741" y="3955"/>
                  <a:pt x="1756" y="3970"/>
                  <a:pt x="1756" y="3989"/>
                </a:cubicBezTo>
                <a:lnTo>
                  <a:pt x="1756" y="4434"/>
                </a:lnTo>
                <a:cubicBezTo>
                  <a:pt x="1756" y="4452"/>
                  <a:pt x="1741" y="4467"/>
                  <a:pt x="1723" y="4467"/>
                </a:cubicBezTo>
                <a:lnTo>
                  <a:pt x="218" y="4467"/>
                </a:lnTo>
                <a:cubicBezTo>
                  <a:pt x="200" y="4467"/>
                  <a:pt x="185" y="4452"/>
                  <a:pt x="185" y="4434"/>
                </a:cubicBezTo>
                <a:lnTo>
                  <a:pt x="185" y="3989"/>
                </a:lnTo>
                <a:cubicBezTo>
                  <a:pt x="185" y="3970"/>
                  <a:pt x="200" y="3955"/>
                  <a:pt x="218" y="3955"/>
                </a:cubicBezTo>
                <a:lnTo>
                  <a:pt x="243" y="3955"/>
                </a:lnTo>
                <a:lnTo>
                  <a:pt x="243" y="2456"/>
                </a:lnTo>
                <a:lnTo>
                  <a:pt x="115" y="2283"/>
                </a:lnTo>
                <a:lnTo>
                  <a:pt x="114" y="2283"/>
                </a:lnTo>
                <a:cubicBezTo>
                  <a:pt x="103" y="2269"/>
                  <a:pt x="106" y="2248"/>
                  <a:pt x="121" y="2237"/>
                </a:cubicBezTo>
                <a:cubicBezTo>
                  <a:pt x="127" y="2232"/>
                  <a:pt x="134" y="2230"/>
                  <a:pt x="141" y="2230"/>
                </a:cubicBezTo>
                <a:lnTo>
                  <a:pt x="141" y="2230"/>
                </a:lnTo>
                <a:lnTo>
                  <a:pt x="243" y="2230"/>
                </a:lnTo>
                <a:lnTo>
                  <a:pt x="243" y="1178"/>
                </a:lnTo>
                <a:lnTo>
                  <a:pt x="11" y="866"/>
                </a:lnTo>
                <a:lnTo>
                  <a:pt x="11" y="866"/>
                </a:lnTo>
                <a:cubicBezTo>
                  <a:pt x="0" y="851"/>
                  <a:pt x="4" y="831"/>
                  <a:pt x="18" y="820"/>
                </a:cubicBezTo>
                <a:cubicBezTo>
                  <a:pt x="24" y="815"/>
                  <a:pt x="31" y="813"/>
                  <a:pt x="38" y="813"/>
                </a:cubicBezTo>
                <a:lnTo>
                  <a:pt x="38" y="813"/>
                </a:lnTo>
                <a:lnTo>
                  <a:pt x="243" y="813"/>
                </a:lnTo>
                <a:lnTo>
                  <a:pt x="243" y="226"/>
                </a:lnTo>
                <a:lnTo>
                  <a:pt x="115" y="54"/>
                </a:lnTo>
                <a:lnTo>
                  <a:pt x="114" y="54"/>
                </a:lnTo>
                <a:cubicBezTo>
                  <a:pt x="103" y="39"/>
                  <a:pt x="106" y="18"/>
                  <a:pt x="121" y="7"/>
                </a:cubicBezTo>
                <a:cubicBezTo>
                  <a:pt x="127" y="3"/>
                  <a:pt x="134" y="0"/>
                  <a:pt x="141" y="0"/>
                </a:cubicBezTo>
                <a:close/>
                <a:moveTo>
                  <a:pt x="917" y="458"/>
                </a:moveTo>
                <a:cubicBezTo>
                  <a:pt x="899" y="440"/>
                  <a:pt x="873" y="428"/>
                  <a:pt x="845" y="428"/>
                </a:cubicBezTo>
                <a:cubicBezTo>
                  <a:pt x="816" y="428"/>
                  <a:pt x="791" y="440"/>
                  <a:pt x="772" y="458"/>
                </a:cubicBezTo>
                <a:cubicBezTo>
                  <a:pt x="754" y="477"/>
                  <a:pt x="742" y="503"/>
                  <a:pt x="742" y="531"/>
                </a:cubicBezTo>
                <a:cubicBezTo>
                  <a:pt x="742" y="559"/>
                  <a:pt x="754" y="585"/>
                  <a:pt x="772" y="603"/>
                </a:cubicBezTo>
                <a:cubicBezTo>
                  <a:pt x="791" y="622"/>
                  <a:pt x="816" y="633"/>
                  <a:pt x="845" y="633"/>
                </a:cubicBezTo>
                <a:cubicBezTo>
                  <a:pt x="873" y="633"/>
                  <a:pt x="899" y="622"/>
                  <a:pt x="917" y="603"/>
                </a:cubicBezTo>
                <a:cubicBezTo>
                  <a:pt x="936" y="585"/>
                  <a:pt x="947" y="559"/>
                  <a:pt x="947" y="531"/>
                </a:cubicBezTo>
                <a:cubicBezTo>
                  <a:pt x="947" y="503"/>
                  <a:pt x="936" y="477"/>
                  <a:pt x="917" y="458"/>
                </a:cubicBezTo>
                <a:close/>
                <a:moveTo>
                  <a:pt x="845" y="362"/>
                </a:moveTo>
                <a:cubicBezTo>
                  <a:pt x="891" y="362"/>
                  <a:pt x="934" y="381"/>
                  <a:pt x="964" y="411"/>
                </a:cubicBezTo>
                <a:cubicBezTo>
                  <a:pt x="995" y="442"/>
                  <a:pt x="1014" y="484"/>
                  <a:pt x="1014" y="531"/>
                </a:cubicBezTo>
                <a:cubicBezTo>
                  <a:pt x="1014" y="578"/>
                  <a:pt x="995" y="620"/>
                  <a:pt x="964" y="650"/>
                </a:cubicBezTo>
                <a:cubicBezTo>
                  <a:pt x="934" y="681"/>
                  <a:pt x="891" y="700"/>
                  <a:pt x="845" y="700"/>
                </a:cubicBezTo>
                <a:cubicBezTo>
                  <a:pt x="798" y="700"/>
                  <a:pt x="756" y="681"/>
                  <a:pt x="725" y="650"/>
                </a:cubicBezTo>
                <a:cubicBezTo>
                  <a:pt x="695" y="620"/>
                  <a:pt x="676" y="578"/>
                  <a:pt x="676" y="531"/>
                </a:cubicBezTo>
                <a:cubicBezTo>
                  <a:pt x="676" y="484"/>
                  <a:pt x="695" y="442"/>
                  <a:pt x="725" y="411"/>
                </a:cubicBezTo>
                <a:cubicBezTo>
                  <a:pt x="756" y="381"/>
                  <a:pt x="798" y="362"/>
                  <a:pt x="845" y="362"/>
                </a:cubicBezTo>
                <a:close/>
                <a:moveTo>
                  <a:pt x="1720" y="458"/>
                </a:moveTo>
                <a:cubicBezTo>
                  <a:pt x="1701" y="440"/>
                  <a:pt x="1675" y="428"/>
                  <a:pt x="1647" y="428"/>
                </a:cubicBezTo>
                <a:cubicBezTo>
                  <a:pt x="1619" y="428"/>
                  <a:pt x="1593" y="440"/>
                  <a:pt x="1575" y="458"/>
                </a:cubicBezTo>
                <a:cubicBezTo>
                  <a:pt x="1556" y="477"/>
                  <a:pt x="1545" y="503"/>
                  <a:pt x="1545" y="531"/>
                </a:cubicBezTo>
                <a:cubicBezTo>
                  <a:pt x="1545" y="559"/>
                  <a:pt x="1556" y="585"/>
                  <a:pt x="1575" y="603"/>
                </a:cubicBezTo>
                <a:cubicBezTo>
                  <a:pt x="1593" y="622"/>
                  <a:pt x="1619" y="633"/>
                  <a:pt x="1647" y="633"/>
                </a:cubicBezTo>
                <a:cubicBezTo>
                  <a:pt x="1675" y="633"/>
                  <a:pt x="1701" y="622"/>
                  <a:pt x="1720" y="603"/>
                </a:cubicBezTo>
                <a:cubicBezTo>
                  <a:pt x="1738" y="585"/>
                  <a:pt x="1749" y="559"/>
                  <a:pt x="1749" y="531"/>
                </a:cubicBezTo>
                <a:cubicBezTo>
                  <a:pt x="1749" y="503"/>
                  <a:pt x="1738" y="477"/>
                  <a:pt x="1720" y="458"/>
                </a:cubicBezTo>
                <a:close/>
                <a:moveTo>
                  <a:pt x="1647" y="362"/>
                </a:moveTo>
                <a:cubicBezTo>
                  <a:pt x="1694" y="362"/>
                  <a:pt x="1736" y="381"/>
                  <a:pt x="1767" y="411"/>
                </a:cubicBezTo>
                <a:cubicBezTo>
                  <a:pt x="1797" y="442"/>
                  <a:pt x="1816" y="484"/>
                  <a:pt x="1816" y="531"/>
                </a:cubicBezTo>
                <a:cubicBezTo>
                  <a:pt x="1816" y="578"/>
                  <a:pt x="1797" y="620"/>
                  <a:pt x="1767" y="650"/>
                </a:cubicBezTo>
                <a:cubicBezTo>
                  <a:pt x="1736" y="681"/>
                  <a:pt x="1694" y="700"/>
                  <a:pt x="1647" y="700"/>
                </a:cubicBezTo>
                <a:cubicBezTo>
                  <a:pt x="1600" y="700"/>
                  <a:pt x="1558" y="681"/>
                  <a:pt x="1528" y="650"/>
                </a:cubicBezTo>
                <a:cubicBezTo>
                  <a:pt x="1497" y="620"/>
                  <a:pt x="1478" y="578"/>
                  <a:pt x="1478" y="531"/>
                </a:cubicBezTo>
                <a:cubicBezTo>
                  <a:pt x="1478" y="484"/>
                  <a:pt x="1497" y="442"/>
                  <a:pt x="1528" y="411"/>
                </a:cubicBezTo>
                <a:cubicBezTo>
                  <a:pt x="1558" y="381"/>
                  <a:pt x="1600" y="362"/>
                  <a:pt x="1647" y="362"/>
                </a:cubicBezTo>
                <a:close/>
                <a:moveTo>
                  <a:pt x="2522" y="458"/>
                </a:moveTo>
                <a:cubicBezTo>
                  <a:pt x="2503" y="440"/>
                  <a:pt x="2478" y="428"/>
                  <a:pt x="2450" y="428"/>
                </a:cubicBezTo>
                <a:cubicBezTo>
                  <a:pt x="2421" y="428"/>
                  <a:pt x="2396" y="440"/>
                  <a:pt x="2377" y="458"/>
                </a:cubicBezTo>
                <a:cubicBezTo>
                  <a:pt x="2359" y="477"/>
                  <a:pt x="2347" y="503"/>
                  <a:pt x="2347" y="531"/>
                </a:cubicBezTo>
                <a:cubicBezTo>
                  <a:pt x="2347" y="559"/>
                  <a:pt x="2359" y="585"/>
                  <a:pt x="2377" y="603"/>
                </a:cubicBezTo>
                <a:cubicBezTo>
                  <a:pt x="2396" y="622"/>
                  <a:pt x="2421" y="633"/>
                  <a:pt x="2450" y="633"/>
                </a:cubicBezTo>
                <a:cubicBezTo>
                  <a:pt x="2478" y="633"/>
                  <a:pt x="2503" y="622"/>
                  <a:pt x="2522" y="603"/>
                </a:cubicBezTo>
                <a:cubicBezTo>
                  <a:pt x="2540" y="585"/>
                  <a:pt x="2552" y="559"/>
                  <a:pt x="2552" y="531"/>
                </a:cubicBezTo>
                <a:cubicBezTo>
                  <a:pt x="2552" y="503"/>
                  <a:pt x="2540" y="477"/>
                  <a:pt x="2522" y="458"/>
                </a:cubicBezTo>
                <a:close/>
                <a:moveTo>
                  <a:pt x="2450" y="362"/>
                </a:moveTo>
                <a:cubicBezTo>
                  <a:pt x="2496" y="362"/>
                  <a:pt x="2538" y="381"/>
                  <a:pt x="2569" y="411"/>
                </a:cubicBezTo>
                <a:cubicBezTo>
                  <a:pt x="2600" y="442"/>
                  <a:pt x="2618" y="484"/>
                  <a:pt x="2618" y="531"/>
                </a:cubicBezTo>
                <a:cubicBezTo>
                  <a:pt x="2618" y="578"/>
                  <a:pt x="2600" y="620"/>
                  <a:pt x="2569" y="650"/>
                </a:cubicBezTo>
                <a:cubicBezTo>
                  <a:pt x="2538" y="681"/>
                  <a:pt x="2496" y="700"/>
                  <a:pt x="2450" y="700"/>
                </a:cubicBezTo>
                <a:cubicBezTo>
                  <a:pt x="2403" y="700"/>
                  <a:pt x="2361" y="681"/>
                  <a:pt x="2330" y="650"/>
                </a:cubicBezTo>
                <a:cubicBezTo>
                  <a:pt x="2299" y="620"/>
                  <a:pt x="2281" y="578"/>
                  <a:pt x="2281" y="531"/>
                </a:cubicBezTo>
                <a:cubicBezTo>
                  <a:pt x="2281" y="484"/>
                  <a:pt x="2299" y="442"/>
                  <a:pt x="2330" y="411"/>
                </a:cubicBezTo>
                <a:cubicBezTo>
                  <a:pt x="2361" y="381"/>
                  <a:pt x="2403" y="362"/>
                  <a:pt x="2450" y="362"/>
                </a:cubicBezTo>
                <a:close/>
                <a:moveTo>
                  <a:pt x="3324" y="458"/>
                </a:moveTo>
                <a:cubicBezTo>
                  <a:pt x="3306" y="440"/>
                  <a:pt x="3280" y="428"/>
                  <a:pt x="3252" y="428"/>
                </a:cubicBezTo>
                <a:cubicBezTo>
                  <a:pt x="3224" y="428"/>
                  <a:pt x="3198" y="440"/>
                  <a:pt x="3180" y="458"/>
                </a:cubicBezTo>
                <a:cubicBezTo>
                  <a:pt x="3161" y="477"/>
                  <a:pt x="3150" y="503"/>
                  <a:pt x="3150" y="531"/>
                </a:cubicBezTo>
                <a:cubicBezTo>
                  <a:pt x="3150" y="559"/>
                  <a:pt x="3161" y="585"/>
                  <a:pt x="3180" y="603"/>
                </a:cubicBezTo>
                <a:cubicBezTo>
                  <a:pt x="3198" y="622"/>
                  <a:pt x="3224" y="633"/>
                  <a:pt x="3252" y="633"/>
                </a:cubicBezTo>
                <a:cubicBezTo>
                  <a:pt x="3280" y="633"/>
                  <a:pt x="3306" y="622"/>
                  <a:pt x="3324" y="603"/>
                </a:cubicBezTo>
                <a:cubicBezTo>
                  <a:pt x="3343" y="585"/>
                  <a:pt x="3354" y="559"/>
                  <a:pt x="3354" y="531"/>
                </a:cubicBezTo>
                <a:cubicBezTo>
                  <a:pt x="3354" y="503"/>
                  <a:pt x="3343" y="477"/>
                  <a:pt x="3324" y="458"/>
                </a:cubicBezTo>
                <a:close/>
                <a:moveTo>
                  <a:pt x="3252" y="362"/>
                </a:moveTo>
                <a:cubicBezTo>
                  <a:pt x="3298" y="362"/>
                  <a:pt x="3341" y="381"/>
                  <a:pt x="3371" y="411"/>
                </a:cubicBezTo>
                <a:cubicBezTo>
                  <a:pt x="3402" y="442"/>
                  <a:pt x="3421" y="484"/>
                  <a:pt x="3421" y="531"/>
                </a:cubicBezTo>
                <a:cubicBezTo>
                  <a:pt x="3421" y="578"/>
                  <a:pt x="3402" y="620"/>
                  <a:pt x="3371" y="650"/>
                </a:cubicBezTo>
                <a:cubicBezTo>
                  <a:pt x="3341" y="681"/>
                  <a:pt x="3298" y="700"/>
                  <a:pt x="3252" y="700"/>
                </a:cubicBezTo>
                <a:cubicBezTo>
                  <a:pt x="3205" y="700"/>
                  <a:pt x="3163" y="681"/>
                  <a:pt x="3133" y="650"/>
                </a:cubicBezTo>
                <a:cubicBezTo>
                  <a:pt x="3102" y="620"/>
                  <a:pt x="3083" y="578"/>
                  <a:pt x="3083" y="531"/>
                </a:cubicBezTo>
                <a:cubicBezTo>
                  <a:pt x="3083" y="484"/>
                  <a:pt x="3102" y="442"/>
                  <a:pt x="3133" y="411"/>
                </a:cubicBezTo>
                <a:cubicBezTo>
                  <a:pt x="3163" y="381"/>
                  <a:pt x="3205" y="362"/>
                  <a:pt x="3252" y="362"/>
                </a:cubicBezTo>
                <a:close/>
                <a:moveTo>
                  <a:pt x="4127" y="458"/>
                </a:moveTo>
                <a:cubicBezTo>
                  <a:pt x="4108" y="440"/>
                  <a:pt x="4083" y="428"/>
                  <a:pt x="4054" y="428"/>
                </a:cubicBezTo>
                <a:cubicBezTo>
                  <a:pt x="4026" y="428"/>
                  <a:pt x="4000" y="440"/>
                  <a:pt x="3982" y="458"/>
                </a:cubicBezTo>
                <a:cubicBezTo>
                  <a:pt x="3963" y="477"/>
                  <a:pt x="3952" y="503"/>
                  <a:pt x="3952" y="531"/>
                </a:cubicBezTo>
                <a:cubicBezTo>
                  <a:pt x="3952" y="559"/>
                  <a:pt x="3963" y="585"/>
                  <a:pt x="3982" y="603"/>
                </a:cubicBezTo>
                <a:cubicBezTo>
                  <a:pt x="4000" y="622"/>
                  <a:pt x="4026" y="633"/>
                  <a:pt x="4054" y="633"/>
                </a:cubicBezTo>
                <a:cubicBezTo>
                  <a:pt x="4083" y="633"/>
                  <a:pt x="4108" y="622"/>
                  <a:pt x="4127" y="603"/>
                </a:cubicBezTo>
                <a:cubicBezTo>
                  <a:pt x="4145" y="585"/>
                  <a:pt x="4157" y="559"/>
                  <a:pt x="4157" y="531"/>
                </a:cubicBezTo>
                <a:cubicBezTo>
                  <a:pt x="4157" y="503"/>
                  <a:pt x="4145" y="477"/>
                  <a:pt x="4127" y="458"/>
                </a:cubicBezTo>
                <a:close/>
                <a:moveTo>
                  <a:pt x="4054" y="362"/>
                </a:moveTo>
                <a:cubicBezTo>
                  <a:pt x="4101" y="362"/>
                  <a:pt x="4143" y="381"/>
                  <a:pt x="4174" y="411"/>
                </a:cubicBezTo>
                <a:cubicBezTo>
                  <a:pt x="4204" y="442"/>
                  <a:pt x="4223" y="484"/>
                  <a:pt x="4223" y="531"/>
                </a:cubicBezTo>
                <a:cubicBezTo>
                  <a:pt x="4223" y="578"/>
                  <a:pt x="4204" y="620"/>
                  <a:pt x="4174" y="650"/>
                </a:cubicBezTo>
                <a:cubicBezTo>
                  <a:pt x="4143" y="681"/>
                  <a:pt x="4101" y="700"/>
                  <a:pt x="4054" y="700"/>
                </a:cubicBezTo>
                <a:cubicBezTo>
                  <a:pt x="4007" y="700"/>
                  <a:pt x="3965" y="681"/>
                  <a:pt x="3935" y="650"/>
                </a:cubicBezTo>
                <a:cubicBezTo>
                  <a:pt x="3904" y="620"/>
                  <a:pt x="3885" y="578"/>
                  <a:pt x="3885" y="531"/>
                </a:cubicBezTo>
                <a:cubicBezTo>
                  <a:pt x="3885" y="484"/>
                  <a:pt x="3904" y="442"/>
                  <a:pt x="3935" y="411"/>
                </a:cubicBezTo>
                <a:cubicBezTo>
                  <a:pt x="3965" y="381"/>
                  <a:pt x="4007" y="362"/>
                  <a:pt x="4054" y="362"/>
                </a:cubicBezTo>
                <a:close/>
                <a:moveTo>
                  <a:pt x="1396" y="2028"/>
                </a:moveTo>
                <a:lnTo>
                  <a:pt x="545" y="2028"/>
                </a:lnTo>
                <a:cubicBezTo>
                  <a:pt x="526" y="2028"/>
                  <a:pt x="512" y="2013"/>
                  <a:pt x="512" y="1995"/>
                </a:cubicBezTo>
                <a:lnTo>
                  <a:pt x="512" y="1444"/>
                </a:lnTo>
                <a:cubicBezTo>
                  <a:pt x="512" y="1425"/>
                  <a:pt x="526" y="1410"/>
                  <a:pt x="545" y="1410"/>
                </a:cubicBezTo>
                <a:lnTo>
                  <a:pt x="1396" y="1410"/>
                </a:lnTo>
                <a:cubicBezTo>
                  <a:pt x="1415" y="1410"/>
                  <a:pt x="1430" y="1425"/>
                  <a:pt x="1430" y="1444"/>
                </a:cubicBezTo>
                <a:lnTo>
                  <a:pt x="1430" y="1995"/>
                </a:lnTo>
                <a:cubicBezTo>
                  <a:pt x="1430" y="2013"/>
                  <a:pt x="1415" y="2028"/>
                  <a:pt x="1396" y="2028"/>
                </a:cubicBezTo>
                <a:close/>
                <a:moveTo>
                  <a:pt x="578" y="1961"/>
                </a:moveTo>
                <a:lnTo>
                  <a:pt x="1363" y="1961"/>
                </a:lnTo>
                <a:lnTo>
                  <a:pt x="1363" y="1477"/>
                </a:lnTo>
                <a:lnTo>
                  <a:pt x="578" y="1477"/>
                </a:lnTo>
                <a:lnTo>
                  <a:pt x="578" y="1961"/>
                </a:lnTo>
                <a:close/>
                <a:moveTo>
                  <a:pt x="1396" y="3747"/>
                </a:moveTo>
                <a:lnTo>
                  <a:pt x="545" y="3747"/>
                </a:lnTo>
                <a:cubicBezTo>
                  <a:pt x="526" y="3747"/>
                  <a:pt x="512" y="3732"/>
                  <a:pt x="512" y="3713"/>
                </a:cubicBezTo>
                <a:lnTo>
                  <a:pt x="512" y="2704"/>
                </a:lnTo>
                <a:cubicBezTo>
                  <a:pt x="512" y="2686"/>
                  <a:pt x="526" y="2671"/>
                  <a:pt x="545" y="2671"/>
                </a:cubicBezTo>
                <a:lnTo>
                  <a:pt x="1396" y="2671"/>
                </a:lnTo>
                <a:cubicBezTo>
                  <a:pt x="1415" y="2671"/>
                  <a:pt x="1430" y="2686"/>
                  <a:pt x="1430" y="2704"/>
                </a:cubicBezTo>
                <a:lnTo>
                  <a:pt x="1430" y="3713"/>
                </a:lnTo>
                <a:cubicBezTo>
                  <a:pt x="1430" y="3732"/>
                  <a:pt x="1415" y="3747"/>
                  <a:pt x="1396" y="3747"/>
                </a:cubicBezTo>
                <a:close/>
                <a:moveTo>
                  <a:pt x="578" y="3680"/>
                </a:moveTo>
                <a:lnTo>
                  <a:pt x="1363" y="3680"/>
                </a:lnTo>
                <a:lnTo>
                  <a:pt x="1363" y="2738"/>
                </a:lnTo>
                <a:lnTo>
                  <a:pt x="578" y="2738"/>
                </a:lnTo>
                <a:lnTo>
                  <a:pt x="578" y="3680"/>
                </a:lnTo>
                <a:close/>
                <a:moveTo>
                  <a:pt x="3535" y="1961"/>
                </a:moveTo>
                <a:lnTo>
                  <a:pt x="4319" y="1961"/>
                </a:lnTo>
                <a:lnTo>
                  <a:pt x="4319" y="1477"/>
                </a:lnTo>
                <a:lnTo>
                  <a:pt x="3535" y="1477"/>
                </a:lnTo>
                <a:lnTo>
                  <a:pt x="3535" y="1961"/>
                </a:lnTo>
                <a:close/>
                <a:moveTo>
                  <a:pt x="4352" y="2028"/>
                </a:moveTo>
                <a:lnTo>
                  <a:pt x="3501" y="2028"/>
                </a:lnTo>
                <a:cubicBezTo>
                  <a:pt x="3483" y="2028"/>
                  <a:pt x="3468" y="2013"/>
                  <a:pt x="3468" y="1995"/>
                </a:cubicBezTo>
                <a:lnTo>
                  <a:pt x="3468" y="1444"/>
                </a:lnTo>
                <a:cubicBezTo>
                  <a:pt x="3468" y="1425"/>
                  <a:pt x="3483" y="1410"/>
                  <a:pt x="3501" y="1410"/>
                </a:cubicBezTo>
                <a:lnTo>
                  <a:pt x="4352" y="1410"/>
                </a:lnTo>
                <a:cubicBezTo>
                  <a:pt x="4371" y="1410"/>
                  <a:pt x="4386" y="1425"/>
                  <a:pt x="4386" y="1444"/>
                </a:cubicBezTo>
                <a:lnTo>
                  <a:pt x="4386" y="1995"/>
                </a:lnTo>
                <a:cubicBezTo>
                  <a:pt x="4386" y="2013"/>
                  <a:pt x="4371" y="2028"/>
                  <a:pt x="4352" y="2028"/>
                </a:cubicBezTo>
                <a:close/>
                <a:moveTo>
                  <a:pt x="3535" y="3680"/>
                </a:moveTo>
                <a:lnTo>
                  <a:pt x="4319" y="3680"/>
                </a:lnTo>
                <a:lnTo>
                  <a:pt x="4319" y="2738"/>
                </a:lnTo>
                <a:lnTo>
                  <a:pt x="3535" y="2738"/>
                </a:lnTo>
                <a:lnTo>
                  <a:pt x="3535" y="3680"/>
                </a:lnTo>
                <a:close/>
                <a:moveTo>
                  <a:pt x="4352" y="3747"/>
                </a:moveTo>
                <a:lnTo>
                  <a:pt x="3501" y="3747"/>
                </a:lnTo>
                <a:cubicBezTo>
                  <a:pt x="3483" y="3747"/>
                  <a:pt x="3468" y="3732"/>
                  <a:pt x="3468" y="3713"/>
                </a:cubicBezTo>
                <a:lnTo>
                  <a:pt x="3468" y="2704"/>
                </a:lnTo>
                <a:cubicBezTo>
                  <a:pt x="3468" y="2686"/>
                  <a:pt x="3483" y="2671"/>
                  <a:pt x="3501" y="2671"/>
                </a:cubicBezTo>
                <a:lnTo>
                  <a:pt x="4352" y="2671"/>
                </a:lnTo>
                <a:cubicBezTo>
                  <a:pt x="4371" y="2671"/>
                  <a:pt x="4386" y="2686"/>
                  <a:pt x="4386" y="2704"/>
                </a:cubicBezTo>
                <a:lnTo>
                  <a:pt x="4386" y="3713"/>
                </a:lnTo>
                <a:cubicBezTo>
                  <a:pt x="4386" y="3732"/>
                  <a:pt x="4371" y="3747"/>
                  <a:pt x="4352" y="3747"/>
                </a:cubicBezTo>
                <a:close/>
                <a:moveTo>
                  <a:pt x="1632" y="3955"/>
                </a:moveTo>
                <a:lnTo>
                  <a:pt x="1632" y="2479"/>
                </a:lnTo>
                <a:lnTo>
                  <a:pt x="309" y="2479"/>
                </a:lnTo>
                <a:lnTo>
                  <a:pt x="309" y="3955"/>
                </a:lnTo>
                <a:lnTo>
                  <a:pt x="1632" y="3955"/>
                </a:lnTo>
                <a:lnTo>
                  <a:pt x="1632" y="3955"/>
                </a:lnTo>
                <a:close/>
              </a:path>
            </a:pathLst>
          </a:custGeom>
          <a:solidFill>
            <a:srgbClr val="232451"/>
          </a:solidFill>
          <a:ln>
            <a:noFill/>
          </a:ln>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grpSp>
        <p:nvGrpSpPr>
          <p:cNvPr id="438" name="Ship7" descr="{&quot;Key&quot;:&quot;POWER_USER_SHAPE_ICON&quot;,&quot;Value&quot;:&quot;POWER_USER_SHAPE_ICON_STYLE_1&quot;}">
            <a:extLst>
              <a:ext uri="{FF2B5EF4-FFF2-40B4-BE49-F238E27FC236}">
                <a16:creationId xmlns:a16="http://schemas.microsoft.com/office/drawing/2014/main" id="{890ADB42-6D97-8F8C-C885-A8B58C7841EB}"/>
              </a:ext>
            </a:extLst>
          </p:cNvPr>
          <p:cNvGrpSpPr>
            <a:grpSpLocks noChangeAspect="1"/>
          </p:cNvGrpSpPr>
          <p:nvPr>
            <p:custDataLst>
              <p:tags r:id="rId2"/>
            </p:custDataLst>
          </p:nvPr>
        </p:nvGrpSpPr>
        <p:grpSpPr>
          <a:xfrm>
            <a:off x="1044166" y="3394961"/>
            <a:ext cx="584134" cy="585406"/>
            <a:chOff x="8158163" y="2541588"/>
            <a:chExt cx="728663" cy="730250"/>
          </a:xfrm>
        </p:grpSpPr>
        <p:sp>
          <p:nvSpPr>
            <p:cNvPr id="439" name="Freeform 165">
              <a:extLst>
                <a:ext uri="{FF2B5EF4-FFF2-40B4-BE49-F238E27FC236}">
                  <a16:creationId xmlns:a16="http://schemas.microsoft.com/office/drawing/2014/main" id="{CB375097-53C1-5675-CA6D-6A64C8B79D39}"/>
                </a:ext>
              </a:extLst>
            </p:cNvPr>
            <p:cNvSpPr>
              <a:spLocks/>
            </p:cNvSpPr>
            <p:nvPr/>
          </p:nvSpPr>
          <p:spPr bwMode="auto">
            <a:xfrm>
              <a:off x="8294688" y="2632075"/>
              <a:ext cx="455613" cy="96838"/>
            </a:xfrm>
            <a:custGeom>
              <a:avLst/>
              <a:gdLst>
                <a:gd name="T0" fmla="*/ 0 w 500"/>
                <a:gd name="T1" fmla="*/ 105 h 105"/>
                <a:gd name="T2" fmla="*/ 0 w 500"/>
                <a:gd name="T3" fmla="*/ 42 h 105"/>
                <a:gd name="T4" fmla="*/ 250 w 500"/>
                <a:gd name="T5" fmla="*/ 0 h 105"/>
                <a:gd name="T6" fmla="*/ 500 w 500"/>
                <a:gd name="T7" fmla="*/ 42 h 105"/>
                <a:gd name="T8" fmla="*/ 500 w 500"/>
                <a:gd name="T9" fmla="*/ 105 h 105"/>
              </a:gdLst>
              <a:ahLst/>
              <a:cxnLst>
                <a:cxn ang="0">
                  <a:pos x="T0" y="T1"/>
                </a:cxn>
                <a:cxn ang="0">
                  <a:pos x="T2" y="T3"/>
                </a:cxn>
                <a:cxn ang="0">
                  <a:pos x="T4" y="T5"/>
                </a:cxn>
                <a:cxn ang="0">
                  <a:pos x="T6" y="T7"/>
                </a:cxn>
                <a:cxn ang="0">
                  <a:pos x="T8" y="T9"/>
                </a:cxn>
              </a:cxnLst>
              <a:rect l="0" t="0" r="r" b="b"/>
              <a:pathLst>
                <a:path w="500" h="105">
                  <a:moveTo>
                    <a:pt x="0" y="105"/>
                  </a:moveTo>
                  <a:lnTo>
                    <a:pt x="0" y="42"/>
                  </a:lnTo>
                  <a:cubicBezTo>
                    <a:pt x="0" y="42"/>
                    <a:pt x="103" y="0"/>
                    <a:pt x="250" y="0"/>
                  </a:cubicBezTo>
                  <a:cubicBezTo>
                    <a:pt x="397" y="0"/>
                    <a:pt x="500" y="42"/>
                    <a:pt x="500" y="42"/>
                  </a:cubicBezTo>
                  <a:lnTo>
                    <a:pt x="500" y="105"/>
                  </a:lnTo>
                </a:path>
              </a:pathLst>
            </a:custGeom>
            <a:noFill/>
            <a:ln w="30163" cap="flat">
              <a:solidFill>
                <a:srgbClr val="2324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40" name="Freeform 166">
              <a:extLst>
                <a:ext uri="{FF2B5EF4-FFF2-40B4-BE49-F238E27FC236}">
                  <a16:creationId xmlns:a16="http://schemas.microsoft.com/office/drawing/2014/main" id="{B22AC00E-5553-9E31-C203-14A4979F8E5F}"/>
                </a:ext>
              </a:extLst>
            </p:cNvPr>
            <p:cNvSpPr>
              <a:spLocks/>
            </p:cNvSpPr>
            <p:nvPr/>
          </p:nvSpPr>
          <p:spPr bwMode="auto">
            <a:xfrm>
              <a:off x="8248651" y="2693988"/>
              <a:ext cx="547688" cy="193675"/>
            </a:xfrm>
            <a:custGeom>
              <a:avLst/>
              <a:gdLst>
                <a:gd name="T0" fmla="*/ 0 w 600"/>
                <a:gd name="T1" fmla="*/ 212 h 212"/>
                <a:gd name="T2" fmla="*/ 0 w 600"/>
                <a:gd name="T3" fmla="*/ 56 h 212"/>
                <a:gd name="T4" fmla="*/ 300 w 600"/>
                <a:gd name="T5" fmla="*/ 0 h 212"/>
                <a:gd name="T6" fmla="*/ 600 w 600"/>
                <a:gd name="T7" fmla="*/ 56 h 212"/>
                <a:gd name="T8" fmla="*/ 600 w 600"/>
                <a:gd name="T9" fmla="*/ 212 h 212"/>
              </a:gdLst>
              <a:ahLst/>
              <a:cxnLst>
                <a:cxn ang="0">
                  <a:pos x="T0" y="T1"/>
                </a:cxn>
                <a:cxn ang="0">
                  <a:pos x="T2" y="T3"/>
                </a:cxn>
                <a:cxn ang="0">
                  <a:pos x="T4" y="T5"/>
                </a:cxn>
                <a:cxn ang="0">
                  <a:pos x="T6" y="T7"/>
                </a:cxn>
                <a:cxn ang="0">
                  <a:pos x="T8" y="T9"/>
                </a:cxn>
              </a:cxnLst>
              <a:rect l="0" t="0" r="r" b="b"/>
              <a:pathLst>
                <a:path w="600" h="212">
                  <a:moveTo>
                    <a:pt x="0" y="212"/>
                  </a:moveTo>
                  <a:lnTo>
                    <a:pt x="0" y="56"/>
                  </a:lnTo>
                  <a:cubicBezTo>
                    <a:pt x="0" y="56"/>
                    <a:pt x="123" y="0"/>
                    <a:pt x="300" y="0"/>
                  </a:cubicBezTo>
                  <a:cubicBezTo>
                    <a:pt x="476" y="0"/>
                    <a:pt x="600" y="56"/>
                    <a:pt x="600" y="56"/>
                  </a:cubicBezTo>
                  <a:lnTo>
                    <a:pt x="600" y="212"/>
                  </a:lnTo>
                </a:path>
              </a:pathLst>
            </a:custGeom>
            <a:noFill/>
            <a:ln w="30163" cap="flat">
              <a:solidFill>
                <a:srgbClr val="2324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41" name="Freeform 167">
              <a:extLst>
                <a:ext uri="{FF2B5EF4-FFF2-40B4-BE49-F238E27FC236}">
                  <a16:creationId xmlns:a16="http://schemas.microsoft.com/office/drawing/2014/main" id="{C6DA1E68-5298-77CA-CAAC-E44A8DEBA5ED}"/>
                </a:ext>
              </a:extLst>
            </p:cNvPr>
            <p:cNvSpPr>
              <a:spLocks/>
            </p:cNvSpPr>
            <p:nvPr/>
          </p:nvSpPr>
          <p:spPr bwMode="auto">
            <a:xfrm>
              <a:off x="8308976" y="2754313"/>
              <a:ext cx="425450" cy="38100"/>
            </a:xfrm>
            <a:custGeom>
              <a:avLst/>
              <a:gdLst>
                <a:gd name="T0" fmla="*/ 0 w 467"/>
                <a:gd name="T1" fmla="*/ 41 h 41"/>
                <a:gd name="T2" fmla="*/ 234 w 467"/>
                <a:gd name="T3" fmla="*/ 0 h 41"/>
                <a:gd name="T4" fmla="*/ 467 w 467"/>
                <a:gd name="T5" fmla="*/ 41 h 41"/>
              </a:gdLst>
              <a:ahLst/>
              <a:cxnLst>
                <a:cxn ang="0">
                  <a:pos x="T0" y="T1"/>
                </a:cxn>
                <a:cxn ang="0">
                  <a:pos x="T2" y="T3"/>
                </a:cxn>
                <a:cxn ang="0">
                  <a:pos x="T4" y="T5"/>
                </a:cxn>
              </a:cxnLst>
              <a:rect l="0" t="0" r="r" b="b"/>
              <a:pathLst>
                <a:path w="467" h="41">
                  <a:moveTo>
                    <a:pt x="0" y="41"/>
                  </a:moveTo>
                  <a:cubicBezTo>
                    <a:pt x="0" y="41"/>
                    <a:pt x="96" y="0"/>
                    <a:pt x="234" y="0"/>
                  </a:cubicBezTo>
                  <a:cubicBezTo>
                    <a:pt x="371" y="0"/>
                    <a:pt x="467" y="41"/>
                    <a:pt x="467" y="41"/>
                  </a:cubicBezTo>
                </a:path>
              </a:pathLst>
            </a:custGeom>
            <a:noFill/>
            <a:ln w="30163" cap="rnd">
              <a:solidFill>
                <a:srgbClr val="2324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42" name="Freeform 168">
              <a:extLst>
                <a:ext uri="{FF2B5EF4-FFF2-40B4-BE49-F238E27FC236}">
                  <a16:creationId xmlns:a16="http://schemas.microsoft.com/office/drawing/2014/main" id="{8CE41750-E26A-6D48-5E85-4AD945FD2394}"/>
                </a:ext>
              </a:extLst>
            </p:cNvPr>
            <p:cNvSpPr>
              <a:spLocks/>
            </p:cNvSpPr>
            <p:nvPr/>
          </p:nvSpPr>
          <p:spPr bwMode="auto">
            <a:xfrm>
              <a:off x="8461376" y="2541588"/>
              <a:ext cx="120650" cy="93663"/>
            </a:xfrm>
            <a:custGeom>
              <a:avLst/>
              <a:gdLst>
                <a:gd name="T0" fmla="*/ 0 w 133"/>
                <a:gd name="T1" fmla="*/ 103 h 103"/>
                <a:gd name="T2" fmla="*/ 33 w 133"/>
                <a:gd name="T3" fmla="*/ 0 h 103"/>
                <a:gd name="T4" fmla="*/ 100 w 133"/>
                <a:gd name="T5" fmla="*/ 0 h 103"/>
                <a:gd name="T6" fmla="*/ 133 w 133"/>
                <a:gd name="T7" fmla="*/ 103 h 103"/>
              </a:gdLst>
              <a:ahLst/>
              <a:cxnLst>
                <a:cxn ang="0">
                  <a:pos x="T0" y="T1"/>
                </a:cxn>
                <a:cxn ang="0">
                  <a:pos x="T2" y="T3"/>
                </a:cxn>
                <a:cxn ang="0">
                  <a:pos x="T4" y="T5"/>
                </a:cxn>
                <a:cxn ang="0">
                  <a:pos x="T6" y="T7"/>
                </a:cxn>
              </a:cxnLst>
              <a:rect l="0" t="0" r="r" b="b"/>
              <a:pathLst>
                <a:path w="133" h="103">
                  <a:moveTo>
                    <a:pt x="0" y="103"/>
                  </a:moveTo>
                  <a:lnTo>
                    <a:pt x="33" y="0"/>
                  </a:lnTo>
                  <a:lnTo>
                    <a:pt x="100" y="0"/>
                  </a:lnTo>
                  <a:lnTo>
                    <a:pt x="133" y="103"/>
                  </a:lnTo>
                </a:path>
              </a:pathLst>
            </a:custGeom>
            <a:noFill/>
            <a:ln w="30163" cap="flat">
              <a:solidFill>
                <a:srgbClr val="2324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43" name="Freeform 169">
              <a:extLst>
                <a:ext uri="{FF2B5EF4-FFF2-40B4-BE49-F238E27FC236}">
                  <a16:creationId xmlns:a16="http://schemas.microsoft.com/office/drawing/2014/main" id="{C62C92BC-B54B-A312-0453-A811CB887EE3}"/>
                </a:ext>
              </a:extLst>
            </p:cNvPr>
            <p:cNvSpPr>
              <a:spLocks/>
            </p:cNvSpPr>
            <p:nvPr/>
          </p:nvSpPr>
          <p:spPr bwMode="auto">
            <a:xfrm>
              <a:off x="8169276" y="2814638"/>
              <a:ext cx="706438" cy="339725"/>
            </a:xfrm>
            <a:custGeom>
              <a:avLst/>
              <a:gdLst>
                <a:gd name="T0" fmla="*/ 667 w 776"/>
                <a:gd name="T1" fmla="*/ 371 h 371"/>
                <a:gd name="T2" fmla="*/ 768 w 776"/>
                <a:gd name="T3" fmla="*/ 148 h 371"/>
                <a:gd name="T4" fmla="*/ 750 w 776"/>
                <a:gd name="T5" fmla="*/ 104 h 371"/>
                <a:gd name="T6" fmla="*/ 388 w 776"/>
                <a:gd name="T7" fmla="*/ 0 h 371"/>
                <a:gd name="T8" fmla="*/ 25 w 776"/>
                <a:gd name="T9" fmla="*/ 104 h 371"/>
                <a:gd name="T10" fmla="*/ 7 w 776"/>
                <a:gd name="T11" fmla="*/ 148 h 371"/>
                <a:gd name="T12" fmla="*/ 108 w 776"/>
                <a:gd name="T13" fmla="*/ 371 h 371"/>
              </a:gdLst>
              <a:ahLst/>
              <a:cxnLst>
                <a:cxn ang="0">
                  <a:pos x="T0" y="T1"/>
                </a:cxn>
                <a:cxn ang="0">
                  <a:pos x="T2" y="T3"/>
                </a:cxn>
                <a:cxn ang="0">
                  <a:pos x="T4" y="T5"/>
                </a:cxn>
                <a:cxn ang="0">
                  <a:pos x="T6" y="T7"/>
                </a:cxn>
                <a:cxn ang="0">
                  <a:pos x="T8" y="T9"/>
                </a:cxn>
                <a:cxn ang="0">
                  <a:pos x="T10" y="T11"/>
                </a:cxn>
                <a:cxn ang="0">
                  <a:pos x="T12" y="T13"/>
                </a:cxn>
              </a:cxnLst>
              <a:rect l="0" t="0" r="r" b="b"/>
              <a:pathLst>
                <a:path w="776" h="371">
                  <a:moveTo>
                    <a:pt x="667" y="371"/>
                  </a:moveTo>
                  <a:lnTo>
                    <a:pt x="768" y="148"/>
                  </a:lnTo>
                  <a:cubicBezTo>
                    <a:pt x="776" y="131"/>
                    <a:pt x="768" y="111"/>
                    <a:pt x="750" y="104"/>
                  </a:cubicBezTo>
                  <a:cubicBezTo>
                    <a:pt x="676" y="73"/>
                    <a:pt x="489" y="0"/>
                    <a:pt x="388" y="0"/>
                  </a:cubicBezTo>
                  <a:cubicBezTo>
                    <a:pt x="287" y="0"/>
                    <a:pt x="99" y="73"/>
                    <a:pt x="25" y="104"/>
                  </a:cubicBezTo>
                  <a:cubicBezTo>
                    <a:pt x="7" y="111"/>
                    <a:pt x="0" y="131"/>
                    <a:pt x="7" y="148"/>
                  </a:cubicBezTo>
                  <a:lnTo>
                    <a:pt x="108" y="371"/>
                  </a:lnTo>
                </a:path>
              </a:pathLst>
            </a:custGeom>
            <a:noFill/>
            <a:ln w="30163" cap="rnd">
              <a:solidFill>
                <a:srgbClr val="2324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44" name="Line 170">
              <a:extLst>
                <a:ext uri="{FF2B5EF4-FFF2-40B4-BE49-F238E27FC236}">
                  <a16:creationId xmlns:a16="http://schemas.microsoft.com/office/drawing/2014/main" id="{D7ACDD71-84AB-193E-1CB2-1DCD257D3F54}"/>
                </a:ext>
              </a:extLst>
            </p:cNvPr>
            <p:cNvSpPr>
              <a:spLocks noChangeShapeType="1"/>
            </p:cNvSpPr>
            <p:nvPr/>
          </p:nvSpPr>
          <p:spPr bwMode="auto">
            <a:xfrm flipV="1">
              <a:off x="8521701" y="2876550"/>
              <a:ext cx="0" cy="257175"/>
            </a:xfrm>
            <a:prstGeom prst="line">
              <a:avLst/>
            </a:prstGeom>
            <a:noFill/>
            <a:ln w="30163" cap="rnd">
              <a:solidFill>
                <a:srgbClr val="23245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45" name="Freeform 171">
              <a:extLst>
                <a:ext uri="{FF2B5EF4-FFF2-40B4-BE49-F238E27FC236}">
                  <a16:creationId xmlns:a16="http://schemas.microsoft.com/office/drawing/2014/main" id="{80ECD114-A564-ED88-74DE-46E0BC955A5D}"/>
                </a:ext>
              </a:extLst>
            </p:cNvPr>
            <p:cNvSpPr>
              <a:spLocks/>
            </p:cNvSpPr>
            <p:nvPr/>
          </p:nvSpPr>
          <p:spPr bwMode="auto">
            <a:xfrm>
              <a:off x="8158163" y="3225800"/>
              <a:ext cx="728663" cy="46038"/>
            </a:xfrm>
            <a:custGeom>
              <a:avLst/>
              <a:gdLst>
                <a:gd name="T0" fmla="*/ 0 w 800"/>
                <a:gd name="T1" fmla="*/ 50 h 50"/>
                <a:gd name="T2" fmla="*/ 100 w 800"/>
                <a:gd name="T3" fmla="*/ 0 h 50"/>
                <a:gd name="T4" fmla="*/ 200 w 800"/>
                <a:gd name="T5" fmla="*/ 50 h 50"/>
                <a:gd name="T6" fmla="*/ 300 w 800"/>
                <a:gd name="T7" fmla="*/ 0 h 50"/>
                <a:gd name="T8" fmla="*/ 400 w 800"/>
                <a:gd name="T9" fmla="*/ 50 h 50"/>
                <a:gd name="T10" fmla="*/ 500 w 800"/>
                <a:gd name="T11" fmla="*/ 0 h 50"/>
                <a:gd name="T12" fmla="*/ 600 w 800"/>
                <a:gd name="T13" fmla="*/ 50 h 50"/>
                <a:gd name="T14" fmla="*/ 700 w 800"/>
                <a:gd name="T15" fmla="*/ 0 h 50"/>
                <a:gd name="T16" fmla="*/ 800 w 80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 h="50">
                  <a:moveTo>
                    <a:pt x="0" y="50"/>
                  </a:moveTo>
                  <a:cubicBezTo>
                    <a:pt x="43" y="50"/>
                    <a:pt x="57" y="0"/>
                    <a:pt x="100" y="0"/>
                  </a:cubicBezTo>
                  <a:cubicBezTo>
                    <a:pt x="143" y="0"/>
                    <a:pt x="157" y="50"/>
                    <a:pt x="200" y="50"/>
                  </a:cubicBezTo>
                  <a:cubicBezTo>
                    <a:pt x="243" y="50"/>
                    <a:pt x="257" y="0"/>
                    <a:pt x="300" y="0"/>
                  </a:cubicBezTo>
                  <a:cubicBezTo>
                    <a:pt x="343" y="0"/>
                    <a:pt x="357" y="50"/>
                    <a:pt x="400" y="50"/>
                  </a:cubicBezTo>
                  <a:cubicBezTo>
                    <a:pt x="443" y="50"/>
                    <a:pt x="457" y="0"/>
                    <a:pt x="500" y="0"/>
                  </a:cubicBezTo>
                  <a:cubicBezTo>
                    <a:pt x="543" y="0"/>
                    <a:pt x="557" y="50"/>
                    <a:pt x="600" y="50"/>
                  </a:cubicBezTo>
                  <a:cubicBezTo>
                    <a:pt x="643" y="50"/>
                    <a:pt x="657" y="0"/>
                    <a:pt x="700" y="0"/>
                  </a:cubicBezTo>
                  <a:cubicBezTo>
                    <a:pt x="743" y="0"/>
                    <a:pt x="757" y="50"/>
                    <a:pt x="800" y="50"/>
                  </a:cubicBezTo>
                </a:path>
              </a:pathLst>
            </a:custGeom>
            <a:noFill/>
            <a:ln w="30163" cap="rnd">
              <a:solidFill>
                <a:srgbClr val="2324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sp>
          <p:nvSpPr>
            <p:cNvPr id="446" name="Freeform 172">
              <a:extLst>
                <a:ext uri="{FF2B5EF4-FFF2-40B4-BE49-F238E27FC236}">
                  <a16:creationId xmlns:a16="http://schemas.microsoft.com/office/drawing/2014/main" id="{F055D423-5836-AED6-9E56-4A3DD2558B8C}"/>
                </a:ext>
              </a:extLst>
            </p:cNvPr>
            <p:cNvSpPr>
              <a:spLocks/>
            </p:cNvSpPr>
            <p:nvPr/>
          </p:nvSpPr>
          <p:spPr bwMode="auto">
            <a:xfrm>
              <a:off x="8158163" y="3149600"/>
              <a:ext cx="728663" cy="46038"/>
            </a:xfrm>
            <a:custGeom>
              <a:avLst/>
              <a:gdLst>
                <a:gd name="T0" fmla="*/ 0 w 800"/>
                <a:gd name="T1" fmla="*/ 50 h 50"/>
                <a:gd name="T2" fmla="*/ 100 w 800"/>
                <a:gd name="T3" fmla="*/ 0 h 50"/>
                <a:gd name="T4" fmla="*/ 200 w 800"/>
                <a:gd name="T5" fmla="*/ 50 h 50"/>
                <a:gd name="T6" fmla="*/ 300 w 800"/>
                <a:gd name="T7" fmla="*/ 0 h 50"/>
                <a:gd name="T8" fmla="*/ 400 w 800"/>
                <a:gd name="T9" fmla="*/ 50 h 50"/>
                <a:gd name="T10" fmla="*/ 500 w 800"/>
                <a:gd name="T11" fmla="*/ 0 h 50"/>
                <a:gd name="T12" fmla="*/ 600 w 800"/>
                <a:gd name="T13" fmla="*/ 50 h 50"/>
                <a:gd name="T14" fmla="*/ 700 w 800"/>
                <a:gd name="T15" fmla="*/ 0 h 50"/>
                <a:gd name="T16" fmla="*/ 800 w 80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 h="50">
                  <a:moveTo>
                    <a:pt x="0" y="50"/>
                  </a:moveTo>
                  <a:cubicBezTo>
                    <a:pt x="43" y="50"/>
                    <a:pt x="57" y="0"/>
                    <a:pt x="100" y="0"/>
                  </a:cubicBezTo>
                  <a:cubicBezTo>
                    <a:pt x="143" y="0"/>
                    <a:pt x="157" y="50"/>
                    <a:pt x="200" y="50"/>
                  </a:cubicBezTo>
                  <a:cubicBezTo>
                    <a:pt x="243" y="50"/>
                    <a:pt x="257" y="0"/>
                    <a:pt x="300" y="0"/>
                  </a:cubicBezTo>
                  <a:cubicBezTo>
                    <a:pt x="343" y="0"/>
                    <a:pt x="357" y="50"/>
                    <a:pt x="400" y="50"/>
                  </a:cubicBezTo>
                  <a:cubicBezTo>
                    <a:pt x="443" y="50"/>
                    <a:pt x="457" y="0"/>
                    <a:pt x="500" y="0"/>
                  </a:cubicBezTo>
                  <a:cubicBezTo>
                    <a:pt x="543" y="0"/>
                    <a:pt x="557" y="50"/>
                    <a:pt x="600" y="50"/>
                  </a:cubicBezTo>
                  <a:cubicBezTo>
                    <a:pt x="643" y="50"/>
                    <a:pt x="657" y="0"/>
                    <a:pt x="700" y="0"/>
                  </a:cubicBezTo>
                  <a:cubicBezTo>
                    <a:pt x="743" y="0"/>
                    <a:pt x="757" y="50"/>
                    <a:pt x="800" y="50"/>
                  </a:cubicBezTo>
                </a:path>
              </a:pathLst>
            </a:custGeom>
            <a:noFill/>
            <a:ln w="30163" cap="rnd">
              <a:solidFill>
                <a:srgbClr val="23245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fr-FR">
                <a:solidFill>
                  <a:prstClr val="black"/>
                </a:solidFill>
                <a:latin typeface="Calibri" panose="020F0502020204030204"/>
              </a:endParaRPr>
            </a:p>
          </p:txBody>
        </p:sp>
      </p:grpSp>
      <p:cxnSp>
        <p:nvCxnSpPr>
          <p:cNvPr id="3" name="Straight Connector 23 - 4">
            <a:extLst>
              <a:ext uri="{FF2B5EF4-FFF2-40B4-BE49-F238E27FC236}">
                <a16:creationId xmlns:a16="http://schemas.microsoft.com/office/drawing/2014/main" id="{AD842B67-31F6-B666-917C-DE6B810181E7}"/>
              </a:ext>
            </a:extLst>
          </p:cNvPr>
          <p:cNvCxnSpPr>
            <a:cxnSpLocks/>
          </p:cNvCxnSpPr>
          <p:nvPr/>
        </p:nvCxnSpPr>
        <p:spPr>
          <a:xfrm>
            <a:off x="3697832" y="2603743"/>
            <a:ext cx="0" cy="1338020"/>
          </a:xfrm>
          <a:prstGeom prst="straightConnector1">
            <a:avLst/>
          </a:prstGeom>
          <a:noFill/>
          <a:ln w="6345" cap="flat">
            <a:solidFill>
              <a:schemeClr val="bg1">
                <a:lumMod val="75000"/>
              </a:schemeClr>
            </a:solidFill>
            <a:prstDash val="solid"/>
            <a:miter/>
          </a:ln>
        </p:spPr>
      </p:cxnSp>
      <p:sp>
        <p:nvSpPr>
          <p:cNvPr id="21" name="TextBox 45">
            <a:extLst>
              <a:ext uri="{FF2B5EF4-FFF2-40B4-BE49-F238E27FC236}">
                <a16:creationId xmlns:a16="http://schemas.microsoft.com/office/drawing/2014/main" id="{87BF3473-9424-DB0B-97F6-488CFB5182B7}"/>
              </a:ext>
            </a:extLst>
          </p:cNvPr>
          <p:cNvSpPr txBox="1"/>
          <p:nvPr/>
        </p:nvSpPr>
        <p:spPr>
          <a:xfrm>
            <a:off x="3124810" y="3955400"/>
            <a:ext cx="1058489" cy="715581"/>
          </a:xfrm>
          <a:prstGeom prst="rect">
            <a:avLst/>
          </a:prstGeom>
          <a:noFill/>
          <a:ln cap="flat">
            <a:noFill/>
          </a:ln>
        </p:spPr>
        <p:txBody>
          <a:bodyPr vert="horz" wrap="square" lIns="68580" tIns="34290" rIns="68580" bIns="34290" anchor="t" anchorCtr="0" compatLnSpc="1">
            <a:spAutoFit/>
          </a:bodyPr>
          <a:lstStyle/>
          <a:p>
            <a:pPr algn="ctr" defTabSz="514337">
              <a:defRPr sz="1800" b="0" i="0" u="none" strike="noStrike" kern="0" cap="none" spc="0" baseline="0">
                <a:solidFill>
                  <a:srgbClr val="000000"/>
                </a:solidFill>
                <a:uFillTx/>
              </a:defRPr>
            </a:pPr>
            <a:r>
              <a:rPr lang="en-US" sz="1500" kern="0" dirty="0">
                <a:solidFill>
                  <a:srgbClr val="000000"/>
                </a:solidFill>
                <a:latin typeface="Calibri"/>
              </a:rPr>
              <a:t>1992</a:t>
            </a:r>
            <a:endParaRPr lang="en-US" sz="1500" dirty="0">
              <a:solidFill>
                <a:srgbClr val="000000"/>
              </a:solidFill>
              <a:latin typeface="Calibri"/>
            </a:endParaRPr>
          </a:p>
          <a:p>
            <a:pPr algn="ctr" defTabSz="514337">
              <a:defRPr sz="1800" b="0" i="0" u="none" strike="noStrike" kern="0" cap="none" spc="0" baseline="0">
                <a:solidFill>
                  <a:srgbClr val="000000"/>
                </a:solidFill>
                <a:uFillTx/>
              </a:defRPr>
            </a:pPr>
            <a:r>
              <a:rPr lang="en-US" sz="900" dirty="0">
                <a:solidFill>
                  <a:srgbClr val="7F7F7F"/>
                </a:solidFill>
                <a:latin typeface="Calibri"/>
              </a:rPr>
              <a:t>(</a:t>
            </a:r>
            <a:r>
              <a:rPr lang="en-GB" sz="900" dirty="0">
                <a:solidFill>
                  <a:srgbClr val="7F7F7F"/>
                </a:solidFill>
                <a:latin typeface="Calibri"/>
              </a:rPr>
              <a:t>Save the Waves – focus on </a:t>
            </a:r>
            <a:r>
              <a:rPr lang="en-GB" sz="900" dirty="0">
                <a:solidFill>
                  <a:srgbClr val="7F7F7F"/>
                </a:solidFill>
                <a:latin typeface="Calibri"/>
                <a:hlinkClick r:id="rId4"/>
              </a:rPr>
              <a:t>sustainability</a:t>
            </a:r>
            <a:r>
              <a:rPr lang="en-GB" sz="900" dirty="0">
                <a:solidFill>
                  <a:srgbClr val="7F7F7F"/>
                </a:solidFill>
                <a:latin typeface="Calibri"/>
              </a:rPr>
              <a:t> </a:t>
            </a:r>
            <a:r>
              <a:rPr lang="en-US" sz="900" dirty="0">
                <a:solidFill>
                  <a:srgbClr val="7F7F7F"/>
                </a:solidFill>
                <a:latin typeface="Calibri"/>
              </a:rPr>
              <a:t>)</a:t>
            </a:r>
          </a:p>
        </p:txBody>
      </p:sp>
      <p:pic>
        <p:nvPicPr>
          <p:cNvPr id="54" name="Picture 53">
            <a:extLst>
              <a:ext uri="{FF2B5EF4-FFF2-40B4-BE49-F238E27FC236}">
                <a16:creationId xmlns:a16="http://schemas.microsoft.com/office/drawing/2014/main" id="{083B0C77-B187-7F16-CA44-926FB2DE6207}"/>
              </a:ext>
            </a:extLst>
          </p:cNvPr>
          <p:cNvPicPr>
            <a:picLocks noChangeAspect="1"/>
          </p:cNvPicPr>
          <p:nvPr/>
        </p:nvPicPr>
        <p:blipFill>
          <a:blip r:embed="rId5"/>
          <a:stretch>
            <a:fillRect/>
          </a:stretch>
        </p:blipFill>
        <p:spPr>
          <a:xfrm>
            <a:off x="6360671" y="1424970"/>
            <a:ext cx="641996" cy="1158724"/>
          </a:xfrm>
          <a:prstGeom prst="rect">
            <a:avLst/>
          </a:prstGeom>
        </p:spPr>
      </p:pic>
      <p:pic>
        <p:nvPicPr>
          <p:cNvPr id="56" name="Picture 55">
            <a:extLst>
              <a:ext uri="{FF2B5EF4-FFF2-40B4-BE49-F238E27FC236}">
                <a16:creationId xmlns:a16="http://schemas.microsoft.com/office/drawing/2014/main" id="{764D7891-CF92-B3EC-7BE2-0094D1977D4D}"/>
              </a:ext>
            </a:extLst>
          </p:cNvPr>
          <p:cNvPicPr>
            <a:picLocks noChangeAspect="1"/>
          </p:cNvPicPr>
          <p:nvPr/>
        </p:nvPicPr>
        <p:blipFill>
          <a:blip r:embed="rId6"/>
          <a:stretch>
            <a:fillRect/>
          </a:stretch>
        </p:blipFill>
        <p:spPr>
          <a:xfrm>
            <a:off x="4424943" y="1467130"/>
            <a:ext cx="609220" cy="1089989"/>
          </a:xfrm>
          <a:prstGeom prst="rect">
            <a:avLst/>
          </a:prstGeom>
        </p:spPr>
      </p:pic>
      <p:pic>
        <p:nvPicPr>
          <p:cNvPr id="58" name="Picture 57">
            <a:extLst>
              <a:ext uri="{FF2B5EF4-FFF2-40B4-BE49-F238E27FC236}">
                <a16:creationId xmlns:a16="http://schemas.microsoft.com/office/drawing/2014/main" id="{D267325B-BCF7-B075-4D33-064CA2B373F8}"/>
              </a:ext>
            </a:extLst>
          </p:cNvPr>
          <p:cNvPicPr>
            <a:picLocks noChangeAspect="1"/>
          </p:cNvPicPr>
          <p:nvPr/>
        </p:nvPicPr>
        <p:blipFill>
          <a:blip r:embed="rId7"/>
          <a:stretch>
            <a:fillRect/>
          </a:stretch>
        </p:blipFill>
        <p:spPr>
          <a:xfrm>
            <a:off x="3469946" y="1465179"/>
            <a:ext cx="600341" cy="1093891"/>
          </a:xfrm>
          <a:prstGeom prst="rect">
            <a:avLst/>
          </a:prstGeom>
        </p:spPr>
      </p:pic>
      <p:pic>
        <p:nvPicPr>
          <p:cNvPr id="62" name="Picture 61">
            <a:extLst>
              <a:ext uri="{FF2B5EF4-FFF2-40B4-BE49-F238E27FC236}">
                <a16:creationId xmlns:a16="http://schemas.microsoft.com/office/drawing/2014/main" id="{4A329135-16BF-06F9-0F72-642090465049}"/>
              </a:ext>
            </a:extLst>
          </p:cNvPr>
          <p:cNvPicPr>
            <a:picLocks noChangeAspect="1"/>
          </p:cNvPicPr>
          <p:nvPr/>
        </p:nvPicPr>
        <p:blipFill>
          <a:blip r:embed="rId8"/>
          <a:stretch>
            <a:fillRect/>
          </a:stretch>
        </p:blipFill>
        <p:spPr>
          <a:xfrm>
            <a:off x="5388817" y="1420271"/>
            <a:ext cx="617198" cy="1168119"/>
          </a:xfrm>
          <a:prstGeom prst="rect">
            <a:avLst/>
          </a:prstGeom>
        </p:spPr>
      </p:pic>
      <p:pic>
        <p:nvPicPr>
          <p:cNvPr id="65" name="Picture 64">
            <a:extLst>
              <a:ext uri="{FF2B5EF4-FFF2-40B4-BE49-F238E27FC236}">
                <a16:creationId xmlns:a16="http://schemas.microsoft.com/office/drawing/2014/main" id="{9548AF03-FAC5-0072-3759-D53D600FF527}"/>
              </a:ext>
            </a:extLst>
          </p:cNvPr>
          <p:cNvPicPr>
            <a:picLocks noChangeAspect="1"/>
          </p:cNvPicPr>
          <p:nvPr/>
        </p:nvPicPr>
        <p:blipFill>
          <a:blip r:embed="rId9"/>
          <a:stretch>
            <a:fillRect/>
          </a:stretch>
        </p:blipFill>
        <p:spPr>
          <a:xfrm>
            <a:off x="7357322" y="1446688"/>
            <a:ext cx="615608" cy="1115288"/>
          </a:xfrm>
          <a:prstGeom prst="rect">
            <a:avLst/>
          </a:prstGeom>
        </p:spPr>
      </p:pic>
      <p:cxnSp>
        <p:nvCxnSpPr>
          <p:cNvPr id="2" name="Straight Arrow Connector 1">
            <a:extLst>
              <a:ext uri="{FF2B5EF4-FFF2-40B4-BE49-F238E27FC236}">
                <a16:creationId xmlns:a16="http://schemas.microsoft.com/office/drawing/2014/main" id="{66EFB472-A18C-44F4-EFB6-508BD7043B22}"/>
              </a:ext>
            </a:extLst>
          </p:cNvPr>
          <p:cNvCxnSpPr>
            <a:cxnSpLocks/>
          </p:cNvCxnSpPr>
          <p:nvPr/>
        </p:nvCxnSpPr>
        <p:spPr>
          <a:xfrm>
            <a:off x="3405181" y="2586358"/>
            <a:ext cx="4987037" cy="15795"/>
          </a:xfrm>
          <a:prstGeom prst="straightConnector1">
            <a:avLst/>
          </a:prstGeom>
          <a:noFill/>
          <a:ln w="76196" cap="flat">
            <a:solidFill>
              <a:schemeClr val="accent6">
                <a:lumMod val="50000"/>
              </a:schemeClr>
            </a:solidFill>
            <a:prstDash val="solid"/>
            <a:miter/>
            <a:tailEnd type="arrow"/>
          </a:ln>
        </p:spPr>
      </p:cxnSp>
    </p:spTree>
    <p:extLst>
      <p:ext uri="{BB962C8B-B14F-4D97-AF65-F5344CB8AC3E}">
        <p14:creationId xmlns:p14="http://schemas.microsoft.com/office/powerpoint/2010/main" val="949753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08376-61F0-C8BC-9F3E-DA8C9E97EA2F}"/>
              </a:ext>
            </a:extLst>
          </p:cNvPr>
          <p:cNvSpPr>
            <a:spLocks noGrp="1"/>
          </p:cNvSpPr>
          <p:nvPr>
            <p:ph type="title"/>
          </p:nvPr>
        </p:nvSpPr>
        <p:spPr/>
        <p:txBody>
          <a:bodyPr/>
          <a:lstStyle/>
          <a:p>
            <a:r>
              <a:rPr lang="en-GB" dirty="0"/>
              <a:t>#WeAreCruise </a:t>
            </a:r>
            <a:r>
              <a:rPr lang="en-GB" sz="900" dirty="0"/>
              <a:t>(The world`s largest cruise industry trade association)</a:t>
            </a:r>
            <a:endParaRPr lang="en-AT" sz="900" dirty="0"/>
          </a:p>
        </p:txBody>
      </p:sp>
      <p:sp>
        <p:nvSpPr>
          <p:cNvPr id="2" name="Content Placeholder 1">
            <a:extLst>
              <a:ext uri="{FF2B5EF4-FFF2-40B4-BE49-F238E27FC236}">
                <a16:creationId xmlns:a16="http://schemas.microsoft.com/office/drawing/2014/main" id="{BF5B1007-0E90-D644-3E74-0E2C3C323ED7}"/>
              </a:ext>
            </a:extLst>
          </p:cNvPr>
          <p:cNvSpPr>
            <a:spLocks noGrp="1"/>
          </p:cNvSpPr>
          <p:nvPr>
            <p:ph idx="1"/>
          </p:nvPr>
        </p:nvSpPr>
        <p:spPr>
          <a:xfrm>
            <a:off x="3615418" y="1284193"/>
            <a:ext cx="5350434" cy="3691219"/>
          </a:xfrm>
        </p:spPr>
        <p:txBody>
          <a:bodyPr>
            <a:normAutofit/>
          </a:bodyPr>
          <a:lstStyle/>
          <a:p>
            <a:pPr marL="0" indent="0">
              <a:buNone/>
            </a:pPr>
            <a:r>
              <a:rPr lang="en-GB" sz="1200" dirty="0"/>
              <a:t>50+ Cruise Lines – From ocean to speciality cruise ships, CLIA lines represent more than </a:t>
            </a:r>
            <a:r>
              <a:rPr lang="en-GB" sz="1200" b="1" i="1" dirty="0"/>
              <a:t>95 % of global cruise capacity</a:t>
            </a:r>
            <a:r>
              <a:rPr lang="en-GB" sz="1200" dirty="0"/>
              <a:t> and 350+ Executive Partner,13,000 Global Travel Agency and 50,000 Travel Agent Members </a:t>
            </a:r>
          </a:p>
          <a:p>
            <a:pPr marL="0" indent="0">
              <a:buNone/>
            </a:pPr>
            <a:endParaRPr lang="en-GB" sz="1200" b="1" i="1" dirty="0"/>
          </a:p>
          <a:p>
            <a:pPr marL="0" indent="0">
              <a:buNone/>
            </a:pPr>
            <a:r>
              <a:rPr lang="en-GB" sz="1200" dirty="0"/>
              <a:t>CLIA Cruise Lines serve nearly </a:t>
            </a:r>
            <a:r>
              <a:rPr lang="en-GB" sz="1200" b="1" i="1" dirty="0"/>
              <a:t>30 million passengers </a:t>
            </a:r>
            <a:r>
              <a:rPr lang="en-GB" sz="1200" dirty="0"/>
              <a:t>annually.</a:t>
            </a:r>
          </a:p>
          <a:p>
            <a:pPr marL="0" indent="0">
              <a:buNone/>
            </a:pPr>
            <a:endParaRPr lang="en-GB" sz="1200" dirty="0"/>
          </a:p>
          <a:p>
            <a:pPr marL="0" indent="0">
              <a:buNone/>
            </a:pPr>
            <a:r>
              <a:rPr lang="en-GB" sz="1200" dirty="0"/>
              <a:t>The </a:t>
            </a:r>
            <a:r>
              <a:rPr lang="en-GB" sz="1200" b="1" i="1" dirty="0"/>
              <a:t>economic impact </a:t>
            </a:r>
            <a:r>
              <a:rPr lang="en-GB" sz="1200" dirty="0"/>
              <a:t>of Cruise Tourism Globally: </a:t>
            </a:r>
            <a:r>
              <a:rPr lang="en-US" sz="1200" kern="1200" dirty="0">
                <a:effectLst/>
                <a:ea typeface="Times New Roman" panose="02020603050405020304" pitchFamily="18" charset="0"/>
              </a:rPr>
              <a:t>over $US150 billion in total economic impact to the global economy, supporting nearly 1.2 million jobs and US$50 billion in wages.  Cruise lines and cruise passengers spend over NZ$550 million each year in New Zealand. </a:t>
            </a:r>
            <a:endParaRPr lang="en-GB" sz="1200" dirty="0"/>
          </a:p>
          <a:p>
            <a:pPr marL="0" indent="0">
              <a:buNone/>
            </a:pPr>
            <a:endParaRPr lang="en-GB" sz="1200" dirty="0"/>
          </a:p>
          <a:p>
            <a:pPr marL="0" indent="0">
              <a:buNone/>
            </a:pPr>
            <a:r>
              <a:rPr lang="en-GB" sz="1200" dirty="0"/>
              <a:t>With the launch of 14 ships from CLIA-member cruise lines during 2023, the CLIA fleet by year-end will include 293 ships, and </a:t>
            </a:r>
            <a:r>
              <a:rPr lang="en-GB" sz="1200" b="1" i="1" dirty="0"/>
              <a:t>€38 billion invested </a:t>
            </a:r>
            <a:r>
              <a:rPr lang="en-GB" sz="1200" dirty="0"/>
              <a:t>in 62 ships for delivery between now and 2028</a:t>
            </a:r>
            <a:endParaRPr lang="en-AT" sz="1200" b="1" i="1" dirty="0"/>
          </a:p>
          <a:p>
            <a:pPr marL="0" indent="0">
              <a:buNone/>
            </a:pPr>
            <a:endParaRPr lang="en-GB" sz="1200" dirty="0">
              <a:solidFill>
                <a:schemeClr val="bg1">
                  <a:lumMod val="50000"/>
                </a:schemeClr>
              </a:solidFill>
            </a:endParaRPr>
          </a:p>
          <a:p>
            <a:pPr marL="0" indent="0">
              <a:buNone/>
            </a:pPr>
            <a:endParaRPr lang="en-AT" sz="1200" dirty="0">
              <a:solidFill>
                <a:schemeClr val="bg1">
                  <a:lumMod val="50000"/>
                </a:schemeClr>
              </a:solidFill>
            </a:endParaRPr>
          </a:p>
        </p:txBody>
      </p:sp>
      <p:sp>
        <p:nvSpPr>
          <p:cNvPr id="5" name="TextBox 4">
            <a:extLst>
              <a:ext uri="{FF2B5EF4-FFF2-40B4-BE49-F238E27FC236}">
                <a16:creationId xmlns:a16="http://schemas.microsoft.com/office/drawing/2014/main" id="{074BC59C-219A-078C-F07B-114767EF31E5}"/>
              </a:ext>
            </a:extLst>
          </p:cNvPr>
          <p:cNvSpPr txBox="1"/>
          <p:nvPr/>
        </p:nvSpPr>
        <p:spPr>
          <a:xfrm>
            <a:off x="98893" y="1692958"/>
            <a:ext cx="2982097" cy="2308324"/>
          </a:xfrm>
          <a:prstGeom prst="rect">
            <a:avLst/>
          </a:prstGeom>
          <a:noFill/>
        </p:spPr>
        <p:txBody>
          <a:bodyPr wrap="square" rtlCol="0">
            <a:spAutoFit/>
          </a:bodyPr>
          <a:lstStyle/>
          <a:p>
            <a:pPr algn="r"/>
            <a:r>
              <a:rPr lang="en-GB" sz="3600" dirty="0"/>
              <a:t>The world`s largest cruise industry trade association</a:t>
            </a:r>
            <a:endParaRPr lang="en-AT" sz="3600" dirty="0"/>
          </a:p>
        </p:txBody>
      </p:sp>
      <p:cxnSp>
        <p:nvCxnSpPr>
          <p:cNvPr id="7" name="Straight Connector 6">
            <a:extLst>
              <a:ext uri="{FF2B5EF4-FFF2-40B4-BE49-F238E27FC236}">
                <a16:creationId xmlns:a16="http://schemas.microsoft.com/office/drawing/2014/main" id="{0E2585B9-9FC8-A1E9-1E87-A5C7515584D8}"/>
              </a:ext>
            </a:extLst>
          </p:cNvPr>
          <p:cNvCxnSpPr/>
          <p:nvPr/>
        </p:nvCxnSpPr>
        <p:spPr>
          <a:xfrm>
            <a:off x="3382611" y="1530642"/>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4336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08376-61F0-C8BC-9F3E-DA8C9E97EA2F}"/>
              </a:ext>
            </a:extLst>
          </p:cNvPr>
          <p:cNvSpPr>
            <a:spLocks noGrp="1"/>
          </p:cNvSpPr>
          <p:nvPr>
            <p:ph type="title"/>
          </p:nvPr>
        </p:nvSpPr>
        <p:spPr/>
        <p:txBody>
          <a:bodyPr/>
          <a:lstStyle/>
          <a:p>
            <a:r>
              <a:rPr lang="fr-FR" dirty="0"/>
              <a:t>Port of Tauranga </a:t>
            </a:r>
            <a:r>
              <a:rPr lang="fr-FR" dirty="0" err="1"/>
              <a:t>cruise</a:t>
            </a:r>
            <a:r>
              <a:rPr lang="fr-FR" dirty="0"/>
              <a:t> </a:t>
            </a:r>
            <a:r>
              <a:rPr lang="fr-FR" dirty="0" err="1"/>
              <a:t>visits</a:t>
            </a:r>
            <a:endParaRPr lang="en-AT" sz="900" dirty="0"/>
          </a:p>
        </p:txBody>
      </p:sp>
      <p:sp>
        <p:nvSpPr>
          <p:cNvPr id="8" name="TextBox 7">
            <a:extLst>
              <a:ext uri="{FF2B5EF4-FFF2-40B4-BE49-F238E27FC236}">
                <a16:creationId xmlns:a16="http://schemas.microsoft.com/office/drawing/2014/main" id="{419FCBD8-4A21-B821-F925-53CBF0F4AD09}"/>
              </a:ext>
            </a:extLst>
          </p:cNvPr>
          <p:cNvSpPr txBox="1"/>
          <p:nvPr/>
        </p:nvSpPr>
        <p:spPr>
          <a:xfrm>
            <a:off x="5348470" y="1753435"/>
            <a:ext cx="2982097" cy="2125710"/>
          </a:xfrm>
          <a:prstGeom prst="rect">
            <a:avLst/>
          </a:prstGeom>
          <a:noFill/>
        </p:spPr>
        <p:txBody>
          <a:bodyPr wrap="square" rtlCol="0">
            <a:spAutoFit/>
          </a:bodyPr>
          <a:lstStyle/>
          <a:p>
            <a:pPr marL="0" marR="0" lvl="0" indent="0" algn="l" defTabSz="685800" rtl="0" eaLnBrk="1" fontAlgn="auto" latinLnBrk="0" hangingPunct="1">
              <a:lnSpc>
                <a:spcPct val="90000"/>
              </a:lnSpc>
              <a:spcBef>
                <a:spcPts val="750"/>
              </a:spcBef>
              <a:spcAft>
                <a:spcPts val="0"/>
              </a:spcAft>
              <a:buClrTx/>
              <a:buSzPct val="100000"/>
              <a:buFont typeface="Arial" pitchFamily="34"/>
              <a:buNone/>
              <a:tabLst/>
              <a:defRPr/>
            </a:pPr>
            <a:r>
              <a:rPr kumimoji="0" lang="en-US" sz="1800" b="1" i="0" u="none" strike="noStrike" kern="1200" cap="none" spc="0" normalizeH="0" baseline="0" noProof="0" dirty="0">
                <a:ln>
                  <a:noFill/>
                </a:ln>
                <a:solidFill>
                  <a:srgbClr val="000000"/>
                </a:solidFill>
                <a:effectLst/>
                <a:uLnTx/>
                <a:uFillTx/>
                <a:latin typeface="Calibri"/>
              </a:rPr>
              <a:t>Cruise as a percentage of all port calls</a:t>
            </a:r>
          </a:p>
          <a:p>
            <a:pPr marL="0" marR="0" lvl="0" indent="0" algn="l" defTabSz="685800" rtl="0" eaLnBrk="1" fontAlgn="auto" latinLnBrk="0" hangingPunct="1">
              <a:lnSpc>
                <a:spcPct val="90000"/>
              </a:lnSpc>
              <a:spcBef>
                <a:spcPts val="750"/>
              </a:spcBef>
              <a:spcAft>
                <a:spcPts val="0"/>
              </a:spcAft>
              <a:buClrTx/>
              <a:buSzPct val="100000"/>
              <a:buFont typeface="Arial" pitchFamily="34"/>
              <a:buNone/>
              <a:tabLst/>
              <a:defRPr/>
            </a:pPr>
            <a:r>
              <a:rPr kumimoji="0" lang="en-AU"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rPr>
              <a:t>In the year to 30 June 2023, there were approximately 90 cruise ship departures from Tauranga out of an overall total of around 1432 departures. </a:t>
            </a:r>
          </a:p>
          <a:p>
            <a:pPr marL="0" marR="0" lvl="0" indent="0" algn="l" defTabSz="685800" rtl="0" eaLnBrk="1" fontAlgn="auto" latinLnBrk="0" hangingPunct="1">
              <a:lnSpc>
                <a:spcPct val="90000"/>
              </a:lnSpc>
              <a:spcBef>
                <a:spcPts val="750"/>
              </a:spcBef>
              <a:spcAft>
                <a:spcPts val="0"/>
              </a:spcAft>
              <a:buClrTx/>
              <a:buSzPct val="100000"/>
              <a:buFont typeface="Arial" pitchFamily="34"/>
              <a:buNone/>
              <a:tabLst/>
              <a:defRPr/>
            </a:pPr>
            <a:r>
              <a:rPr kumimoji="0" lang="en-AU"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rPr>
              <a:t>Cruise = 6.3% of all departures</a:t>
            </a:r>
            <a:endParaRPr kumimoji="0" lang="en-GB" sz="1600" b="1" i="0" u="none" strike="noStrike" kern="1200" cap="none" spc="0" normalizeH="0" baseline="0" noProof="0" dirty="0">
              <a:ln>
                <a:noFill/>
              </a:ln>
              <a:solidFill>
                <a:srgbClr val="70AD47">
                  <a:lumMod val="50000"/>
                </a:srgbClr>
              </a:solidFill>
              <a:effectLst/>
              <a:uLnTx/>
              <a:uFillTx/>
              <a:latin typeface="Calibri" panose="020F0502020204030204"/>
              <a:ea typeface="+mn-ea"/>
              <a:cs typeface="+mn-cs"/>
            </a:endParaRPr>
          </a:p>
        </p:txBody>
      </p:sp>
      <p:sp>
        <p:nvSpPr>
          <p:cNvPr id="2" name="Content Placeholder 1">
            <a:extLst>
              <a:ext uri="{FF2B5EF4-FFF2-40B4-BE49-F238E27FC236}">
                <a16:creationId xmlns:a16="http://schemas.microsoft.com/office/drawing/2014/main" id="{EDF6C9C4-491C-8599-D2CB-1682DAF8E189}"/>
              </a:ext>
            </a:extLst>
          </p:cNvPr>
          <p:cNvSpPr>
            <a:spLocks noGrp="1"/>
          </p:cNvSpPr>
          <p:nvPr>
            <p:ph idx="1"/>
          </p:nvPr>
        </p:nvSpPr>
        <p:spPr>
          <a:xfrm>
            <a:off x="45610" y="1255736"/>
            <a:ext cx="4835121" cy="2862322"/>
          </a:xfrm>
        </p:spPr>
        <p:txBody>
          <a:bodyPr>
            <a:noAutofit/>
          </a:bodyPr>
          <a:lstStyle/>
          <a:p>
            <a:pPr marL="0" indent="0">
              <a:buNone/>
            </a:pPr>
            <a:r>
              <a:rPr lang="en-US" sz="1800" b="1" dirty="0">
                <a:solidFill>
                  <a:srgbClr val="000000"/>
                </a:solidFill>
                <a:effectLst/>
                <a:latin typeface="Calibri" panose="020F0502020204030204" pitchFamily="34" charset="0"/>
                <a:ea typeface="Calibri" panose="020F0502020204030204" pitchFamily="34" charset="0"/>
              </a:rPr>
              <a:t>2022/23 season</a:t>
            </a:r>
            <a:endParaRPr lang="en-US" sz="1800" dirty="0">
              <a:solidFill>
                <a:srgbClr val="000000"/>
              </a:solidFill>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1600" dirty="0">
                <a:solidFill>
                  <a:srgbClr val="000000"/>
                </a:solidFill>
                <a:effectLst/>
                <a:latin typeface="Calibri" panose="020F0502020204030204" pitchFamily="34" charset="0"/>
                <a:ea typeface="Calibri" panose="020F0502020204030204" pitchFamily="34" charset="0"/>
              </a:rPr>
              <a:t>91 actual ship berths, a total of 77 actual ship days. </a:t>
            </a:r>
          </a:p>
          <a:p>
            <a:pPr marL="285750" indent="-285750">
              <a:buFont typeface="Arial" panose="020B0604020202020204" pitchFamily="34" charset="0"/>
              <a:buChar char="•"/>
            </a:pPr>
            <a:r>
              <a:rPr lang="en-US" sz="1600" dirty="0">
                <a:solidFill>
                  <a:srgbClr val="000000"/>
                </a:solidFill>
                <a:effectLst/>
                <a:latin typeface="Calibri" panose="020F0502020204030204" pitchFamily="34" charset="0"/>
                <a:ea typeface="Calibri" panose="020F0502020204030204" pitchFamily="34" charset="0"/>
              </a:rPr>
              <a:t>153,177 cruise passengers and 68,366 crew visited the region. </a:t>
            </a:r>
          </a:p>
          <a:p>
            <a:pPr marL="0" indent="0">
              <a:buNone/>
            </a:pPr>
            <a:endParaRPr lang="en-US" sz="1200" b="1" dirty="0">
              <a:solidFill>
                <a:srgbClr val="000000"/>
              </a:solidFill>
              <a:effectLst/>
              <a:latin typeface="Calibri" panose="020F0502020204030204" pitchFamily="34" charset="0"/>
              <a:ea typeface="Calibri" panose="020F0502020204030204" pitchFamily="34" charset="0"/>
            </a:endParaRPr>
          </a:p>
          <a:p>
            <a:pPr marL="0" indent="0">
              <a:buNone/>
            </a:pPr>
            <a:r>
              <a:rPr lang="en-US" sz="1800" b="1" dirty="0">
                <a:solidFill>
                  <a:srgbClr val="000000"/>
                </a:solidFill>
                <a:effectLst/>
                <a:latin typeface="Calibri" panose="020F0502020204030204" pitchFamily="34" charset="0"/>
                <a:ea typeface="Calibri" panose="020F0502020204030204" pitchFamily="34" charset="0"/>
              </a:rPr>
              <a:t>2023/24 season</a:t>
            </a:r>
          </a:p>
          <a:p>
            <a:r>
              <a:rPr lang="en-US" sz="1600" dirty="0">
                <a:solidFill>
                  <a:srgbClr val="000000"/>
                </a:solidFill>
                <a:effectLst/>
                <a:latin typeface="Calibri" panose="020F0502020204030204" pitchFamily="34" charset="0"/>
                <a:ea typeface="Calibri" panose="020F0502020204030204" pitchFamily="34" charset="0"/>
              </a:rPr>
              <a:t>115 scheduled cruise ship arrivals resulting in 93 ship arrival days. </a:t>
            </a:r>
          </a:p>
          <a:p>
            <a:r>
              <a:rPr lang="en-US" sz="1600" dirty="0">
                <a:solidFill>
                  <a:srgbClr val="000000"/>
                </a:solidFill>
                <a:effectLst/>
                <a:latin typeface="Calibri" panose="020F0502020204030204" pitchFamily="34" charset="0"/>
                <a:ea typeface="Calibri" panose="020F0502020204030204" pitchFamily="34" charset="0"/>
              </a:rPr>
              <a:t>These visits will bring 291,000 passengers and crew into the Bay of Plenty region. </a:t>
            </a:r>
          </a:p>
          <a:p>
            <a:endParaRPr lang="en-US" sz="1200" dirty="0">
              <a:solidFill>
                <a:srgbClr val="000000"/>
              </a:solidFill>
              <a:latin typeface="Calibri" panose="020F0502020204030204" pitchFamily="34" charset="0"/>
              <a:ea typeface="Calibri" panose="020F0502020204030204" pitchFamily="34" charset="0"/>
            </a:endParaRPr>
          </a:p>
          <a:p>
            <a:endParaRPr lang="en-US" sz="1200" dirty="0">
              <a:solidFill>
                <a:srgbClr val="000000"/>
              </a:solidFill>
              <a:effectLst/>
              <a:latin typeface="Calibri" panose="020F0502020204030204" pitchFamily="34" charset="0"/>
              <a:ea typeface="Calibri" panose="020F0502020204030204" pitchFamily="34" charset="0"/>
            </a:endParaRPr>
          </a:p>
          <a:p>
            <a:pPr marL="0" indent="0" algn="r">
              <a:buNone/>
            </a:pPr>
            <a:endParaRPr lang="en-GB" sz="1200" dirty="0">
              <a:solidFill>
                <a:schemeClr val="tx1">
                  <a:lumMod val="65000"/>
                  <a:lumOff val="35000"/>
                </a:schemeClr>
              </a:solidFill>
            </a:endParaRPr>
          </a:p>
          <a:p>
            <a:pPr marL="0" indent="0" algn="r">
              <a:buNone/>
            </a:pPr>
            <a:endParaRPr lang="en-GB" sz="1200" dirty="0">
              <a:solidFill>
                <a:schemeClr val="tx1">
                  <a:lumMod val="65000"/>
                  <a:lumOff val="35000"/>
                </a:schemeClr>
              </a:solidFill>
            </a:endParaRPr>
          </a:p>
        </p:txBody>
      </p:sp>
    </p:spTree>
    <p:extLst>
      <p:ext uri="{BB962C8B-B14F-4D97-AF65-F5344CB8AC3E}">
        <p14:creationId xmlns:p14="http://schemas.microsoft.com/office/powerpoint/2010/main" val="37423071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FB5169-18BF-479C-B616-E43AC8B33C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073"/>
          <a:stretch/>
        </p:blipFill>
        <p:spPr>
          <a:xfrm>
            <a:off x="-8021" y="0"/>
            <a:ext cx="9152021" cy="5143500"/>
          </a:xfrm>
          <a:prstGeom prst="rect">
            <a:avLst/>
          </a:prstGeom>
        </p:spPr>
      </p:pic>
      <p:sp>
        <p:nvSpPr>
          <p:cNvPr id="6" name="TextBox 5">
            <a:extLst>
              <a:ext uri="{FF2B5EF4-FFF2-40B4-BE49-F238E27FC236}">
                <a16:creationId xmlns:a16="http://schemas.microsoft.com/office/drawing/2014/main" id="{579DBFC3-E659-4379-ABD5-D818A25AC0E0}"/>
              </a:ext>
            </a:extLst>
          </p:cNvPr>
          <p:cNvSpPr txBox="1"/>
          <p:nvPr/>
        </p:nvSpPr>
        <p:spPr>
          <a:xfrm>
            <a:off x="4827494" y="2571750"/>
            <a:ext cx="4191472" cy="1200329"/>
          </a:xfrm>
          <a:prstGeom prst="rect">
            <a:avLst/>
          </a:prstGeom>
          <a:noFill/>
        </p:spPr>
        <p:txBody>
          <a:bodyPr wrap="square" rtlCol="0">
            <a:spAutoFit/>
          </a:body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mmunication and Information</a:t>
            </a:r>
          </a:p>
        </p:txBody>
      </p:sp>
      <p:pic>
        <p:nvPicPr>
          <p:cNvPr id="11" name="Picture 4">
            <a:extLst>
              <a:ext uri="{FF2B5EF4-FFF2-40B4-BE49-F238E27FC236}">
                <a16:creationId xmlns:a16="http://schemas.microsoft.com/office/drawing/2014/main" id="{78EC0760-44C3-43C4-A1BF-15ECF0EBF28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21845" y="339757"/>
            <a:ext cx="2493689" cy="8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90114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D7397D61-9291-40EE-81CD-F3D219992760}"/>
              </a:ext>
            </a:extLst>
          </p:cNvPr>
          <p:cNvSpPr>
            <a:spLocks noGrp="1"/>
          </p:cNvSpPr>
          <p:nvPr>
            <p:ph type="sldNum" sz="quarter" idx="12"/>
          </p:nvPr>
        </p:nvSpPr>
        <p:spPr>
          <a:xfrm>
            <a:off x="6789965" y="4767263"/>
            <a:ext cx="2057400" cy="27384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B82C89-54EC-4D90-B7E5-A6254AC09059}" type="slidenum">
              <a:rPr kumimoji="0" lang="en-US" sz="9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pic>
        <p:nvPicPr>
          <p:cNvPr id="11" name="Picture 10">
            <a:extLst>
              <a:ext uri="{FF2B5EF4-FFF2-40B4-BE49-F238E27FC236}">
                <a16:creationId xmlns:a16="http://schemas.microsoft.com/office/drawing/2014/main" id="{927CA4C5-FDDB-8415-B833-57517BD98F1C}"/>
              </a:ext>
            </a:extLst>
          </p:cNvPr>
          <p:cNvPicPr>
            <a:picLocks noChangeAspect="1"/>
          </p:cNvPicPr>
          <p:nvPr/>
        </p:nvPicPr>
        <p:blipFill>
          <a:blip r:embed="rId2"/>
          <a:stretch>
            <a:fillRect/>
          </a:stretch>
        </p:blipFill>
        <p:spPr>
          <a:xfrm>
            <a:off x="2391508" y="1090076"/>
            <a:ext cx="6752492" cy="4053423"/>
          </a:xfrm>
          <a:prstGeom prst="rect">
            <a:avLst/>
          </a:prstGeom>
        </p:spPr>
      </p:pic>
      <p:sp>
        <p:nvSpPr>
          <p:cNvPr id="2" name="TextBox 1">
            <a:extLst>
              <a:ext uri="{FF2B5EF4-FFF2-40B4-BE49-F238E27FC236}">
                <a16:creationId xmlns:a16="http://schemas.microsoft.com/office/drawing/2014/main" id="{3695F16F-591C-84CA-D15A-48CA130C4F9C}"/>
              </a:ext>
            </a:extLst>
          </p:cNvPr>
          <p:cNvSpPr txBox="1"/>
          <p:nvPr/>
        </p:nvSpPr>
        <p:spPr>
          <a:xfrm>
            <a:off x="1329899" y="227542"/>
            <a:ext cx="569087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Calibri" panose="020F0502020204030204"/>
                <a:ea typeface="+mn-ea"/>
                <a:cs typeface="+mn-cs"/>
              </a:rPr>
              <a:t>visit </a:t>
            </a:r>
            <a:r>
              <a:rPr kumimoji="0" lang="en-US" sz="3600" b="1" i="0" u="none" strike="noStrike" kern="1200" cap="none" spc="0" normalizeH="0" baseline="0" noProof="0">
                <a:ln>
                  <a:noFill/>
                </a:ln>
                <a:solidFill>
                  <a:schemeClr val="bg1"/>
                </a:solidFill>
                <a:effectLst/>
                <a:uLnTx/>
                <a:uFillTx/>
                <a:latin typeface="Calibri" panose="020F0502020204030204"/>
                <a:ea typeface="+mn-ea"/>
                <a:cs typeface="+mn-cs"/>
              </a:rPr>
              <a:t>www.cruiseinfohub.com</a:t>
            </a:r>
            <a:endParaRPr kumimoji="0" lang="en-US" sz="36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2697912-C27F-B9FB-3FE4-FF7897CD49D3}"/>
              </a:ext>
            </a:extLst>
          </p:cNvPr>
          <p:cNvSpPr txBox="1"/>
          <p:nvPr/>
        </p:nvSpPr>
        <p:spPr>
          <a:xfrm>
            <a:off x="241162" y="1781385"/>
            <a:ext cx="2009670" cy="25853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 new, online, multilingual resour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ontaining reports, statistics, infograph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videos, case studies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23998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929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FB5169-18BF-479C-B616-E43AC8B33C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073"/>
          <a:stretch/>
        </p:blipFill>
        <p:spPr>
          <a:xfrm>
            <a:off x="-8021" y="0"/>
            <a:ext cx="9152021" cy="5143500"/>
          </a:xfrm>
          <a:prstGeom prst="rect">
            <a:avLst/>
          </a:prstGeom>
        </p:spPr>
      </p:pic>
      <p:sp>
        <p:nvSpPr>
          <p:cNvPr id="6" name="TextBox 5">
            <a:extLst>
              <a:ext uri="{FF2B5EF4-FFF2-40B4-BE49-F238E27FC236}">
                <a16:creationId xmlns:a16="http://schemas.microsoft.com/office/drawing/2014/main" id="{579DBFC3-E659-4379-ABD5-D818A25AC0E0}"/>
              </a:ext>
            </a:extLst>
          </p:cNvPr>
          <p:cNvSpPr txBox="1"/>
          <p:nvPr/>
        </p:nvSpPr>
        <p:spPr>
          <a:xfrm>
            <a:off x="4827494" y="2571750"/>
            <a:ext cx="4191472" cy="646331"/>
          </a:xfrm>
          <a:prstGeom prst="rect">
            <a:avLst/>
          </a:prstGeom>
          <a:noFill/>
        </p:spPr>
        <p:txBody>
          <a:bodyPr wrap="square" rtlCol="0">
            <a:spAutoFit/>
          </a:body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trategy</a:t>
            </a:r>
          </a:p>
        </p:txBody>
      </p:sp>
      <p:pic>
        <p:nvPicPr>
          <p:cNvPr id="11" name="Picture 4">
            <a:extLst>
              <a:ext uri="{FF2B5EF4-FFF2-40B4-BE49-F238E27FC236}">
                <a16:creationId xmlns:a16="http://schemas.microsoft.com/office/drawing/2014/main" id="{78EC0760-44C3-43C4-A1BF-15ECF0EBF28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21845" y="339757"/>
            <a:ext cx="2493689" cy="8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4459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08376-61F0-C8BC-9F3E-DA8C9E97EA2F}"/>
              </a:ext>
            </a:extLst>
          </p:cNvPr>
          <p:cNvSpPr>
            <a:spLocks noGrp="1"/>
          </p:cNvSpPr>
          <p:nvPr>
            <p:ph type="title"/>
          </p:nvPr>
        </p:nvSpPr>
        <p:spPr/>
        <p:txBody>
          <a:bodyPr/>
          <a:lstStyle/>
          <a:p>
            <a:r>
              <a:rPr lang="en-GB" dirty="0"/>
              <a:t>Sailing to a Better Future </a:t>
            </a:r>
            <a:r>
              <a:rPr lang="en-GB" sz="900" dirty="0"/>
              <a:t>(Two Core Strategies)</a:t>
            </a:r>
            <a:endParaRPr lang="en-AT" sz="900" dirty="0"/>
          </a:p>
        </p:txBody>
      </p:sp>
      <p:sp>
        <p:nvSpPr>
          <p:cNvPr id="5" name="TextBox 4">
            <a:extLst>
              <a:ext uri="{FF2B5EF4-FFF2-40B4-BE49-F238E27FC236}">
                <a16:creationId xmlns:a16="http://schemas.microsoft.com/office/drawing/2014/main" id="{074BC59C-219A-078C-F07B-114767EF31E5}"/>
              </a:ext>
            </a:extLst>
          </p:cNvPr>
          <p:cNvSpPr txBox="1"/>
          <p:nvPr/>
        </p:nvSpPr>
        <p:spPr>
          <a:xfrm>
            <a:off x="763507" y="1530642"/>
            <a:ext cx="2982097" cy="2308324"/>
          </a:xfrm>
          <a:prstGeom prst="rect">
            <a:avLst/>
          </a:prstGeom>
          <a:noFill/>
        </p:spPr>
        <p:txBody>
          <a:bodyPr wrap="square" rtlCol="0">
            <a:spAutoFit/>
          </a:bodyPr>
          <a:lstStyle/>
          <a:p>
            <a:pPr algn="r"/>
            <a:r>
              <a:rPr lang="en-GB" sz="3600" dirty="0"/>
              <a:t>PURSUING </a:t>
            </a:r>
            <a:r>
              <a:rPr lang="en-GB" sz="3600" b="1" dirty="0">
                <a:solidFill>
                  <a:schemeClr val="accent6">
                    <a:lumMod val="50000"/>
                  </a:schemeClr>
                </a:solidFill>
              </a:rPr>
              <a:t>NET–ZERO CARBON CRUISING </a:t>
            </a:r>
          </a:p>
        </p:txBody>
      </p:sp>
      <p:cxnSp>
        <p:nvCxnSpPr>
          <p:cNvPr id="7" name="Straight Connector 6">
            <a:extLst>
              <a:ext uri="{FF2B5EF4-FFF2-40B4-BE49-F238E27FC236}">
                <a16:creationId xmlns:a16="http://schemas.microsoft.com/office/drawing/2014/main" id="{0E2585B9-9FC8-A1E9-1E87-A5C7515584D8}"/>
              </a:ext>
            </a:extLst>
          </p:cNvPr>
          <p:cNvCxnSpPr/>
          <p:nvPr/>
        </p:nvCxnSpPr>
        <p:spPr>
          <a:xfrm>
            <a:off x="4256672" y="1590203"/>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19FCBD8-4A21-B821-F925-53CBF0F4AD09}"/>
              </a:ext>
            </a:extLst>
          </p:cNvPr>
          <p:cNvSpPr txBox="1"/>
          <p:nvPr/>
        </p:nvSpPr>
        <p:spPr>
          <a:xfrm>
            <a:off x="4743715" y="1530642"/>
            <a:ext cx="2982097" cy="2308324"/>
          </a:xfrm>
          <a:prstGeom prst="rect">
            <a:avLst/>
          </a:prstGeom>
          <a:noFill/>
        </p:spPr>
        <p:txBody>
          <a:bodyPr wrap="square" rtlCol="0">
            <a:spAutoFit/>
          </a:bodyPr>
          <a:lstStyle/>
          <a:p>
            <a:r>
              <a:rPr lang="en-GB" sz="3600" dirty="0"/>
              <a:t>RESPONSIBLE </a:t>
            </a:r>
            <a:r>
              <a:rPr lang="en-GB" sz="3600" b="1" dirty="0">
                <a:solidFill>
                  <a:schemeClr val="accent6">
                    <a:lumMod val="50000"/>
                  </a:schemeClr>
                </a:solidFill>
              </a:rPr>
              <a:t>SUSTAINABLECRUISE TOURISM </a:t>
            </a:r>
          </a:p>
        </p:txBody>
      </p:sp>
    </p:spTree>
    <p:extLst>
      <p:ext uri="{BB962C8B-B14F-4D97-AF65-F5344CB8AC3E}">
        <p14:creationId xmlns:p14="http://schemas.microsoft.com/office/powerpoint/2010/main" val="3482987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FB5169-18BF-479C-B616-E43AC8B33C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073"/>
          <a:stretch/>
        </p:blipFill>
        <p:spPr>
          <a:xfrm>
            <a:off x="-8021" y="0"/>
            <a:ext cx="9152021" cy="5143500"/>
          </a:xfrm>
          <a:prstGeom prst="rect">
            <a:avLst/>
          </a:prstGeom>
        </p:spPr>
      </p:pic>
      <p:sp>
        <p:nvSpPr>
          <p:cNvPr id="6" name="TextBox 5">
            <a:extLst>
              <a:ext uri="{FF2B5EF4-FFF2-40B4-BE49-F238E27FC236}">
                <a16:creationId xmlns:a16="http://schemas.microsoft.com/office/drawing/2014/main" id="{579DBFC3-E659-4379-ABD5-D818A25AC0E0}"/>
              </a:ext>
            </a:extLst>
          </p:cNvPr>
          <p:cNvSpPr txBox="1"/>
          <p:nvPr/>
        </p:nvSpPr>
        <p:spPr>
          <a:xfrm>
            <a:off x="4827494" y="2571750"/>
            <a:ext cx="4191472" cy="646331"/>
          </a:xfrm>
          <a:prstGeom prst="rect">
            <a:avLst/>
          </a:prstGeom>
          <a:noFill/>
        </p:spPr>
        <p:txBody>
          <a:bodyPr wrap="square" rtlCol="0">
            <a:spAutoFit/>
          </a:body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hip</a:t>
            </a:r>
          </a:p>
        </p:txBody>
      </p:sp>
      <p:pic>
        <p:nvPicPr>
          <p:cNvPr id="11" name="Picture 4">
            <a:extLst>
              <a:ext uri="{FF2B5EF4-FFF2-40B4-BE49-F238E27FC236}">
                <a16:creationId xmlns:a16="http://schemas.microsoft.com/office/drawing/2014/main" id="{78EC0760-44C3-43C4-A1BF-15ECF0EBF28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21845" y="339757"/>
            <a:ext cx="2493689" cy="84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22609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08376-61F0-C8BC-9F3E-DA8C9E97EA2F}"/>
              </a:ext>
            </a:extLst>
          </p:cNvPr>
          <p:cNvSpPr>
            <a:spLocks noGrp="1"/>
          </p:cNvSpPr>
          <p:nvPr>
            <p:ph type="title"/>
          </p:nvPr>
        </p:nvSpPr>
        <p:spPr/>
        <p:txBody>
          <a:bodyPr/>
          <a:lstStyle/>
          <a:p>
            <a:r>
              <a:rPr lang="en-GB" dirty="0"/>
              <a:t>Sailing to a Better Future </a:t>
            </a:r>
            <a:r>
              <a:rPr lang="en-GB" sz="900" dirty="0"/>
              <a:t>(Two Core Strategies)</a:t>
            </a:r>
            <a:endParaRPr lang="en-AT" sz="900" dirty="0"/>
          </a:p>
        </p:txBody>
      </p:sp>
      <p:sp>
        <p:nvSpPr>
          <p:cNvPr id="5" name="TextBox 4">
            <a:extLst>
              <a:ext uri="{FF2B5EF4-FFF2-40B4-BE49-F238E27FC236}">
                <a16:creationId xmlns:a16="http://schemas.microsoft.com/office/drawing/2014/main" id="{074BC59C-219A-078C-F07B-114767EF31E5}"/>
              </a:ext>
            </a:extLst>
          </p:cNvPr>
          <p:cNvSpPr txBox="1"/>
          <p:nvPr/>
        </p:nvSpPr>
        <p:spPr>
          <a:xfrm>
            <a:off x="763507" y="1530642"/>
            <a:ext cx="2982097" cy="2308324"/>
          </a:xfrm>
          <a:prstGeom prst="rect">
            <a:avLst/>
          </a:prstGeom>
          <a:noFill/>
        </p:spPr>
        <p:txBody>
          <a:bodyPr wrap="square" rtlCol="0">
            <a:spAutoFit/>
          </a:bodyPr>
          <a:lstStyle/>
          <a:p>
            <a:pPr algn="r"/>
            <a:r>
              <a:rPr lang="en-GB" sz="3600" dirty="0"/>
              <a:t>PURSUING </a:t>
            </a:r>
            <a:r>
              <a:rPr lang="en-GB" sz="3600" b="1" dirty="0">
                <a:solidFill>
                  <a:schemeClr val="accent6">
                    <a:lumMod val="50000"/>
                  </a:schemeClr>
                </a:solidFill>
              </a:rPr>
              <a:t>NET–ZERO CARBON CRUISING </a:t>
            </a:r>
          </a:p>
        </p:txBody>
      </p:sp>
      <p:cxnSp>
        <p:nvCxnSpPr>
          <p:cNvPr id="7" name="Straight Connector 6">
            <a:extLst>
              <a:ext uri="{FF2B5EF4-FFF2-40B4-BE49-F238E27FC236}">
                <a16:creationId xmlns:a16="http://schemas.microsoft.com/office/drawing/2014/main" id="{0E2585B9-9FC8-A1E9-1E87-A5C7515584D8}"/>
              </a:ext>
            </a:extLst>
          </p:cNvPr>
          <p:cNvCxnSpPr/>
          <p:nvPr/>
        </p:nvCxnSpPr>
        <p:spPr>
          <a:xfrm>
            <a:off x="4256672" y="1590203"/>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19FCBD8-4A21-B821-F925-53CBF0F4AD09}"/>
              </a:ext>
            </a:extLst>
          </p:cNvPr>
          <p:cNvSpPr txBox="1"/>
          <p:nvPr/>
        </p:nvSpPr>
        <p:spPr>
          <a:xfrm>
            <a:off x="4743715" y="1530642"/>
            <a:ext cx="2982097" cy="2308324"/>
          </a:xfrm>
          <a:prstGeom prst="rect">
            <a:avLst/>
          </a:prstGeom>
          <a:noFill/>
        </p:spPr>
        <p:txBody>
          <a:bodyPr wrap="square" rtlCol="0">
            <a:spAutoFit/>
          </a:bodyPr>
          <a:lstStyle/>
          <a:p>
            <a:r>
              <a:rPr lang="en-GB" sz="3600" dirty="0">
                <a:solidFill>
                  <a:schemeClr val="bg1">
                    <a:lumMod val="85000"/>
                  </a:schemeClr>
                </a:solidFill>
              </a:rPr>
              <a:t>RESPONSIBLE </a:t>
            </a:r>
            <a:r>
              <a:rPr lang="en-GB" sz="3600" b="1" dirty="0">
                <a:solidFill>
                  <a:schemeClr val="bg1">
                    <a:lumMod val="85000"/>
                  </a:schemeClr>
                </a:solidFill>
              </a:rPr>
              <a:t>SUSTAINABLECRUISE TOURISM </a:t>
            </a:r>
          </a:p>
        </p:txBody>
      </p:sp>
    </p:spTree>
    <p:extLst>
      <p:ext uri="{BB962C8B-B14F-4D97-AF65-F5344CB8AC3E}">
        <p14:creationId xmlns:p14="http://schemas.microsoft.com/office/powerpoint/2010/main" val="25144472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F0ACC-B8BA-2DC1-5BC9-55D9A0370228}"/>
              </a:ext>
            </a:extLst>
          </p:cNvPr>
          <p:cNvSpPr>
            <a:spLocks noGrp="1"/>
          </p:cNvSpPr>
          <p:nvPr>
            <p:ph type="title"/>
          </p:nvPr>
        </p:nvSpPr>
        <p:spPr/>
        <p:txBody>
          <a:bodyPr/>
          <a:lstStyle/>
          <a:p>
            <a:r>
              <a:rPr lang="en-US" dirty="0"/>
              <a:t>Clear commitments, aligned with global targets</a:t>
            </a:r>
          </a:p>
        </p:txBody>
      </p:sp>
      <p:sp>
        <p:nvSpPr>
          <p:cNvPr id="3" name="Content Placeholder 2">
            <a:extLst>
              <a:ext uri="{FF2B5EF4-FFF2-40B4-BE49-F238E27FC236}">
                <a16:creationId xmlns:a16="http://schemas.microsoft.com/office/drawing/2014/main" id="{EAB61A38-62CE-4357-4F27-FD86AA9FDCF9}"/>
              </a:ext>
            </a:extLst>
          </p:cNvPr>
          <p:cNvSpPr>
            <a:spLocks noGrp="1"/>
          </p:cNvSpPr>
          <p:nvPr>
            <p:ph idx="1"/>
          </p:nvPr>
        </p:nvSpPr>
        <p:spPr/>
        <p:txBody>
          <a:bodyPr>
            <a:normAutofit/>
          </a:bodyPr>
          <a:lstStyle/>
          <a:p>
            <a:pPr marL="0" indent="0">
              <a:buNone/>
            </a:pPr>
            <a:r>
              <a:rPr lang="en-US" sz="1600" b="1" i="0" dirty="0">
                <a:solidFill>
                  <a:srgbClr val="141624"/>
                </a:solidFill>
                <a:effectLst/>
              </a:rPr>
              <a:t>IMO 2023 GHG Strategy on Reduction of GHG Emissions from Ships</a:t>
            </a:r>
          </a:p>
          <a:p>
            <a:pPr marL="0" indent="0">
              <a:buNone/>
            </a:pPr>
            <a:r>
              <a:rPr lang="en-US" sz="1400" b="1" i="0" dirty="0">
                <a:solidFill>
                  <a:srgbClr val="141624"/>
                </a:solidFill>
                <a:effectLst/>
              </a:rPr>
              <a:t>Levels of ambition</a:t>
            </a:r>
          </a:p>
          <a:p>
            <a:r>
              <a:rPr lang="en-US" sz="1200" b="1" i="0" dirty="0">
                <a:solidFill>
                  <a:srgbClr val="141624"/>
                </a:solidFill>
                <a:effectLst/>
              </a:rPr>
              <a:t>carbon intensity of the ship to decline through further improvement of the energy efficiency for new ships </a:t>
            </a:r>
          </a:p>
          <a:p>
            <a:r>
              <a:rPr lang="en-US" sz="1100" b="1" i="0" dirty="0">
                <a:solidFill>
                  <a:srgbClr val="141624"/>
                </a:solidFill>
                <a:effectLst/>
              </a:rPr>
              <a:t>carbon intensity of international shipping to decline</a:t>
            </a:r>
            <a:r>
              <a:rPr lang="en-US" sz="1400" b="1" dirty="0">
                <a:solidFill>
                  <a:srgbClr val="141624"/>
                </a:solidFill>
              </a:rPr>
              <a:t> </a:t>
            </a:r>
            <a:r>
              <a:rPr lang="en-US" sz="1100" b="0" i="0" dirty="0">
                <a:solidFill>
                  <a:srgbClr val="141624"/>
                </a:solidFill>
                <a:effectLst/>
              </a:rPr>
              <a:t>to reduce CO2 emissions per transport work, as an average across international shipping, by at least 40% by 2030, compared to 2008;  </a:t>
            </a:r>
            <a:endParaRPr lang="en-US" sz="1400" b="1" dirty="0">
              <a:solidFill>
                <a:srgbClr val="141624"/>
              </a:solidFill>
            </a:endParaRPr>
          </a:p>
          <a:p>
            <a:pPr algn="l"/>
            <a:r>
              <a:rPr lang="en-US" sz="1100" b="1" i="0" dirty="0">
                <a:solidFill>
                  <a:srgbClr val="141624"/>
                </a:solidFill>
                <a:effectLst/>
              </a:rPr>
              <a:t>uptake of zero or near-zero GHG emission technologies, fuels and/or energy sources to increase </a:t>
            </a:r>
            <a:r>
              <a:rPr lang="en-US" sz="1100" dirty="0">
                <a:solidFill>
                  <a:srgbClr val="141624"/>
                </a:solidFill>
              </a:rPr>
              <a:t>- </a:t>
            </a:r>
            <a:r>
              <a:rPr lang="en-US" sz="1100" b="0" i="0" dirty="0">
                <a:solidFill>
                  <a:srgbClr val="141624"/>
                </a:solidFill>
                <a:effectLst/>
              </a:rPr>
              <a:t>uptake of zero or near-zero GHG emission technologies, fuels and/or energy sources to represent at least 5%, striving for 10%, of the energy used by international shipping by 2030; and </a:t>
            </a:r>
          </a:p>
          <a:p>
            <a:r>
              <a:rPr lang="en-US" sz="1200" b="1" i="0" dirty="0">
                <a:solidFill>
                  <a:srgbClr val="141624"/>
                </a:solidFill>
                <a:effectLst/>
              </a:rPr>
              <a:t>GHG emissions from international shipping to reach net zero by or around 2050</a:t>
            </a:r>
            <a:endParaRPr lang="en-US" sz="1200" dirty="0"/>
          </a:p>
        </p:txBody>
      </p:sp>
      <p:sp>
        <p:nvSpPr>
          <p:cNvPr id="4" name="Text Placeholder 3">
            <a:extLst>
              <a:ext uri="{FF2B5EF4-FFF2-40B4-BE49-F238E27FC236}">
                <a16:creationId xmlns:a16="http://schemas.microsoft.com/office/drawing/2014/main" id="{DFB2C94C-A385-3FC9-9BF2-1B9DD2CB54E6}"/>
              </a:ext>
            </a:extLst>
          </p:cNvPr>
          <p:cNvSpPr>
            <a:spLocks noGrp="1"/>
          </p:cNvSpPr>
          <p:nvPr>
            <p:ph type="body" sz="half" idx="2"/>
          </p:nvPr>
        </p:nvSpPr>
        <p:spPr>
          <a:xfrm>
            <a:off x="698215" y="1320151"/>
            <a:ext cx="3186793" cy="2858691"/>
          </a:xfrm>
        </p:spPr>
        <p:txBody>
          <a:bodyPr>
            <a:normAutofit fontScale="85000" lnSpcReduction="20000"/>
          </a:bodyPr>
          <a:lstStyle/>
          <a:p>
            <a:r>
              <a:rPr lang="en-US" sz="1900" b="1" dirty="0"/>
              <a:t>Key CLIA cruise line member commitments</a:t>
            </a:r>
          </a:p>
          <a:p>
            <a:endParaRPr lang="en-US" b="1" dirty="0"/>
          </a:p>
          <a:p>
            <a:pPr marL="171450" indent="-171450">
              <a:buFont typeface="Arial" panose="020B0604020202020204" pitchFamily="34" charset="0"/>
              <a:buChar char="•"/>
            </a:pPr>
            <a:r>
              <a:rPr lang="en-US" sz="1700" b="1" dirty="0">
                <a:solidFill>
                  <a:srgbClr val="141624"/>
                </a:solidFill>
              </a:rPr>
              <a:t>Pursue net zero carbon cruising by 2050</a:t>
            </a:r>
          </a:p>
          <a:p>
            <a:pPr marL="171450" indent="-171450">
              <a:buFont typeface="Arial" panose="020B0604020202020204" pitchFamily="34" charset="0"/>
              <a:buChar char="•"/>
            </a:pPr>
            <a:r>
              <a:rPr lang="en-US" sz="1700" b="1" dirty="0">
                <a:effectLst/>
                <a:ea typeface="Calibri" panose="020F0502020204030204" pitchFamily="34" charset="0"/>
              </a:rPr>
              <a:t>Reduce the rate of carbon emissions by 40% by 2030 compared to 2008 </a:t>
            </a:r>
          </a:p>
          <a:p>
            <a:pPr marL="171450" indent="-171450">
              <a:buFont typeface="Arial" panose="020B0604020202020204" pitchFamily="34" charset="0"/>
              <a:buChar char="•"/>
            </a:pPr>
            <a:r>
              <a:rPr lang="en-AU" sz="1700" b="1" dirty="0">
                <a:ea typeface="Times New Roman" panose="02020603050405020304" pitchFamily="18" charset="0"/>
              </a:rPr>
              <a:t>A</a:t>
            </a:r>
            <a:r>
              <a:rPr lang="en-AU" sz="1700" b="1" kern="1200" dirty="0">
                <a:effectLst/>
                <a:ea typeface="Times New Roman" panose="02020603050405020304" pitchFamily="18" charset="0"/>
              </a:rPr>
              <a:t>ll CLIA member ships will be equipped to connect to Shoreside Electricity facilities wherever available at ports as soon as possible, and no later than 2035</a:t>
            </a:r>
            <a:endParaRPr lang="en-US" sz="1700" b="1" i="0" dirty="0">
              <a:solidFill>
                <a:srgbClr val="141624"/>
              </a:solidFill>
              <a:effectLst/>
            </a:endParaRPr>
          </a:p>
          <a:p>
            <a:endParaRPr lang="en-US" dirty="0"/>
          </a:p>
        </p:txBody>
      </p:sp>
    </p:spTree>
    <p:extLst>
      <p:ext uri="{BB962C8B-B14F-4D97-AF65-F5344CB8AC3E}">
        <p14:creationId xmlns:p14="http://schemas.microsoft.com/office/powerpoint/2010/main" val="184777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08376-61F0-C8BC-9F3E-DA8C9E97EA2F}"/>
              </a:ext>
            </a:extLst>
          </p:cNvPr>
          <p:cNvSpPr>
            <a:spLocks noGrp="1"/>
          </p:cNvSpPr>
          <p:nvPr>
            <p:ph type="title"/>
          </p:nvPr>
        </p:nvSpPr>
        <p:spPr/>
        <p:txBody>
          <a:bodyPr/>
          <a:lstStyle/>
          <a:p>
            <a:r>
              <a:rPr lang="en-GB" dirty="0"/>
              <a:t>The most technologically advanced fleet</a:t>
            </a:r>
            <a:r>
              <a:rPr lang="en-GB" sz="900" dirty="0"/>
              <a:t> </a:t>
            </a:r>
            <a:br>
              <a:rPr lang="en-GB" sz="900" dirty="0"/>
            </a:br>
            <a:r>
              <a:rPr lang="en-GB" sz="900" dirty="0"/>
              <a:t>(now and development until 2028)</a:t>
            </a:r>
            <a:endParaRPr lang="en-AT" sz="900" dirty="0"/>
          </a:p>
        </p:txBody>
      </p:sp>
      <p:sp>
        <p:nvSpPr>
          <p:cNvPr id="5" name="TextBox 4">
            <a:extLst>
              <a:ext uri="{FF2B5EF4-FFF2-40B4-BE49-F238E27FC236}">
                <a16:creationId xmlns:a16="http://schemas.microsoft.com/office/drawing/2014/main" id="{074BC59C-219A-078C-F07B-114767EF31E5}"/>
              </a:ext>
            </a:extLst>
          </p:cNvPr>
          <p:cNvSpPr txBox="1"/>
          <p:nvPr/>
        </p:nvSpPr>
        <p:spPr>
          <a:xfrm>
            <a:off x="91153" y="1471081"/>
            <a:ext cx="2982097" cy="2862322"/>
          </a:xfrm>
          <a:prstGeom prst="rect">
            <a:avLst/>
          </a:prstGeom>
          <a:noFill/>
        </p:spPr>
        <p:txBody>
          <a:bodyPr wrap="square" rtlCol="0">
            <a:spAutoFit/>
          </a:bodyPr>
          <a:lstStyle/>
          <a:p>
            <a:pPr algn="r"/>
            <a:r>
              <a:rPr lang="en-GB" sz="3600" dirty="0"/>
              <a:t>PURSUING </a:t>
            </a:r>
            <a:r>
              <a:rPr lang="en-GB" sz="3600" b="1" dirty="0">
                <a:solidFill>
                  <a:schemeClr val="accent6">
                    <a:lumMod val="50000"/>
                  </a:schemeClr>
                </a:solidFill>
              </a:rPr>
              <a:t>NET–ZERO CARBON CRUISING </a:t>
            </a:r>
          </a:p>
          <a:p>
            <a:pPr algn="r"/>
            <a:r>
              <a:rPr lang="en-GB" sz="3600" dirty="0"/>
              <a:t>STARTS NOW</a:t>
            </a:r>
            <a:endParaRPr lang="en-AT" sz="3600" dirty="0"/>
          </a:p>
        </p:txBody>
      </p:sp>
      <p:cxnSp>
        <p:nvCxnSpPr>
          <p:cNvPr id="7" name="Straight Connector 6">
            <a:extLst>
              <a:ext uri="{FF2B5EF4-FFF2-40B4-BE49-F238E27FC236}">
                <a16:creationId xmlns:a16="http://schemas.microsoft.com/office/drawing/2014/main" id="{0E2585B9-9FC8-A1E9-1E87-A5C7515584D8}"/>
              </a:ext>
            </a:extLst>
          </p:cNvPr>
          <p:cNvCxnSpPr/>
          <p:nvPr/>
        </p:nvCxnSpPr>
        <p:spPr>
          <a:xfrm>
            <a:off x="3335548" y="1530642"/>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 name="Content Placeholder 1">
            <a:extLst>
              <a:ext uri="{FF2B5EF4-FFF2-40B4-BE49-F238E27FC236}">
                <a16:creationId xmlns:a16="http://schemas.microsoft.com/office/drawing/2014/main" id="{0BCBD2AC-FB52-38EC-ECF6-722196305EBC}"/>
              </a:ext>
            </a:extLst>
          </p:cNvPr>
          <p:cNvSpPr>
            <a:spLocks noGrp="1"/>
          </p:cNvSpPr>
          <p:nvPr>
            <p:ph idx="1"/>
          </p:nvPr>
        </p:nvSpPr>
        <p:spPr>
          <a:xfrm>
            <a:off x="3897457" y="1530642"/>
            <a:ext cx="4775159" cy="3066413"/>
          </a:xfrm>
        </p:spPr>
        <p:txBody>
          <a:bodyPr>
            <a:noAutofit/>
          </a:bodyPr>
          <a:lstStyle/>
          <a:p>
            <a:pPr marL="0" indent="0">
              <a:buNone/>
            </a:pPr>
            <a:r>
              <a:rPr lang="en-GB" sz="1200" dirty="0">
                <a:solidFill>
                  <a:schemeClr val="tx1">
                    <a:lumMod val="65000"/>
                    <a:lumOff val="35000"/>
                  </a:schemeClr>
                </a:solidFill>
              </a:rPr>
              <a:t>The latest </a:t>
            </a:r>
            <a:r>
              <a:rPr lang="en-GB" sz="1200" b="1" i="1" dirty="0"/>
              <a:t>CLIA Environment Technology Report </a:t>
            </a:r>
            <a:r>
              <a:rPr lang="en-GB" sz="1200" dirty="0">
                <a:solidFill>
                  <a:schemeClr val="tx1">
                    <a:lumMod val="65000"/>
                    <a:lumOff val="35000"/>
                  </a:schemeClr>
                </a:solidFill>
              </a:rPr>
              <a:t>tracks progress in CLIA members investment in technologies aimed at reducing their environmental impact. </a:t>
            </a:r>
          </a:p>
          <a:p>
            <a:pPr marL="0" indent="0">
              <a:buNone/>
            </a:pPr>
            <a:endParaRPr lang="en-GB" sz="1200" dirty="0">
              <a:solidFill>
                <a:schemeClr val="tx1">
                  <a:lumMod val="65000"/>
                  <a:lumOff val="35000"/>
                </a:schemeClr>
              </a:solidFill>
            </a:endParaRPr>
          </a:p>
          <a:p>
            <a:pPr marL="0" indent="0">
              <a:buNone/>
            </a:pPr>
            <a:r>
              <a:rPr lang="en-GB" sz="1200" dirty="0">
                <a:solidFill>
                  <a:schemeClr val="tx1">
                    <a:lumMod val="65000"/>
                    <a:lumOff val="35000"/>
                  </a:schemeClr>
                </a:solidFill>
              </a:rPr>
              <a:t>A comprehensive approach </a:t>
            </a:r>
            <a:r>
              <a:rPr lang="en-GB" sz="1200" b="1" i="1" dirty="0"/>
              <a:t>beyond CO2 </a:t>
            </a:r>
            <a:r>
              <a:rPr lang="en-GB" sz="1200" dirty="0">
                <a:solidFill>
                  <a:schemeClr val="tx1">
                    <a:lumMod val="65000"/>
                    <a:lumOff val="35000"/>
                  </a:schemeClr>
                </a:solidFill>
              </a:rPr>
              <a:t>, also looking at SOX using Exhaust Gas Cleaning Systems, </a:t>
            </a:r>
            <a:r>
              <a:rPr lang="en-GB" sz="1200" b="1" i="1" dirty="0"/>
              <a:t>alternative fuel </a:t>
            </a:r>
            <a:r>
              <a:rPr lang="en-GB" sz="1200" dirty="0">
                <a:solidFill>
                  <a:schemeClr val="tx1">
                    <a:lumMod val="65000"/>
                    <a:lumOff val="35000"/>
                  </a:schemeClr>
                </a:solidFill>
              </a:rPr>
              <a:t>options and </a:t>
            </a:r>
            <a:r>
              <a:rPr lang="en-GB" sz="1200" b="1" i="1" dirty="0"/>
              <a:t>water treatment </a:t>
            </a:r>
            <a:r>
              <a:rPr lang="en-GB" sz="1200" dirty="0">
                <a:solidFill>
                  <a:schemeClr val="tx1">
                    <a:lumMod val="65000"/>
                    <a:lumOff val="35000"/>
                  </a:schemeClr>
                </a:solidFill>
              </a:rPr>
              <a:t>systems. </a:t>
            </a:r>
          </a:p>
          <a:p>
            <a:pPr marL="0" indent="0">
              <a:buNone/>
            </a:pPr>
            <a:endParaRPr lang="en-GB" sz="1200" dirty="0">
              <a:solidFill>
                <a:schemeClr val="tx1">
                  <a:lumMod val="65000"/>
                  <a:lumOff val="35000"/>
                </a:schemeClr>
              </a:solidFill>
            </a:endParaRPr>
          </a:p>
          <a:p>
            <a:pPr marL="0" indent="0">
              <a:buNone/>
            </a:pPr>
            <a:r>
              <a:rPr lang="en-GB" sz="1200" b="1" i="1" dirty="0"/>
              <a:t>Progress is happening now </a:t>
            </a:r>
            <a:r>
              <a:rPr lang="en-GB" sz="1200" dirty="0">
                <a:solidFill>
                  <a:schemeClr val="tx1">
                    <a:lumMod val="65000"/>
                    <a:lumOff val="35000"/>
                  </a:schemeClr>
                </a:solidFill>
              </a:rPr>
              <a:t>with the </a:t>
            </a:r>
            <a:r>
              <a:rPr lang="en-GB" sz="1200" b="1" i="1" dirty="0"/>
              <a:t>youngest fleet </a:t>
            </a:r>
            <a:r>
              <a:rPr lang="en-GB" sz="1200" dirty="0">
                <a:solidFill>
                  <a:schemeClr val="tx1">
                    <a:lumMod val="65000"/>
                    <a:lumOff val="35000"/>
                  </a:schemeClr>
                </a:solidFill>
              </a:rPr>
              <a:t>ever and a set of technologies that accelerates. </a:t>
            </a:r>
          </a:p>
          <a:p>
            <a:pPr marL="0" indent="0">
              <a:buNone/>
            </a:pPr>
            <a:endParaRPr lang="en-GB" sz="1200" dirty="0">
              <a:solidFill>
                <a:schemeClr val="tx1">
                  <a:lumMod val="65000"/>
                  <a:lumOff val="35000"/>
                </a:schemeClr>
              </a:solidFill>
            </a:endParaRPr>
          </a:p>
          <a:p>
            <a:pPr marL="0" indent="0">
              <a:buNone/>
            </a:pPr>
            <a:r>
              <a:rPr lang="en-GB" sz="1200" dirty="0">
                <a:solidFill>
                  <a:schemeClr val="tx1">
                    <a:lumMod val="65000"/>
                    <a:lumOff val="35000"/>
                  </a:schemeClr>
                </a:solidFill>
              </a:rPr>
              <a:t>We now have reached </a:t>
            </a:r>
            <a:r>
              <a:rPr lang="en-GB" sz="1200" b="1" i="1" dirty="0"/>
              <a:t>shoreside electricity </a:t>
            </a:r>
            <a:r>
              <a:rPr lang="en-GB" sz="1200" dirty="0">
                <a:solidFill>
                  <a:schemeClr val="tx1">
                    <a:lumMod val="65000"/>
                    <a:lumOff val="35000"/>
                  </a:schemeClr>
                </a:solidFill>
              </a:rPr>
              <a:t>capability at 40% and continue to invest in </a:t>
            </a:r>
            <a:r>
              <a:rPr lang="en-GB" sz="1200" b="1" i="1" dirty="0"/>
              <a:t>new fuels, fuel cells </a:t>
            </a:r>
            <a:r>
              <a:rPr lang="en-GB" sz="1200" dirty="0">
                <a:solidFill>
                  <a:schemeClr val="tx1">
                    <a:lumMod val="65000"/>
                    <a:lumOff val="35000"/>
                  </a:schemeClr>
                </a:solidFill>
              </a:rPr>
              <a:t>and advanced propulsion solutions.  </a:t>
            </a:r>
          </a:p>
          <a:p>
            <a:pPr marL="0" indent="0">
              <a:buNone/>
            </a:pPr>
            <a:endParaRPr lang="en-GB" sz="1200" dirty="0">
              <a:solidFill>
                <a:schemeClr val="tx1">
                  <a:lumMod val="65000"/>
                  <a:lumOff val="35000"/>
                </a:schemeClr>
              </a:solidFill>
            </a:endParaRPr>
          </a:p>
          <a:p>
            <a:pPr marL="0" indent="0">
              <a:buNone/>
            </a:pPr>
            <a:endParaRPr lang="en-GB" sz="1200" dirty="0">
              <a:solidFill>
                <a:schemeClr val="tx1">
                  <a:lumMod val="65000"/>
                  <a:lumOff val="35000"/>
                </a:schemeClr>
              </a:solidFill>
            </a:endParaRPr>
          </a:p>
        </p:txBody>
      </p:sp>
    </p:spTree>
    <p:extLst>
      <p:ext uri="{BB962C8B-B14F-4D97-AF65-F5344CB8AC3E}">
        <p14:creationId xmlns:p14="http://schemas.microsoft.com/office/powerpoint/2010/main" val="17473627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316208E-E16B-7B40-FDF1-CA958177B799}"/>
              </a:ext>
            </a:extLst>
          </p:cNvPr>
          <p:cNvSpPr>
            <a:spLocks noGrp="1"/>
          </p:cNvSpPr>
          <p:nvPr>
            <p:ph type="sldNum" sz="quarter" idx="12"/>
          </p:nvPr>
        </p:nvSpPr>
        <p:spPr/>
        <p:txBody>
          <a:bodyPr/>
          <a:lstStyle/>
          <a:p>
            <a:pPr defTabSz="685800"/>
            <a:fld id="{68B82C89-54EC-4D90-B7E5-A6254AC09059}" type="slidenum">
              <a:rPr lang="en-US">
                <a:solidFill>
                  <a:prstClr val="black">
                    <a:tint val="75000"/>
                  </a:prstClr>
                </a:solidFill>
              </a:rPr>
              <a:pPr defTabSz="685800"/>
              <a:t>9</a:t>
            </a:fld>
            <a:endParaRPr lang="en-US" dirty="0">
              <a:solidFill>
                <a:prstClr val="black">
                  <a:tint val="75000"/>
                </a:prstClr>
              </a:solidFill>
            </a:endParaRPr>
          </a:p>
        </p:txBody>
      </p:sp>
      <p:sp>
        <p:nvSpPr>
          <p:cNvPr id="6" name="TextBox 5">
            <a:extLst>
              <a:ext uri="{FF2B5EF4-FFF2-40B4-BE49-F238E27FC236}">
                <a16:creationId xmlns:a16="http://schemas.microsoft.com/office/drawing/2014/main" id="{B1F8BADD-4CC0-5A9C-51CF-63A5FCAB9C72}"/>
              </a:ext>
            </a:extLst>
          </p:cNvPr>
          <p:cNvSpPr txBox="1"/>
          <p:nvPr/>
        </p:nvSpPr>
        <p:spPr>
          <a:xfrm>
            <a:off x="199036" y="4839385"/>
            <a:ext cx="4578674" cy="201722"/>
          </a:xfrm>
          <a:prstGeom prst="rect">
            <a:avLst/>
          </a:prstGeom>
          <a:noFill/>
        </p:spPr>
        <p:txBody>
          <a:bodyPr wrap="square">
            <a:spAutoFit/>
          </a:bodyPr>
          <a:lstStyle/>
          <a:p>
            <a:pPr defTabSz="685800">
              <a:lnSpc>
                <a:spcPct val="107000"/>
              </a:lnSpc>
            </a:pPr>
            <a:r>
              <a:rPr lang="en-US" sz="700" dirty="0">
                <a:solidFill>
                  <a:prstClr val="black"/>
                </a:solidFill>
                <a:latin typeface="Century Gothic" panose="020B0502020202020204" pitchFamily="34" charset="0"/>
                <a:ea typeface="Calibri" panose="020F0502020204030204" pitchFamily="34" charset="0"/>
                <a:cs typeface="Times New Roman" panose="02020603050405020304" pitchFamily="18" charset="0"/>
              </a:rPr>
              <a:t>Source:  CLIA Environmental Technologies and Practices Report, October 2022</a:t>
            </a:r>
            <a:endParaRPr lang="en-US" sz="7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FB5FEFD0-608C-531B-F73B-C4E97482C04F}"/>
              </a:ext>
            </a:extLst>
          </p:cNvPr>
          <p:cNvPicPr>
            <a:picLocks noChangeAspect="1"/>
          </p:cNvPicPr>
          <p:nvPr/>
        </p:nvPicPr>
        <p:blipFill>
          <a:blip r:embed="rId3"/>
          <a:stretch>
            <a:fillRect/>
          </a:stretch>
        </p:blipFill>
        <p:spPr>
          <a:xfrm>
            <a:off x="1616820" y="1568843"/>
            <a:ext cx="6980034" cy="2840510"/>
          </a:xfrm>
          <a:prstGeom prst="rect">
            <a:avLst/>
          </a:prstGeom>
        </p:spPr>
      </p:pic>
      <p:cxnSp>
        <p:nvCxnSpPr>
          <p:cNvPr id="7" name="Straight Connector 6">
            <a:extLst>
              <a:ext uri="{FF2B5EF4-FFF2-40B4-BE49-F238E27FC236}">
                <a16:creationId xmlns:a16="http://schemas.microsoft.com/office/drawing/2014/main" id="{8769CDA2-3389-E59C-EBEC-38516FDCDC34}"/>
              </a:ext>
            </a:extLst>
          </p:cNvPr>
          <p:cNvCxnSpPr/>
          <p:nvPr/>
        </p:nvCxnSpPr>
        <p:spPr>
          <a:xfrm>
            <a:off x="1247956" y="1736947"/>
            <a:ext cx="0" cy="2743200"/>
          </a:xfrm>
          <a:prstGeom prst="line">
            <a:avLst/>
          </a:prstGeom>
          <a:ln w="762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A389B74-5987-E1D0-EA92-E5B1DAF8EAE9}"/>
              </a:ext>
            </a:extLst>
          </p:cNvPr>
          <p:cNvSpPr txBox="1"/>
          <p:nvPr/>
        </p:nvSpPr>
        <p:spPr>
          <a:xfrm rot="16200000">
            <a:off x="-762594" y="2665933"/>
            <a:ext cx="2982097" cy="646331"/>
          </a:xfrm>
          <a:prstGeom prst="rect">
            <a:avLst/>
          </a:prstGeom>
          <a:noFill/>
        </p:spPr>
        <p:txBody>
          <a:bodyPr wrap="square" rtlCol="0">
            <a:spAutoFit/>
          </a:bodyPr>
          <a:lstStyle/>
          <a:p>
            <a:pPr algn="ctr"/>
            <a:r>
              <a:rPr lang="en-GB" sz="3600" b="1" dirty="0">
                <a:solidFill>
                  <a:schemeClr val="accent6">
                    <a:lumMod val="50000"/>
                  </a:schemeClr>
                </a:solidFill>
              </a:rPr>
              <a:t>TODAY</a:t>
            </a:r>
          </a:p>
        </p:txBody>
      </p:sp>
      <p:sp>
        <p:nvSpPr>
          <p:cNvPr id="11" name="Title 2">
            <a:extLst>
              <a:ext uri="{FF2B5EF4-FFF2-40B4-BE49-F238E27FC236}">
                <a16:creationId xmlns:a16="http://schemas.microsoft.com/office/drawing/2014/main" id="{512312B8-074C-6DCB-24C2-AC0E7BE46D7F}"/>
              </a:ext>
            </a:extLst>
          </p:cNvPr>
          <p:cNvSpPr>
            <a:spLocks noGrp="1"/>
          </p:cNvSpPr>
          <p:nvPr>
            <p:ph type="title"/>
          </p:nvPr>
        </p:nvSpPr>
        <p:spPr>
          <a:xfrm>
            <a:off x="198438" y="88900"/>
            <a:ext cx="7821612" cy="914400"/>
          </a:xfrm>
        </p:spPr>
        <p:txBody>
          <a:bodyPr/>
          <a:lstStyle/>
          <a:p>
            <a:r>
              <a:rPr lang="en-GB" dirty="0"/>
              <a:t>The most technologically advanced fleet</a:t>
            </a:r>
            <a:r>
              <a:rPr lang="en-GB" sz="900" dirty="0"/>
              <a:t> </a:t>
            </a:r>
            <a:br>
              <a:rPr lang="en-GB" sz="900" dirty="0"/>
            </a:br>
            <a:r>
              <a:rPr lang="en-GB" sz="900" dirty="0"/>
              <a:t>(today’s impact)</a:t>
            </a:r>
            <a:endParaRPr lang="en-AT" sz="900" dirty="0"/>
          </a:p>
        </p:txBody>
      </p:sp>
    </p:spTree>
    <p:extLst>
      <p:ext uri="{BB962C8B-B14F-4D97-AF65-F5344CB8AC3E}">
        <p14:creationId xmlns:p14="http://schemas.microsoft.com/office/powerpoint/2010/main" val="4280202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CLIA_Alternate Title Page with Image B">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41B24FA6-5B60-064B-B2B9-9C6CFAC82F4D}" vid="{D6606927-BB5E-CC49-9222-5618AF0C53A7}"/>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2018">
  <a:themeElements>
    <a:clrScheme name="Custom 1">
      <a:dk1>
        <a:srgbClr val="262626"/>
      </a:dk1>
      <a:lt1>
        <a:srgbClr val="FFFFFF"/>
      </a:lt1>
      <a:dk2>
        <a:srgbClr val="262626"/>
      </a:dk2>
      <a:lt2>
        <a:srgbClr val="0397D6"/>
      </a:lt2>
      <a:accent1>
        <a:srgbClr val="DD4228"/>
      </a:accent1>
      <a:accent2>
        <a:srgbClr val="0397D6"/>
      </a:accent2>
      <a:accent3>
        <a:srgbClr val="FFFFFF"/>
      </a:accent3>
      <a:accent4>
        <a:srgbClr val="FFFFFF"/>
      </a:accent4>
      <a:accent5>
        <a:srgbClr val="FFFFFF"/>
      </a:accent5>
      <a:accent6>
        <a:srgbClr val="FFFFFF"/>
      </a:accent6>
      <a:hlink>
        <a:srgbClr val="262626"/>
      </a:hlink>
      <a:folHlink>
        <a:srgbClr val="929292"/>
      </a:folHlink>
    </a:clrScheme>
    <a:fontScheme name="Miles 2016 PP Template">
      <a:majorFont>
        <a:latin typeface="Glegoo"/>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018">
  <a:themeElements>
    <a:clrScheme name="Custom 1">
      <a:dk1>
        <a:srgbClr val="262626"/>
      </a:dk1>
      <a:lt1>
        <a:srgbClr val="FFFFFF"/>
      </a:lt1>
      <a:dk2>
        <a:srgbClr val="262626"/>
      </a:dk2>
      <a:lt2>
        <a:srgbClr val="0397D6"/>
      </a:lt2>
      <a:accent1>
        <a:srgbClr val="DD4228"/>
      </a:accent1>
      <a:accent2>
        <a:srgbClr val="0397D6"/>
      </a:accent2>
      <a:accent3>
        <a:srgbClr val="FFFFFF"/>
      </a:accent3>
      <a:accent4>
        <a:srgbClr val="FFFFFF"/>
      </a:accent4>
      <a:accent5>
        <a:srgbClr val="FFFFFF"/>
      </a:accent5>
      <a:accent6>
        <a:srgbClr val="FFFFFF"/>
      </a:accent6>
      <a:hlink>
        <a:srgbClr val="262626"/>
      </a:hlink>
      <a:folHlink>
        <a:srgbClr val="929292"/>
      </a:folHlink>
    </a:clrScheme>
    <a:fontScheme name="Miles 2016 PP Template">
      <a:majorFont>
        <a:latin typeface="Glegoo"/>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4.xml.rels>&#65279;<?xml version="1.0" encoding="utf-8"?><Relationships xmlns="http://schemas.openxmlformats.org/package/2006/relationships"><Relationship Type="http://schemas.openxmlformats.org/officeDocument/2006/relationships/customXmlProps" Target="/customXML/itemProps4.xml" Id="Rd3c4172d526e4b2384ade4b889302c76" /></Relationships>
</file>

<file path=customXML/item4.xml><?xml version="1.0" encoding="utf-8"?>
<metadata xmlns="http://www.objective.com/ecm/document/metadata/BFB6F7442CDB4D47AAEFFE50118F3370" version="1.0.0">
  <systemFields>
    <field name="Objective-Id">
      <value order="0">A4432332</value>
    </field>
    <field name="Objective-Title">
      <value order="0">2. Cruise Line Association Presentation 17 July 2023</value>
    </field>
    <field name="Objective-Description">
      <value order="0"/>
    </field>
    <field name="Objective-CreationStamp">
      <value order="0">2023-07-13T01:56:02Z</value>
    </field>
    <field name="Objective-IsApproved">
      <value order="0">false</value>
    </field>
    <field name="Objective-IsPublished">
      <value order="0">true</value>
    </field>
    <field name="Objective-DatePublished">
      <value order="0">2023-07-31T03:23:21Z</value>
    </field>
    <field name="Objective-ModificationStamp">
      <value order="0">2024-07-19T00:32:59Z</value>
    </field>
    <field name="Objective-Owner">
      <value order="0">Reece Irving</value>
    </field>
    <field name="Objective-Path">
      <value order="0">EasyInfo Global Folder:'Virtual Filing Cabinet':Natural Resource Management:Integrated Catchments Programme Management:Mount Industrial Programme *:Mount Industrial Programme:Mount Maunganui Air Quality *:Stakeholder Group Meetings:Mount Maunganui Air Quality Working Party:2023-07-17 Regional House Council Chambers Working Party Meeting:2023-07-17 Mount Maunganui Air Quality Working Party Presentations</value>
    </field>
    <field name="Objective-Parent">
      <value order="0">2023-07-17 Mount Maunganui Air Quality Working Party Presentations</value>
    </field>
    <field name="Objective-State">
      <value order="0">Published</value>
    </field>
    <field name="Objective-VersionId">
      <value order="0">vA6759362</value>
    </field>
    <field name="Objective-Version">
      <value order="0">1.0</value>
    </field>
    <field name="Objective-VersionNumber">
      <value order="0">1</value>
    </field>
    <field name="Objective-VersionComment">
      <value order="0">First version</value>
    </field>
    <field name="Objective-FileNumber">
      <value order="0">4.22597</value>
    </field>
    <field name="Objective-Classification">
      <value order="0">Public Access</value>
    </field>
    <field name="Objective-Caveats">
      <value order="0"/>
    </field>
  </systemFields>
  <catalogues>
    <catalogue name="Meeting And Hearing Type Catalogue" type="type" ori="id:cA22">
      <field name="Objective-Meeting and Hearing Type">
        <value order="0">Presentation</value>
      </field>
      <field name="Objective-Meeting Date">
        <value order="0">2023-07-16T12:00:00Z</value>
      </field>
      <field name="Objective-On Behalf Of">
        <value order="0"/>
      </field>
      <field name="Objective-Accela Key">
        <value order="0"/>
      </field>
    </catalogue>
  </catalogues>
</metadata>
</file>

<file path=customXML/itemProps4.xml><?xml version="1.0" encoding="utf-8"?>
<ds:datastoreItem xmlns:ds="http://schemas.openxmlformats.org/officeDocument/2006/customXml" ds:itemID="{5745109E-2DDF-40CB-AC2B-FF9B10C90820}">
  <ds:schemaRefs>
    <ds:schemaRef ds:uri="http://www.objective.com/ecm/document/metadata/BFB6F7442CDB4D47AAEFFE50118F3370"/>
  </ds:schemaRefs>
</ds:datastoreItem>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1afb42f-f01d-40f3-bd91-0ebed8200d6c">
      <Terms xmlns="http://schemas.microsoft.com/office/infopath/2007/PartnerControls"/>
    </lcf76f155ced4ddcb4097134ff3c332f>
    <TaxCatchAll xmlns="cdc292d6-1d03-4e88-86d4-89faea75714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FBFB30604E5E141857F4AF8CAF2FFCE" ma:contentTypeVersion="8" ma:contentTypeDescription="Create a new document." ma:contentTypeScope="" ma:versionID="70bc234e9ebcf6287f0f3608062fa887">
  <xsd:schema xmlns:xsd="http://www.w3.org/2001/XMLSchema" xmlns:xs="http://www.w3.org/2001/XMLSchema" xmlns:p="http://schemas.microsoft.com/office/2006/metadata/properties" xmlns:ns2="81afb42f-f01d-40f3-bd91-0ebed8200d6c" xmlns:ns3="cdc292d6-1d03-4e88-86d4-89faea75714f" targetNamespace="http://schemas.microsoft.com/office/2006/metadata/properties" ma:root="true" ma:fieldsID="c74ba58a8fcf0b9f93c531ae6eb40b89" ns2:_="" ns3:_="">
    <xsd:import namespace="81afb42f-f01d-40f3-bd91-0ebed8200d6c"/>
    <xsd:import namespace="cdc292d6-1d03-4e88-86d4-89faea75714f"/>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afb42f-f01d-40f3-bd91-0ebed8200d6c"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773430b5-4c9e-41c3-a374-ebf9a60b926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c292d6-1d03-4e88-86d4-89faea75714f"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05206424-953e-415e-be41-c70e96d73555}" ma:internalName="TaxCatchAll" ma:showField="CatchAllData" ma:web="cdc292d6-1d03-4e88-86d4-89faea7571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12C3B2-AB2F-4848-8890-60FBBEC5A77C}">
  <ds:schemaRefs>
    <ds:schemaRef ds:uri="http://schemas.microsoft.com/sharepoint/v3/contenttype/forms"/>
  </ds:schemaRefs>
</ds:datastoreItem>
</file>

<file path=customXml/itemProps2.xml><?xml version="1.0" encoding="utf-8"?>
<ds:datastoreItem xmlns:ds="http://schemas.openxmlformats.org/officeDocument/2006/customXml" ds:itemID="{693D800E-C8CE-4215-B2C9-985DAC6335F5}">
  <ds:schemaRefs>
    <ds:schemaRef ds:uri="http://purl.org/dc/terms/"/>
    <ds:schemaRef ds:uri="http://schemas.microsoft.com/office/2006/metadata/properties"/>
    <ds:schemaRef ds:uri="http://purl.org/dc/elements/1.1/"/>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74195d8b-5b5a-46c6-9506-b41afcaeb5f8"/>
    <ds:schemaRef ds:uri="b6979ab3-0be6-4d37-bdce-c7644e7e32cb"/>
    <ds:schemaRef ds:uri="http://www.w3.org/XML/1998/namespace"/>
    <ds:schemaRef ds:uri="http://purl.org/dc/dcmitype/"/>
    <ds:schemaRef ds:uri="81afb42f-f01d-40f3-bd91-0ebed8200d6c"/>
    <ds:schemaRef ds:uri="cdc292d6-1d03-4e88-86d4-89faea75714f"/>
  </ds:schemaRefs>
</ds:datastoreItem>
</file>

<file path=customXml/itemProps3.xml><?xml version="1.0" encoding="utf-8"?>
<ds:datastoreItem xmlns:ds="http://schemas.openxmlformats.org/officeDocument/2006/customXml" ds:itemID="{A697AED4-486D-411F-96DE-91B6CDCB7F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afb42f-f01d-40f3-bd91-0ebed8200d6c"/>
    <ds:schemaRef ds:uri="cdc292d6-1d03-4e88-86d4-89faea7571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3537f9f-6e52-441c-8cbf-fc4bae13ff1d}" enabled="0" method="" siteId="{53537f9f-6e52-441c-8cbf-fc4bae13ff1d}" removed="1"/>
</clbl:labelList>
</file>

<file path=docProps/app.xml><?xml version="1.0" encoding="utf-8"?>
<Properties xmlns="http://schemas.openxmlformats.org/officeDocument/2006/extended-properties" xmlns:vt="http://schemas.openxmlformats.org/officeDocument/2006/docPropsVTypes">
  <Template/>
  <TotalTime>1632</TotalTime>
  <Words>2140</Words>
  <Application>Microsoft Office PowerPoint</Application>
  <PresentationFormat>On-screen Show (16:9)</PresentationFormat>
  <Paragraphs>220</Paragraphs>
  <Slides>23</Slides>
  <Notes>10</Notes>
  <HiddenSlides>0</HiddenSlides>
  <MMClips>0</MMClips>
  <ScaleCrop>false</ScaleCrop>
  <HeadingPairs>
    <vt:vector size="6" baseType="variant">
      <vt:variant>
        <vt:lpstr>Fonts Used</vt:lpstr>
      </vt:variant>
      <vt:variant>
        <vt:i4>9</vt:i4>
      </vt:variant>
      <vt:variant>
        <vt:lpstr>Theme</vt:lpstr>
      </vt:variant>
      <vt:variant>
        <vt:i4>7</vt:i4>
      </vt:variant>
      <vt:variant>
        <vt:lpstr>Slide Titles</vt:lpstr>
      </vt:variant>
      <vt:variant>
        <vt:i4>23</vt:i4>
      </vt:variant>
    </vt:vector>
  </HeadingPairs>
  <TitlesOfParts>
    <vt:vector size="39" baseType="lpstr">
      <vt:lpstr>Arial</vt:lpstr>
      <vt:lpstr>Calibri</vt:lpstr>
      <vt:lpstr>Calibri Light</vt:lpstr>
      <vt:lpstr>Century Gothic</vt:lpstr>
      <vt:lpstr>Courier New</vt:lpstr>
      <vt:lpstr>Glegoo</vt:lpstr>
      <vt:lpstr>Lato</vt:lpstr>
      <vt:lpstr>Times New Roman</vt:lpstr>
      <vt:lpstr>Wingdings</vt:lpstr>
      <vt:lpstr>CLIA_Alternate Title Page with Image B</vt:lpstr>
      <vt:lpstr>Custom Design</vt:lpstr>
      <vt:lpstr>1_2018</vt:lpstr>
      <vt:lpstr>2018</vt:lpstr>
      <vt:lpstr>1_Custom Design</vt:lpstr>
      <vt:lpstr>Office Theme</vt:lpstr>
      <vt:lpstr>2_Custom Design</vt:lpstr>
      <vt:lpstr>PowerPoint Presentation</vt:lpstr>
      <vt:lpstr>#WeAreCruise (The world`s largest cruise industry trade association)</vt:lpstr>
      <vt:lpstr>PowerPoint Presentation</vt:lpstr>
      <vt:lpstr>Sailing to a Better Future (Two Core Strategies)</vt:lpstr>
      <vt:lpstr>PowerPoint Presentation</vt:lpstr>
      <vt:lpstr>Sailing to a Better Future (Two Core Strategies)</vt:lpstr>
      <vt:lpstr>Clear commitments, aligned with global targets</vt:lpstr>
      <vt:lpstr>The most technologically advanced fleet  (now and development until 2028)</vt:lpstr>
      <vt:lpstr>The most technologically advanced fleet  (today’s impact)</vt:lpstr>
      <vt:lpstr>The most technologically advanced fleet  (future impact)</vt:lpstr>
      <vt:lpstr>PowerPoint Presentation</vt:lpstr>
      <vt:lpstr>EU goal is to have full SSE coverage or  ‘zero-emission’ solutions by 2035</vt:lpstr>
      <vt:lpstr>PowerPoint Presentation</vt:lpstr>
      <vt:lpstr>PowerPoint Presentation</vt:lpstr>
      <vt:lpstr>Sailing to a Better Future (Two Core Strategies)</vt:lpstr>
      <vt:lpstr>Cruise Tourism is Managed Tourism </vt:lpstr>
      <vt:lpstr>PowerPoint Presentation</vt:lpstr>
      <vt:lpstr>PowerPoint Presentation</vt:lpstr>
      <vt:lpstr>PowerPoint Presentation</vt:lpstr>
      <vt:lpstr>Port of Tauranga cruise visit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dison@thebrandusa.com</dc:creator>
  <cp:lastModifiedBy>Reece Irving</cp:lastModifiedBy>
  <cp:revision>2813</cp:revision>
  <cp:lastPrinted>2013-01-04T16:40:36Z</cp:lastPrinted>
  <dcterms:created xsi:type="dcterms:W3CDTF">2011-12-04T07:37:07Z</dcterms:created>
  <dcterms:modified xsi:type="dcterms:W3CDTF">2023-07-13T01:5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ED91DD852A034A86006F525F1F69B3</vt:lpwstr>
  </property>
  <property fmtid="{D5CDD505-2E9C-101B-9397-08002B2CF9AE}" pid="3" name="_dlc_DocIdItemGuid">
    <vt:lpwstr>682c4d46-ac91-460a-abb2-676754a4be43</vt:lpwstr>
  </property>
  <property fmtid="{D5CDD505-2E9C-101B-9397-08002B2CF9AE}" pid="4" name="Objective-Id">
    <vt:lpwstr>A4432332</vt:lpwstr>
  </property>
  <property fmtid="{D5CDD505-2E9C-101B-9397-08002B2CF9AE}" pid="5" name="Objective-Title">
    <vt:lpwstr>2. Cruise Line Association Presentation 17 July 2023</vt:lpwstr>
  </property>
  <property fmtid="{D5CDD505-2E9C-101B-9397-08002B2CF9AE}" pid="6" name="Objective-Description">
    <vt:lpwstr/>
  </property>
  <property fmtid="{D5CDD505-2E9C-101B-9397-08002B2CF9AE}" pid="7" name="Objective-CreationStamp">
    <vt:filetime>2023-07-13T01:56:02Z</vt:filetime>
  </property>
  <property fmtid="{D5CDD505-2E9C-101B-9397-08002B2CF9AE}" pid="8" name="Objective-IsApproved">
    <vt:bool>false</vt:bool>
  </property>
  <property fmtid="{D5CDD505-2E9C-101B-9397-08002B2CF9AE}" pid="9" name="Objective-IsPublished">
    <vt:bool>true</vt:bool>
  </property>
  <property fmtid="{D5CDD505-2E9C-101B-9397-08002B2CF9AE}" pid="10" name="Objective-DatePublished">
    <vt:filetime>2023-07-31T03:23:21Z</vt:filetime>
  </property>
  <property fmtid="{D5CDD505-2E9C-101B-9397-08002B2CF9AE}" pid="11" name="Objective-ModificationStamp">
    <vt:filetime>2024-07-19T00:32:59Z</vt:filetime>
  </property>
  <property fmtid="{D5CDD505-2E9C-101B-9397-08002B2CF9AE}" pid="12" name="Objective-Owner">
    <vt:lpwstr>Reece Irving</vt:lpwstr>
  </property>
  <property fmtid="{D5CDD505-2E9C-101B-9397-08002B2CF9AE}" pid="13" name="Objective-Path">
    <vt:lpwstr>EasyInfo Global Folder:'Virtual Filing Cabinet':Natural Resource Management:Integrated Catchments Programme Management:Mount Industrial Programme *:Mount Industrial Programme:Mount Maunganui Air Quality *:Stakeholder Group Meetings:Mount Maunganui Air Quality Working Party:2023-07-17 Regional House Council Chambers Working Party Meeting:2023-07-17 Mount Maunganui Air Quality Working Party Presentations</vt:lpwstr>
  </property>
  <property fmtid="{D5CDD505-2E9C-101B-9397-08002B2CF9AE}" pid="14" name="Objective-Parent">
    <vt:lpwstr>2023-07-17 Mount Maunganui Air Quality Working Party Presentations</vt:lpwstr>
  </property>
  <property fmtid="{D5CDD505-2E9C-101B-9397-08002B2CF9AE}" pid="15" name="Objective-State">
    <vt:lpwstr>Published</vt:lpwstr>
  </property>
  <property fmtid="{D5CDD505-2E9C-101B-9397-08002B2CF9AE}" pid="16" name="Objective-VersionId">
    <vt:lpwstr>vA6759362</vt:lpwstr>
  </property>
  <property fmtid="{D5CDD505-2E9C-101B-9397-08002B2CF9AE}" pid="17" name="Objective-Version">
    <vt:lpwstr>1.0</vt:lpwstr>
  </property>
  <property fmtid="{D5CDD505-2E9C-101B-9397-08002B2CF9AE}" pid="18" name="Objective-VersionNumber">
    <vt:r8>1</vt:r8>
  </property>
  <property fmtid="{D5CDD505-2E9C-101B-9397-08002B2CF9AE}" pid="19" name="Objective-VersionComment">
    <vt:lpwstr>First version</vt:lpwstr>
  </property>
  <property fmtid="{D5CDD505-2E9C-101B-9397-08002B2CF9AE}" pid="20" name="Objective-FileNumber">
    <vt:lpwstr>4.22597</vt:lpwstr>
  </property>
  <property fmtid="{D5CDD505-2E9C-101B-9397-08002B2CF9AE}" pid="21" name="Objective-Classification">
    <vt:lpwstr>Public Access</vt:lpwstr>
  </property>
  <property fmtid="{D5CDD505-2E9C-101B-9397-08002B2CF9AE}" pid="22" name="Objective-Caveats">
    <vt:lpwstr/>
  </property>
  <property fmtid="{D5CDD505-2E9C-101B-9397-08002B2CF9AE}" pid="23" name="Objective-Meeting and Hearing Type">
    <vt:lpwstr>Presentation</vt:lpwstr>
  </property>
  <property fmtid="{D5CDD505-2E9C-101B-9397-08002B2CF9AE}" pid="24" name="Objective-Meeting Date">
    <vt:filetime>2023-07-16T12:00:00Z</vt:filetime>
  </property>
  <property fmtid="{D5CDD505-2E9C-101B-9397-08002B2CF9AE}" pid="25" name="Objective-On Behalf Of">
    <vt:lpwstr/>
  </property>
  <property fmtid="{D5CDD505-2E9C-101B-9397-08002B2CF9AE}" pid="26" name="Objective-Accela Key">
    <vt:lpwstr/>
  </property>
</Properties>
</file>